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8.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9.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2.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3.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4.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5.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6.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17.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18.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19.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239.xml" ContentType="application/vnd.openxmlformats-officedocument.presentationml.tags+xml"/>
  <Override PartName="/ppt/tags/tag240.xml" ContentType="application/vnd.openxmlformats-officedocument.presentationml.tags+xml"/>
  <Override PartName="/ppt/notesSlides/notesSlide20.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241.xml" ContentType="application/vnd.openxmlformats-officedocument.presentationml.tags+xml"/>
  <Override PartName="/ppt/tags/tag242.xml" ContentType="application/vnd.openxmlformats-officedocument.presentationml.tags+xml"/>
  <Override PartName="/ppt/notesSlides/notesSlide21.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243.xml" ContentType="application/vnd.openxmlformats-officedocument.presentationml.tags+xml"/>
  <Override PartName="/ppt/tags/tag244.xml" ContentType="application/vnd.openxmlformats-officedocument.presentationml.tags+xml"/>
  <Override PartName="/ppt/notesSlides/notesSlide22.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245.xml" ContentType="application/vnd.openxmlformats-officedocument.presentationml.tags+xml"/>
  <Override PartName="/ppt/tags/tag246.xml" ContentType="application/vnd.openxmlformats-officedocument.presentationml.tags+xml"/>
  <Override PartName="/ppt/notesSlides/notesSlide23.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charts/chart38.xml" ContentType="application/vnd.openxmlformats-officedocument.drawingml.chart+xml"/>
  <Override PartName="/ppt/theme/themeOverride2.xml" ContentType="application/vnd.openxmlformats-officedocument.themeOverride+xml"/>
  <Override PartName="/ppt/charts/chart39.xml" ContentType="application/vnd.openxmlformats-officedocument.drawingml.chart+xml"/>
  <Override PartName="/ppt/theme/themeOverride3.xml" ContentType="application/vnd.openxmlformats-officedocument.themeOverride+xml"/>
  <Override PartName="/ppt/tags/tag251.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79" r:id="rId1"/>
    <p:sldMasterId id="2147483705" r:id="rId2"/>
    <p:sldMasterId id="2147483740" r:id="rId3"/>
    <p:sldMasterId id="2147483952" r:id="rId4"/>
    <p:sldMasterId id="2147483970" r:id="rId5"/>
    <p:sldMasterId id="2147483983" r:id="rId6"/>
    <p:sldMasterId id="2147484024" r:id="rId7"/>
    <p:sldMasterId id="2147484031" r:id="rId8"/>
    <p:sldMasterId id="2147484041" r:id="rId9"/>
  </p:sldMasterIdLst>
  <p:notesMasterIdLst>
    <p:notesMasterId r:id="rId64"/>
  </p:notesMasterIdLst>
  <p:sldIdLst>
    <p:sldId id="4577" r:id="rId10"/>
    <p:sldId id="4781" r:id="rId11"/>
    <p:sldId id="4774" r:id="rId12"/>
    <p:sldId id="4775" r:id="rId13"/>
    <p:sldId id="2163" r:id="rId14"/>
    <p:sldId id="4791" r:id="rId15"/>
    <p:sldId id="4793" r:id="rId16"/>
    <p:sldId id="4794" r:id="rId17"/>
    <p:sldId id="4795" r:id="rId18"/>
    <p:sldId id="4796" r:id="rId19"/>
    <p:sldId id="4792" r:id="rId20"/>
    <p:sldId id="4578" r:id="rId21"/>
    <p:sldId id="4636" r:id="rId22"/>
    <p:sldId id="4750" r:id="rId23"/>
    <p:sldId id="4751" r:id="rId24"/>
    <p:sldId id="4717" r:id="rId25"/>
    <p:sldId id="4797" r:id="rId26"/>
    <p:sldId id="4798" r:id="rId27"/>
    <p:sldId id="4799" r:id="rId28"/>
    <p:sldId id="4800" r:id="rId29"/>
    <p:sldId id="4780" r:id="rId30"/>
    <p:sldId id="4676" r:id="rId31"/>
    <p:sldId id="4801" r:id="rId32"/>
    <p:sldId id="2423" r:id="rId33"/>
    <p:sldId id="4802" r:id="rId34"/>
    <p:sldId id="4803" r:id="rId35"/>
    <p:sldId id="4804" r:id="rId36"/>
    <p:sldId id="4805" r:id="rId37"/>
    <p:sldId id="4807" r:id="rId38"/>
    <p:sldId id="4809" r:id="rId39"/>
    <p:sldId id="4810" r:id="rId40"/>
    <p:sldId id="4736" r:id="rId41"/>
    <p:sldId id="4806" r:id="rId42"/>
    <p:sldId id="4739" r:id="rId43"/>
    <p:sldId id="4519" r:id="rId44"/>
    <p:sldId id="4725" r:id="rId45"/>
    <p:sldId id="4740" r:id="rId46"/>
    <p:sldId id="4634" r:id="rId47"/>
    <p:sldId id="4582" r:id="rId48"/>
    <p:sldId id="4811" r:id="rId49"/>
    <p:sldId id="4765" r:id="rId50"/>
    <p:sldId id="4812" r:id="rId51"/>
    <p:sldId id="4813" r:id="rId52"/>
    <p:sldId id="4814" r:id="rId53"/>
    <p:sldId id="4788" r:id="rId54"/>
    <p:sldId id="4789" r:id="rId55"/>
    <p:sldId id="4726" r:id="rId56"/>
    <p:sldId id="4727" r:id="rId57"/>
    <p:sldId id="4815" r:id="rId58"/>
    <p:sldId id="4816" r:id="rId59"/>
    <p:sldId id="4817" r:id="rId60"/>
    <p:sldId id="4758" r:id="rId61"/>
    <p:sldId id="4647" r:id="rId62"/>
    <p:sldId id="4790" r:id="rId63"/>
  </p:sldIdLst>
  <p:sldSz cx="12192000" cy="6858000"/>
  <p:notesSz cx="6858000" cy="9144000"/>
  <p:embeddedFontLst>
    <p:embeddedFont>
      <p:font typeface="Arial Black" panose="020B0A04020102020204" pitchFamily="34" charset="0"/>
      <p:bold r:id="rId65"/>
    </p:embeddedFont>
    <p:embeddedFont>
      <p:font typeface="Calibri" panose="020F0502020204030204" pitchFamily="34" charset="0"/>
      <p:regular r:id="rId66"/>
      <p:bold r:id="rId66"/>
      <p:italic r:id="rId66"/>
      <p:boldItalic r:id="rId66"/>
    </p:embeddedFont>
    <p:embeddedFont>
      <p:font typeface="Calibri Light" panose="020F0302020204030204" pitchFamily="34" charset="0"/>
      <p:regular r:id="rId66"/>
      <p:italic r:id="rId66"/>
    </p:embeddedFont>
  </p:embeddedFontLst>
  <p:custDataLst>
    <p:tags r:id="rId67"/>
  </p:custDataLst>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7" userDrawn="1">
          <p15:clr>
            <a:srgbClr val="A4A3A4"/>
          </p15:clr>
        </p15:guide>
        <p15:guide id="2" pos="43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ohlová Radka Mgr." initials="PRM" lastIdx="1" clrIdx="0">
    <p:extLst>
      <p:ext uri="{19B8F6BF-5375-455C-9EA6-DF929625EA0E}">
        <p15:presenceInfo xmlns:p15="http://schemas.microsoft.com/office/powerpoint/2012/main" userId="S::pohlovar@mzcr.cz::15a606af-c9df-42db-9d4e-541ca0551712" providerId="AD"/>
      </p:ext>
    </p:extLst>
  </p:cmAuthor>
  <p:cmAuthor id="2" name="Žofka Jan Mgr. Ing." initials="ŽJMI" lastIdx="1" clrIdx="1">
    <p:extLst>
      <p:ext uri="{19B8F6BF-5375-455C-9EA6-DF929625EA0E}">
        <p15:presenceInfo xmlns:p15="http://schemas.microsoft.com/office/powerpoint/2012/main" userId="S::zofkaj@mzcr.cz::47242822-da23-458e-81a5-68dba5d2ccc4" providerId="AD"/>
      </p:ext>
    </p:extLst>
  </p:cmAuthor>
  <p:cmAuthor id="3" name="Klechová Anna Mgr." initials="KAM" lastIdx="1" clrIdx="2">
    <p:extLst>
      <p:ext uri="{19B8F6BF-5375-455C-9EA6-DF929625EA0E}">
        <p15:presenceInfo xmlns:p15="http://schemas.microsoft.com/office/powerpoint/2012/main" userId="S::klechovaa@mzcr.cz::18e63089-be75-4ea6-a181-0f98749577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0000FF"/>
    <a:srgbClr val="FBCBD8"/>
    <a:srgbClr val="305983"/>
    <a:srgbClr val="FFC000"/>
    <a:srgbClr val="D31145"/>
    <a:srgbClr val="0000CC"/>
    <a:srgbClr val="C00000"/>
    <a:srgbClr val="E31A1C"/>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Bez stylu, bez mřížky">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Střední styl 2 – zvýraznění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Střední styl 2 – zvýraznění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35" autoAdjust="0"/>
    <p:restoredTop sz="95111" autoAdjust="0"/>
  </p:normalViewPr>
  <p:slideViewPr>
    <p:cSldViewPr snapToGrid="0">
      <p:cViewPr varScale="1">
        <p:scale>
          <a:sx n="102" d="100"/>
          <a:sy n="102" d="100"/>
        </p:scale>
        <p:origin x="744" y="114"/>
      </p:cViewPr>
      <p:guideLst>
        <p:guide orient="horz" pos="867"/>
        <p:guide pos="438"/>
      </p:guideLst>
    </p:cSldViewPr>
  </p:slideViewPr>
  <p:notesTextViewPr>
    <p:cViewPr>
      <p:scale>
        <a:sx n="3" d="2"/>
        <a:sy n="3" d="2"/>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font" Target="NULL"/><Relationship Id="rId5" Type="http://schemas.openxmlformats.org/officeDocument/2006/relationships/slideMaster" Target="slideMasters/slideMaster5.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notesMaster" Target="notesMasters/notesMaster1.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tags" Target="tags/tag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font" Target="fonts/font1.fntdata"/><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2.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PCR pozit / 100t</c:v>
                </c:pt>
              </c:strCache>
            </c:strRef>
          </c:tx>
          <c:spPr>
            <a:solidFill>
              <a:schemeClr val="tx2"/>
            </a:solidFill>
            <a:ln>
              <a:noFill/>
            </a:ln>
            <a:effectLst/>
          </c:spPr>
          <c:invertIfNegative val="0"/>
          <c:dPt>
            <c:idx val="4"/>
            <c:invertIfNegative val="0"/>
            <c:bubble3D val="0"/>
            <c:spPr>
              <a:solidFill>
                <a:schemeClr val="tx2"/>
              </a:solidFill>
              <a:ln>
                <a:noFill/>
              </a:ln>
              <a:effectLst/>
            </c:spPr>
            <c:extLst>
              <c:ext xmlns:c16="http://schemas.microsoft.com/office/drawing/2014/chart" uri="{C3380CC4-5D6E-409C-BE32-E72D297353CC}">
                <c16:uniqueId val="{00000007-EACF-441A-B66C-32850AAC02E1}"/>
              </c:ext>
            </c:extLst>
          </c:dPt>
          <c:dPt>
            <c:idx val="6"/>
            <c:invertIfNegative val="0"/>
            <c:bubble3D val="0"/>
            <c:spPr>
              <a:solidFill>
                <a:schemeClr val="tx2">
                  <a:lumMod val="20000"/>
                  <a:lumOff val="80000"/>
                </a:schemeClr>
              </a:solidFill>
              <a:ln>
                <a:noFill/>
              </a:ln>
              <a:effectLst/>
            </c:spPr>
            <c:extLst>
              <c:ext xmlns:c16="http://schemas.microsoft.com/office/drawing/2014/chart" uri="{C3380CC4-5D6E-409C-BE32-E72D297353CC}">
                <c16:uniqueId val="{00000001-FF16-4EDC-95D3-9798A0F97386}"/>
              </c:ext>
            </c:extLst>
          </c:dPt>
          <c:dPt>
            <c:idx val="7"/>
            <c:invertIfNegative val="0"/>
            <c:bubble3D val="0"/>
            <c:spPr>
              <a:solidFill>
                <a:schemeClr val="tx2"/>
              </a:solidFill>
              <a:ln>
                <a:noFill/>
              </a:ln>
              <a:effectLst/>
            </c:spPr>
            <c:extLst>
              <c:ext xmlns:c16="http://schemas.microsoft.com/office/drawing/2014/chart" uri="{C3380CC4-5D6E-409C-BE32-E72D297353CC}">
                <c16:uniqueId val="{00000003-FF16-4EDC-95D3-9798A0F97386}"/>
              </c:ext>
            </c:extLst>
          </c:dPt>
          <c:dPt>
            <c:idx val="8"/>
            <c:invertIfNegative val="0"/>
            <c:bubble3D val="0"/>
            <c:spPr>
              <a:solidFill>
                <a:schemeClr val="tx2"/>
              </a:solidFill>
              <a:ln>
                <a:noFill/>
              </a:ln>
              <a:effectLst/>
            </c:spPr>
            <c:extLst>
              <c:ext xmlns:c16="http://schemas.microsoft.com/office/drawing/2014/chart" uri="{C3380CC4-5D6E-409C-BE32-E72D297353CC}">
                <c16:uniqueId val="{00000005-FF16-4EDC-95D3-9798A0F97386}"/>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lavní město Praha</c:v>
                </c:pt>
                <c:pt idx="1">
                  <c:v>Karlovarský kraj</c:v>
                </c:pt>
                <c:pt idx="2">
                  <c:v>Středočeský kraj</c:v>
                </c:pt>
                <c:pt idx="3">
                  <c:v>Ústecký kraj</c:v>
                </c:pt>
                <c:pt idx="4">
                  <c:v>Zlínský kraj</c:v>
                </c:pt>
                <c:pt idx="5">
                  <c:v>Liberecký kraj</c:v>
                </c:pt>
                <c:pt idx="6">
                  <c:v>ČR</c:v>
                </c:pt>
                <c:pt idx="7">
                  <c:v>Královéhradecký kraj</c:v>
                </c:pt>
                <c:pt idx="8">
                  <c:v>Olomoucký kraj</c:v>
                </c:pt>
                <c:pt idx="9">
                  <c:v>Pardubický kraj</c:v>
                </c:pt>
                <c:pt idx="10">
                  <c:v>Jihomoravský kraj</c:v>
                </c:pt>
                <c:pt idx="11">
                  <c:v>Jihočeský kraj</c:v>
                </c:pt>
                <c:pt idx="12">
                  <c:v>Plzeňský kraj</c:v>
                </c:pt>
                <c:pt idx="13">
                  <c:v>Moravskoslezský kraj</c:v>
                </c:pt>
                <c:pt idx="14">
                  <c:v>Kraj Vysočina</c:v>
                </c:pt>
              </c:strCache>
            </c:strRef>
          </c:cat>
          <c:val>
            <c:numRef>
              <c:f>Sheet1!$B$2:$B$16</c:f>
              <c:numCache>
                <c:formatCode>0</c:formatCode>
                <c:ptCount val="15"/>
                <c:pt idx="0">
                  <c:v>398.92880000000002</c:v>
                </c:pt>
                <c:pt idx="1">
                  <c:v>358.79039999999998</c:v>
                </c:pt>
                <c:pt idx="2">
                  <c:v>245.2217</c:v>
                </c:pt>
                <c:pt idx="3">
                  <c:v>241.99289999999999</c:v>
                </c:pt>
                <c:pt idx="4">
                  <c:v>238.2055</c:v>
                </c:pt>
                <c:pt idx="5">
                  <c:v>217.517</c:v>
                </c:pt>
                <c:pt idx="6">
                  <c:v>210.6841</c:v>
                </c:pt>
                <c:pt idx="7">
                  <c:v>197.4555</c:v>
                </c:pt>
                <c:pt idx="8">
                  <c:v>194.453</c:v>
                </c:pt>
                <c:pt idx="9">
                  <c:v>188.6284</c:v>
                </c:pt>
                <c:pt idx="10">
                  <c:v>186.67009999999999</c:v>
                </c:pt>
                <c:pt idx="11">
                  <c:v>165.1105</c:v>
                </c:pt>
                <c:pt idx="12">
                  <c:v>119.607</c:v>
                </c:pt>
                <c:pt idx="13">
                  <c:v>92.488820000000004</c:v>
                </c:pt>
                <c:pt idx="14" formatCode="General">
                  <c:v>77.573880000000003</c:v>
                </c:pt>
              </c:numCache>
            </c:numRef>
          </c:val>
          <c:extLst>
            <c:ext xmlns:c16="http://schemas.microsoft.com/office/drawing/2014/chart" uri="{C3380CC4-5D6E-409C-BE32-E72D297353CC}">
              <c16:uniqueId val="{00000006-FF16-4EDC-95D3-9798A0F97386}"/>
            </c:ext>
          </c:extLst>
        </c:ser>
        <c:dLbls>
          <c:showLegendKey val="0"/>
          <c:showVal val="0"/>
          <c:showCatName val="0"/>
          <c:showSerName val="0"/>
          <c:showPercent val="0"/>
          <c:showBubbleSize val="0"/>
        </c:dLbls>
        <c:gapWidth val="50"/>
        <c:axId val="709227824"/>
        <c:axId val="493545440"/>
      </c:barChart>
      <c:catAx>
        <c:axId val="709227824"/>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cs-CZ"/>
          </a:p>
        </c:txPr>
        <c:crossAx val="493545440"/>
        <c:crosses val="autoZero"/>
        <c:auto val="1"/>
        <c:lblAlgn val="ctr"/>
        <c:lblOffset val="100"/>
        <c:noMultiLvlLbl val="0"/>
      </c:catAx>
      <c:valAx>
        <c:axId val="493545440"/>
        <c:scaling>
          <c:orientation val="minMax"/>
        </c:scaling>
        <c:delete val="0"/>
        <c:axPos val="t"/>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709227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F$1</c:f>
              <c:strCache>
                <c:ptCount val="1"/>
                <c:pt idx="0">
                  <c:v>12–19 let</c:v>
                </c:pt>
              </c:strCache>
            </c:strRef>
          </c:tx>
          <c:spPr>
            <a:ln w="28575" cap="rnd">
              <a:solidFill>
                <a:schemeClr val="accent1"/>
              </a:solidFill>
              <a:round/>
            </a:ln>
            <a:effectLst/>
          </c:spPr>
          <c:marker>
            <c:symbol val="none"/>
          </c:marker>
          <c:dLbls>
            <c:dLbl>
              <c:idx val="16"/>
              <c:layout>
                <c:manualLayout>
                  <c:x val="0"/>
                  <c:y val="-6.4399803250994883E-2"/>
                </c:manualLayout>
              </c:layout>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C4E-4CDC-B0EC-630E56AA478D}"/>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F$2:$F$18</c:f>
              <c:numCache>
                <c:formatCode>General</c:formatCode>
                <c:ptCount val="17"/>
                <c:pt idx="0">
                  <c:v>1.567130443518</c:v>
                </c:pt>
                <c:pt idx="1">
                  <c:v>2.4205260609970001</c:v>
                </c:pt>
                <c:pt idx="2">
                  <c:v>3.3735613438319998</c:v>
                </c:pt>
                <c:pt idx="3">
                  <c:v>4.9059939482540003</c:v>
                </c:pt>
                <c:pt idx="4">
                  <c:v>6.9694234196689999</c:v>
                </c:pt>
                <c:pt idx="5">
                  <c:v>8.1122324407910007</c:v>
                </c:pt>
                <c:pt idx="6">
                  <c:v>9.8113063261129998</c:v>
                </c:pt>
                <c:pt idx="7">
                  <c:v>11.787115645287001</c:v>
                </c:pt>
                <c:pt idx="8">
                  <c:v>14.653099524953999</c:v>
                </c:pt>
                <c:pt idx="9">
                  <c:v>15.355123026074001</c:v>
                </c:pt>
                <c:pt idx="10">
                  <c:v>13.445550166907999</c:v>
                </c:pt>
                <c:pt idx="11">
                  <c:v>11.076960690148001</c:v>
                </c:pt>
                <c:pt idx="12">
                  <c:v>8.6038839319180003</c:v>
                </c:pt>
                <c:pt idx="13">
                  <c:v>7.2669368847709999</c:v>
                </c:pt>
                <c:pt idx="14">
                  <c:v>8.4293174326870002</c:v>
                </c:pt>
                <c:pt idx="15">
                  <c:v>10.682648351888</c:v>
                </c:pt>
                <c:pt idx="16">
                  <c:v>23.338704479535</c:v>
                </c:pt>
              </c:numCache>
            </c:numRef>
          </c:val>
          <c:smooth val="0"/>
          <c:extLst>
            <c:ext xmlns:c16="http://schemas.microsoft.com/office/drawing/2014/chart" uri="{C3380CC4-5D6E-409C-BE32-E72D297353CC}">
              <c16:uniqueId val="{00000001-DC4E-4CDC-B0EC-630E56AA478D}"/>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B$1</c:f>
              <c:strCache>
                <c:ptCount val="1"/>
                <c:pt idx="0">
                  <c:v>20-29 let</c:v>
                </c:pt>
              </c:strCache>
            </c:strRef>
          </c:tx>
          <c:spPr>
            <a:ln w="28575" cap="rnd">
              <a:solidFill>
                <a:schemeClr val="accent1"/>
              </a:solidFill>
              <a:round/>
            </a:ln>
            <a:effectLst/>
          </c:spPr>
          <c:marker>
            <c:symbol val="none"/>
          </c:marker>
          <c:dLbls>
            <c:dLbl>
              <c:idx val="16"/>
              <c:layout>
                <c:manualLayout>
                  <c:x val="-5.8641006224257983E-2"/>
                  <c:y val="0.13397474256963623"/>
                </c:manualLayout>
              </c:layout>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75-438C-BC2E-6481089E03E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B$2:$B$18</c:f>
              <c:numCache>
                <c:formatCode>General</c:formatCode>
                <c:ptCount val="17"/>
                <c:pt idx="0">
                  <c:v>0.99889012208600003</c:v>
                </c:pt>
                <c:pt idx="1">
                  <c:v>1.7345892007829999</c:v>
                </c:pt>
                <c:pt idx="2">
                  <c:v>1.9647447668010001</c:v>
                </c:pt>
                <c:pt idx="3">
                  <c:v>2.4263839811539998</c:v>
                </c:pt>
                <c:pt idx="4">
                  <c:v>3.7058557686090001</c:v>
                </c:pt>
                <c:pt idx="5">
                  <c:v>5.1927098894529999</c:v>
                </c:pt>
                <c:pt idx="6">
                  <c:v>8.7760090621830003</c:v>
                </c:pt>
                <c:pt idx="7">
                  <c:v>9.629401498819</c:v>
                </c:pt>
                <c:pt idx="8">
                  <c:v>11.013575584362</c:v>
                </c:pt>
                <c:pt idx="9">
                  <c:v>12.956989247311</c:v>
                </c:pt>
                <c:pt idx="10">
                  <c:v>12.230253509322999</c:v>
                </c:pt>
                <c:pt idx="11">
                  <c:v>11.428084332556001</c:v>
                </c:pt>
                <c:pt idx="12">
                  <c:v>10.152375261428</c:v>
                </c:pt>
                <c:pt idx="13">
                  <c:v>10.239471511147</c:v>
                </c:pt>
                <c:pt idx="14">
                  <c:v>13.826982985860999</c:v>
                </c:pt>
                <c:pt idx="15">
                  <c:v>14.537054616796</c:v>
                </c:pt>
                <c:pt idx="16">
                  <c:v>20.170279504844999</c:v>
                </c:pt>
              </c:numCache>
            </c:numRef>
          </c:val>
          <c:smooth val="0"/>
          <c:extLst>
            <c:ext xmlns:c16="http://schemas.microsoft.com/office/drawing/2014/chart" uri="{C3380CC4-5D6E-409C-BE32-E72D297353CC}">
              <c16:uniqueId val="{00000001-3875-438C-BC2E-6481089E03E9}"/>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D$1</c:f>
              <c:strCache>
                <c:ptCount val="1"/>
                <c:pt idx="0">
                  <c:v>30-59 let</c:v>
                </c:pt>
              </c:strCache>
            </c:strRef>
          </c:tx>
          <c:spPr>
            <a:ln w="28575" cap="rnd">
              <a:solidFill>
                <a:schemeClr val="accent1"/>
              </a:solidFill>
              <a:round/>
            </a:ln>
            <a:effectLst/>
          </c:spPr>
          <c:marker>
            <c:symbol val="none"/>
          </c:marker>
          <c:dLbls>
            <c:dLbl>
              <c:idx val="16"/>
              <c:layout>
                <c:manualLayout>
                  <c:x val="-0.17143316366860079"/>
                  <c:y val="-4.5999859464996382E-3"/>
                </c:manualLayout>
              </c:layout>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E11-48D5-B930-DDB64228FAA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D$2:$D$18</c:f>
              <c:numCache>
                <c:formatCode>General</c:formatCode>
                <c:ptCount val="17"/>
                <c:pt idx="0">
                  <c:v>1.5580839191239999</c:v>
                </c:pt>
                <c:pt idx="1">
                  <c:v>2.011088536106</c:v>
                </c:pt>
                <c:pt idx="2">
                  <c:v>2.8798090876839999</c:v>
                </c:pt>
                <c:pt idx="3">
                  <c:v>4.1468316936420004</c:v>
                </c:pt>
                <c:pt idx="4">
                  <c:v>5.6016960690869997</c:v>
                </c:pt>
                <c:pt idx="5">
                  <c:v>7.8926475664479998</c:v>
                </c:pt>
                <c:pt idx="6">
                  <c:v>12.196645417301999</c:v>
                </c:pt>
                <c:pt idx="7">
                  <c:v>13.42495015665</c:v>
                </c:pt>
                <c:pt idx="8">
                  <c:v>15.601739843201999</c:v>
                </c:pt>
                <c:pt idx="9">
                  <c:v>16.107755410820001</c:v>
                </c:pt>
                <c:pt idx="10">
                  <c:v>15.095107649317001</c:v>
                </c:pt>
                <c:pt idx="11">
                  <c:v>14.653902798232</c:v>
                </c:pt>
                <c:pt idx="12">
                  <c:v>13.889842686912001</c:v>
                </c:pt>
                <c:pt idx="13">
                  <c:v>12.479206922624</c:v>
                </c:pt>
                <c:pt idx="14">
                  <c:v>14.07612764838</c:v>
                </c:pt>
                <c:pt idx="15">
                  <c:v>12.048895032223999</c:v>
                </c:pt>
                <c:pt idx="16">
                  <c:v>17.391639573881999</c:v>
                </c:pt>
              </c:numCache>
            </c:numRef>
          </c:val>
          <c:smooth val="0"/>
          <c:extLst>
            <c:ext xmlns:c16="http://schemas.microsoft.com/office/drawing/2014/chart" uri="{C3380CC4-5D6E-409C-BE32-E72D297353CC}">
              <c16:uniqueId val="{00000001-0E11-48D5-B930-DDB64228FAA8}"/>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At val="0"/>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B$1</c:f>
              <c:strCache>
                <c:ptCount val="1"/>
                <c:pt idx="0">
                  <c:v>20-29 let</c:v>
                </c:pt>
              </c:strCache>
            </c:strRef>
          </c:tx>
          <c:spPr>
            <a:ln w="28575" cap="rnd">
              <a:solidFill>
                <a:schemeClr val="accent1"/>
              </a:solidFill>
              <a:round/>
            </a:ln>
            <a:effectLst/>
          </c:spPr>
          <c:marker>
            <c:symbol val="none"/>
          </c:marker>
          <c:dLbls>
            <c:dLbl>
              <c:idx val="16"/>
              <c:layout>
                <c:manualLayout>
                  <c:x val="-5.473160580930745E-2"/>
                  <c:y val="0.20912717403927311"/>
                </c:manualLayout>
              </c:layout>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CFE-413A-BD75-2190FD42981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B$2:$B$18</c:f>
              <c:numCache>
                <c:formatCode>General</c:formatCode>
                <c:ptCount val="17"/>
                <c:pt idx="0">
                  <c:v>3.1592689295029999</c:v>
                </c:pt>
                <c:pt idx="1">
                  <c:v>4.2387178405729999</c:v>
                </c:pt>
                <c:pt idx="2">
                  <c:v>4.8597305058530003</c:v>
                </c:pt>
                <c:pt idx="3">
                  <c:v>7.3676132003059998</c:v>
                </c:pt>
                <c:pt idx="4">
                  <c:v>12.005048114844</c:v>
                </c:pt>
                <c:pt idx="5">
                  <c:v>19.295756481362002</c:v>
                </c:pt>
                <c:pt idx="6">
                  <c:v>25.754242614707</c:v>
                </c:pt>
                <c:pt idx="7">
                  <c:v>27.377963737796001</c:v>
                </c:pt>
                <c:pt idx="8">
                  <c:v>30.940095645606998</c:v>
                </c:pt>
                <c:pt idx="9">
                  <c:v>28.270430602434001</c:v>
                </c:pt>
                <c:pt idx="10">
                  <c:v>29.543486329333</c:v>
                </c:pt>
                <c:pt idx="11">
                  <c:v>26.297057893070999</c:v>
                </c:pt>
                <c:pt idx="12">
                  <c:v>22.266888910677</c:v>
                </c:pt>
                <c:pt idx="13">
                  <c:v>21.395203986296998</c:v>
                </c:pt>
                <c:pt idx="14">
                  <c:v>23.430962343095999</c:v>
                </c:pt>
                <c:pt idx="15">
                  <c:v>22.309139518763999</c:v>
                </c:pt>
                <c:pt idx="16">
                  <c:v>30.122983548952998</c:v>
                </c:pt>
              </c:numCache>
            </c:numRef>
          </c:val>
          <c:smooth val="0"/>
          <c:extLst>
            <c:ext xmlns:c16="http://schemas.microsoft.com/office/drawing/2014/chart" uri="{C3380CC4-5D6E-409C-BE32-E72D297353CC}">
              <c16:uniqueId val="{00000000-8F86-4857-841A-55D66F44B67C}"/>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F$1</c:f>
              <c:strCache>
                <c:ptCount val="1"/>
                <c:pt idx="0">
                  <c:v>60+ let</c:v>
                </c:pt>
              </c:strCache>
            </c:strRef>
          </c:tx>
          <c:spPr>
            <a:ln w="28575" cap="rnd">
              <a:solidFill>
                <a:schemeClr val="accent1"/>
              </a:solidFill>
              <a:round/>
            </a:ln>
            <a:effectLst/>
          </c:spPr>
          <c:marker>
            <c:symbol val="none"/>
          </c:marker>
          <c:dLbls>
            <c:dLbl>
              <c:idx val="16"/>
              <c:layout>
                <c:manualLayout>
                  <c:x val="-3.5184603734554787E-2"/>
                  <c:y val="-7.98494584364891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3BA-40DA-B60C-C8A480E48534}"/>
                </c:ext>
              </c:extLst>
            </c:dLbl>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F$2:$F$18</c:f>
              <c:numCache>
                <c:formatCode>General</c:formatCode>
                <c:ptCount val="17"/>
                <c:pt idx="0">
                  <c:v>3.466734641855</c:v>
                </c:pt>
                <c:pt idx="1">
                  <c:v>4.6689474743400003</c:v>
                </c:pt>
                <c:pt idx="2">
                  <c:v>6.5719032674909998</c:v>
                </c:pt>
                <c:pt idx="3">
                  <c:v>9.2618778280540006</c:v>
                </c:pt>
                <c:pt idx="4">
                  <c:v>14.942767950052</c:v>
                </c:pt>
                <c:pt idx="5">
                  <c:v>20.840529648819</c:v>
                </c:pt>
                <c:pt idx="6">
                  <c:v>27.076420995376001</c:v>
                </c:pt>
                <c:pt idx="7">
                  <c:v>28.127166027447</c:v>
                </c:pt>
                <c:pt idx="8">
                  <c:v>31.659987344442001</c:v>
                </c:pt>
                <c:pt idx="9">
                  <c:v>30.273220119914999</c:v>
                </c:pt>
                <c:pt idx="10">
                  <c:v>30.717514779180998</c:v>
                </c:pt>
                <c:pt idx="11">
                  <c:v>27.758572362888</c:v>
                </c:pt>
                <c:pt idx="12">
                  <c:v>21.998411257375999</c:v>
                </c:pt>
                <c:pt idx="13">
                  <c:v>17.740148757714</c:v>
                </c:pt>
                <c:pt idx="14">
                  <c:v>15.272632741924999</c:v>
                </c:pt>
                <c:pt idx="15">
                  <c:v>12.018154687888</c:v>
                </c:pt>
                <c:pt idx="16">
                  <c:v>16.096646810789</c:v>
                </c:pt>
              </c:numCache>
            </c:numRef>
          </c:val>
          <c:smooth val="0"/>
          <c:extLst>
            <c:ext xmlns:c16="http://schemas.microsoft.com/office/drawing/2014/chart" uri="{C3380CC4-5D6E-409C-BE32-E72D297353CC}">
              <c16:uniqueId val="{00000001-23BA-40DA-B60C-C8A480E48534}"/>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F$1</c:f>
              <c:strCache>
                <c:ptCount val="1"/>
                <c:pt idx="0">
                  <c:v>60+ let</c:v>
                </c:pt>
              </c:strCache>
            </c:strRef>
          </c:tx>
          <c:spPr>
            <a:ln w="28575" cap="rnd">
              <a:solidFill>
                <a:schemeClr val="accent1"/>
              </a:solidFill>
              <a:round/>
            </a:ln>
            <a:effectLst/>
          </c:spPr>
          <c:marker>
            <c:symbol val="none"/>
          </c:marker>
          <c:dLbls>
            <c:dLbl>
              <c:idx val="16"/>
              <c:layout>
                <c:manualLayout>
                  <c:x val="-3.5881359837614236E-2"/>
                  <c:y val="-0.128799606501989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F29-438D-8691-E33F037B41E3}"/>
                </c:ext>
              </c:extLst>
            </c:dLbl>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F$2:$F$18</c:f>
              <c:numCache>
                <c:formatCode>General</c:formatCode>
                <c:ptCount val="17"/>
                <c:pt idx="0">
                  <c:v>2.1186440677960001</c:v>
                </c:pt>
                <c:pt idx="1">
                  <c:v>3.757995735607</c:v>
                </c:pt>
                <c:pt idx="2">
                  <c:v>4.0383644623919999</c:v>
                </c:pt>
                <c:pt idx="3">
                  <c:v>6.6694283347140004</c:v>
                </c:pt>
                <c:pt idx="4">
                  <c:v>8.2490033731980006</c:v>
                </c:pt>
                <c:pt idx="5">
                  <c:v>11.222553537544</c:v>
                </c:pt>
                <c:pt idx="6">
                  <c:v>17.424605074197999</c:v>
                </c:pt>
                <c:pt idx="7">
                  <c:v>17.387828520035001</c:v>
                </c:pt>
                <c:pt idx="8">
                  <c:v>18.904109589040999</c:v>
                </c:pt>
                <c:pt idx="9">
                  <c:v>20.142259414224998</c:v>
                </c:pt>
                <c:pt idx="10">
                  <c:v>19.069412662089999</c:v>
                </c:pt>
                <c:pt idx="11">
                  <c:v>18.017879161528001</c:v>
                </c:pt>
                <c:pt idx="12">
                  <c:v>16.037975756548001</c:v>
                </c:pt>
                <c:pt idx="13">
                  <c:v>13.934328358208001</c:v>
                </c:pt>
                <c:pt idx="14">
                  <c:v>16.346485678131</c:v>
                </c:pt>
                <c:pt idx="15">
                  <c:v>13.526570048309001</c:v>
                </c:pt>
                <c:pt idx="16">
                  <c:v>15.119953188999</c:v>
                </c:pt>
              </c:numCache>
            </c:numRef>
          </c:val>
          <c:smooth val="0"/>
          <c:extLst>
            <c:ext xmlns:c16="http://schemas.microsoft.com/office/drawing/2014/chart" uri="{C3380CC4-5D6E-409C-BE32-E72D297353CC}">
              <c16:uniqueId val="{00000001-BF29-438D-8691-E33F037B41E3}"/>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677742275086344E-2"/>
          <c:y val="4.1915233087189398E-2"/>
          <c:w val="0.81706720452149362"/>
          <c:h val="0.65010884527845236"/>
        </c:manualLayout>
      </c:layout>
      <c:lineChart>
        <c:grouping val="standard"/>
        <c:varyColors val="0"/>
        <c:ser>
          <c:idx val="0"/>
          <c:order val="0"/>
          <c:tx>
            <c:strRef>
              <c:f>List1!$D$1</c:f>
              <c:strCache>
                <c:ptCount val="1"/>
                <c:pt idx="0">
                  <c:v>30-59 let</c:v>
                </c:pt>
              </c:strCache>
            </c:strRef>
          </c:tx>
          <c:spPr>
            <a:ln w="28575" cap="rnd">
              <a:solidFill>
                <a:schemeClr val="accent1"/>
              </a:solidFill>
              <a:round/>
            </a:ln>
            <a:effectLst/>
          </c:spPr>
          <c:marker>
            <c:symbol val="none"/>
          </c:marker>
          <c:dLbls>
            <c:dLbl>
              <c:idx val="16"/>
              <c:layout>
                <c:manualLayout>
                  <c:x val="-2.3456402489703192E-2"/>
                  <c:y val="-6.5758377535932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9F-494E-A84F-10919043448D}"/>
                </c:ext>
              </c:extLst>
            </c:dLbl>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D$2:$D$18</c:f>
              <c:numCache>
                <c:formatCode>General</c:formatCode>
                <c:ptCount val="17"/>
                <c:pt idx="0">
                  <c:v>3.4044218352570002</c:v>
                </c:pt>
                <c:pt idx="1">
                  <c:v>5.2611856404099999</c:v>
                </c:pt>
                <c:pt idx="2">
                  <c:v>6.182344869644</c:v>
                </c:pt>
                <c:pt idx="3">
                  <c:v>9.9446827024670004</c:v>
                </c:pt>
                <c:pt idx="4">
                  <c:v>15.438969195954</c:v>
                </c:pt>
                <c:pt idx="5">
                  <c:v>23.921685180369</c:v>
                </c:pt>
                <c:pt idx="6">
                  <c:v>29.677864703175</c:v>
                </c:pt>
                <c:pt idx="7">
                  <c:v>31.475416115994999</c:v>
                </c:pt>
                <c:pt idx="8">
                  <c:v>36.305041270676</c:v>
                </c:pt>
                <c:pt idx="9">
                  <c:v>33.695365708182003</c:v>
                </c:pt>
                <c:pt idx="10">
                  <c:v>35.352390818738002</c:v>
                </c:pt>
                <c:pt idx="11">
                  <c:v>32.450372992793</c:v>
                </c:pt>
                <c:pt idx="12">
                  <c:v>27.292991001402999</c:v>
                </c:pt>
                <c:pt idx="13">
                  <c:v>25.927508975893002</c:v>
                </c:pt>
                <c:pt idx="14">
                  <c:v>24.793478656428</c:v>
                </c:pt>
                <c:pt idx="15">
                  <c:v>21.467688937567999</c:v>
                </c:pt>
                <c:pt idx="16">
                  <c:v>32.386809094472</c:v>
                </c:pt>
              </c:numCache>
            </c:numRef>
          </c:val>
          <c:smooth val="0"/>
          <c:extLst>
            <c:ext xmlns:c16="http://schemas.microsoft.com/office/drawing/2014/chart" uri="{C3380CC4-5D6E-409C-BE32-E72D297353CC}">
              <c16:uniqueId val="{00000001-A39F-494E-A84F-10919043448D}"/>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cs-CZ" sz="1800" b="1" i="0" baseline="0" dirty="0">
                <a:effectLst/>
              </a:rPr>
              <a:t>7 denní počet symptomatických případů na 100 000 obyv.</a:t>
            </a:r>
            <a:endParaRPr lang="cs-CZ"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cs-CZ"/>
        </a:p>
      </c:txPr>
    </c:title>
    <c:autoTitleDeleted val="0"/>
    <c:plotArea>
      <c:layout/>
      <c:barChart>
        <c:barDir val="col"/>
        <c:grouping val="clustered"/>
        <c:varyColors val="0"/>
        <c:ser>
          <c:idx val="3"/>
          <c:order val="0"/>
          <c:tx>
            <c:strRef>
              <c:f>'64'!$F$2</c:f>
              <c:strCache>
                <c:ptCount val="1"/>
                <c:pt idx="0">
                  <c:v>28.12.2021</c:v>
                </c:pt>
              </c:strCache>
            </c:strRef>
          </c:tx>
          <c:spPr>
            <a:solidFill>
              <a:schemeClr val="accent4"/>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F$3:$F$16</c:f>
              <c:numCache>
                <c:formatCode>General</c:formatCode>
                <c:ptCount val="14"/>
                <c:pt idx="0">
                  <c:v>94.076477584930004</c:v>
                </c:pt>
                <c:pt idx="1">
                  <c:v>134.26352130941601</c:v>
                </c:pt>
                <c:pt idx="2">
                  <c:v>155.698615960506</c:v>
                </c:pt>
                <c:pt idx="3">
                  <c:v>119.61945110406801</c:v>
                </c:pt>
                <c:pt idx="4">
                  <c:v>88.643112600617997</c:v>
                </c:pt>
                <c:pt idx="5">
                  <c:v>153.365222202094</c:v>
                </c:pt>
                <c:pt idx="6">
                  <c:v>189.61480396676799</c:v>
                </c:pt>
                <c:pt idx="7">
                  <c:v>143.06385404581999</c:v>
                </c:pt>
                <c:pt idx="8">
                  <c:v>156.25717214682399</c:v>
                </c:pt>
                <c:pt idx="9">
                  <c:v>117.71595670253799</c:v>
                </c:pt>
                <c:pt idx="10">
                  <c:v>157.78109253785701</c:v>
                </c:pt>
                <c:pt idx="11">
                  <c:v>155.10957587522699</c:v>
                </c:pt>
                <c:pt idx="12">
                  <c:v>162.208098683201</c:v>
                </c:pt>
                <c:pt idx="13">
                  <c:v>150.565795408246</c:v>
                </c:pt>
              </c:numCache>
            </c:numRef>
          </c:val>
          <c:extLst>
            <c:ext xmlns:c16="http://schemas.microsoft.com/office/drawing/2014/chart" uri="{C3380CC4-5D6E-409C-BE32-E72D297353CC}">
              <c16:uniqueId val="{00000003-8164-4D1F-9C43-C8BD577298DE}"/>
            </c:ext>
          </c:extLst>
        </c:ser>
        <c:ser>
          <c:idx val="2"/>
          <c:order val="1"/>
          <c:tx>
            <c:strRef>
              <c:f>'64'!$E$2</c:f>
              <c:strCache>
                <c:ptCount val="1"/>
                <c:pt idx="0">
                  <c:v>04.01.2022</c:v>
                </c:pt>
              </c:strCache>
            </c:strRef>
          </c:tx>
          <c:spPr>
            <a:solidFill>
              <a:schemeClr val="accent3"/>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E$3:$E$16</c:f>
              <c:numCache>
                <c:formatCode>General</c:formatCode>
                <c:ptCount val="14"/>
                <c:pt idx="0">
                  <c:v>134.67317412237699</c:v>
                </c:pt>
                <c:pt idx="1">
                  <c:v>144.277848951034</c:v>
                </c:pt>
                <c:pt idx="2">
                  <c:v>163.77878365506299</c:v>
                </c:pt>
                <c:pt idx="3">
                  <c:v>149.566612130122</c:v>
                </c:pt>
                <c:pt idx="4">
                  <c:v>110.462955702309</c:v>
                </c:pt>
                <c:pt idx="5">
                  <c:v>185.92320233438201</c:v>
                </c:pt>
                <c:pt idx="6">
                  <c:v>219.44693045498499</c:v>
                </c:pt>
                <c:pt idx="7">
                  <c:v>152.14150975938699</c:v>
                </c:pt>
                <c:pt idx="8">
                  <c:v>183.60695870373399</c:v>
                </c:pt>
                <c:pt idx="9">
                  <c:v>106.51427134019301</c:v>
                </c:pt>
                <c:pt idx="10">
                  <c:v>178.52855327454299</c:v>
                </c:pt>
                <c:pt idx="11">
                  <c:v>152.09619965679201</c:v>
                </c:pt>
                <c:pt idx="12">
                  <c:v>175.30885904443701</c:v>
                </c:pt>
                <c:pt idx="13">
                  <c:v>148.38611240122199</c:v>
                </c:pt>
              </c:numCache>
            </c:numRef>
          </c:val>
          <c:extLst>
            <c:ext xmlns:c16="http://schemas.microsoft.com/office/drawing/2014/chart" uri="{C3380CC4-5D6E-409C-BE32-E72D297353CC}">
              <c16:uniqueId val="{00000002-8164-4D1F-9C43-C8BD577298DE}"/>
            </c:ext>
          </c:extLst>
        </c:ser>
        <c:ser>
          <c:idx val="1"/>
          <c:order val="2"/>
          <c:tx>
            <c:strRef>
              <c:f>'64'!$D$2</c:f>
              <c:strCache>
                <c:ptCount val="1"/>
                <c:pt idx="0">
                  <c:v>11.01.2022</c:v>
                </c:pt>
              </c:strCache>
            </c:strRef>
          </c:tx>
          <c:spPr>
            <a:solidFill>
              <a:schemeClr val="accent2"/>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D$3:$D$16</c:f>
              <c:numCache>
                <c:formatCode>General</c:formatCode>
                <c:ptCount val="14"/>
                <c:pt idx="0">
                  <c:v>195.64312058267399</c:v>
                </c:pt>
                <c:pt idx="1">
                  <c:v>171.030409936502</c:v>
                </c:pt>
                <c:pt idx="2">
                  <c:v>146.530733383989</c:v>
                </c:pt>
                <c:pt idx="3">
                  <c:v>153.288858133361</c:v>
                </c:pt>
                <c:pt idx="4">
                  <c:v>112.849501041556</c:v>
                </c:pt>
                <c:pt idx="5">
                  <c:v>165.972259621739</c:v>
                </c:pt>
                <c:pt idx="6">
                  <c:v>212.892902665907</c:v>
                </c:pt>
                <c:pt idx="7">
                  <c:v>148.147341245418</c:v>
                </c:pt>
                <c:pt idx="8">
                  <c:v>154.34459966032699</c:v>
                </c:pt>
                <c:pt idx="9">
                  <c:v>90.989128469573998</c:v>
                </c:pt>
                <c:pt idx="10">
                  <c:v>182.71150906822899</c:v>
                </c:pt>
                <c:pt idx="11">
                  <c:v>160.81913081541899</c:v>
                </c:pt>
                <c:pt idx="12">
                  <c:v>178.41167070893999</c:v>
                </c:pt>
                <c:pt idx="13">
                  <c:v>121.643078584279</c:v>
                </c:pt>
              </c:numCache>
            </c:numRef>
          </c:val>
          <c:extLst>
            <c:ext xmlns:c16="http://schemas.microsoft.com/office/drawing/2014/chart" uri="{C3380CC4-5D6E-409C-BE32-E72D297353CC}">
              <c16:uniqueId val="{00000001-8164-4D1F-9C43-C8BD577298DE}"/>
            </c:ext>
          </c:extLst>
        </c:ser>
        <c:ser>
          <c:idx val="0"/>
          <c:order val="3"/>
          <c:tx>
            <c:strRef>
              <c:f>'64'!$C$2</c:f>
              <c:strCache>
                <c:ptCount val="1"/>
                <c:pt idx="0">
                  <c:v>18.01.2022</c:v>
                </c:pt>
              </c:strCache>
            </c:strRef>
          </c:tx>
          <c:spPr>
            <a:solidFill>
              <a:schemeClr val="accent1"/>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C$3:$C$16</c:f>
              <c:numCache>
                <c:formatCode>General</c:formatCode>
                <c:ptCount val="14"/>
                <c:pt idx="0">
                  <c:v>447.31267845319002</c:v>
                </c:pt>
                <c:pt idx="1">
                  <c:v>372.10380279786</c:v>
                </c:pt>
                <c:pt idx="2">
                  <c:v>266.49014608010799</c:v>
                </c:pt>
                <c:pt idx="3">
                  <c:v>321.29750727952802</c:v>
                </c:pt>
                <c:pt idx="4">
                  <c:v>274.79364906191699</c:v>
                </c:pt>
                <c:pt idx="5">
                  <c:v>311.748779687737</c:v>
                </c:pt>
                <c:pt idx="6">
                  <c:v>363.40954085645302</c:v>
                </c:pt>
                <c:pt idx="7">
                  <c:v>343.68004531565703</c:v>
                </c:pt>
                <c:pt idx="8">
                  <c:v>345.60184831005</c:v>
                </c:pt>
                <c:pt idx="9">
                  <c:v>145.03234732299299</c:v>
                </c:pt>
                <c:pt idx="10">
                  <c:v>356.722470085591</c:v>
                </c:pt>
                <c:pt idx="11">
                  <c:v>289.12551822141</c:v>
                </c:pt>
                <c:pt idx="12">
                  <c:v>370.26885863072903</c:v>
                </c:pt>
                <c:pt idx="13">
                  <c:v>200.02783287532</c:v>
                </c:pt>
              </c:numCache>
            </c:numRef>
          </c:val>
          <c:extLst>
            <c:ext xmlns:c16="http://schemas.microsoft.com/office/drawing/2014/chart" uri="{C3380CC4-5D6E-409C-BE32-E72D297353CC}">
              <c16:uniqueId val="{00000000-8164-4D1F-9C43-C8BD577298DE}"/>
            </c:ext>
          </c:extLst>
        </c:ser>
        <c:dLbls>
          <c:showLegendKey val="0"/>
          <c:showVal val="0"/>
          <c:showCatName val="0"/>
          <c:showSerName val="0"/>
          <c:showPercent val="0"/>
          <c:showBubbleSize val="0"/>
        </c:dLbls>
        <c:gapWidth val="219"/>
        <c:overlap val="-27"/>
        <c:axId val="1517945871"/>
        <c:axId val="2040461823"/>
      </c:barChart>
      <c:catAx>
        <c:axId val="15179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cs-CZ"/>
          </a:p>
        </c:txPr>
        <c:crossAx val="2040461823"/>
        <c:crosses val="autoZero"/>
        <c:auto val="1"/>
        <c:lblAlgn val="ctr"/>
        <c:lblOffset val="100"/>
        <c:noMultiLvlLbl val="0"/>
      </c:catAx>
      <c:valAx>
        <c:axId val="204046182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cs-CZ"/>
          </a:p>
        </c:txPr>
        <c:crossAx val="15179458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chart>
  <c:spPr>
    <a:noFill/>
    <a:ln>
      <a:noFill/>
    </a:ln>
    <a:effectLst/>
  </c:spPr>
  <c:txPr>
    <a:bodyPr/>
    <a:lstStyle/>
    <a:p>
      <a:pPr>
        <a:defRPr/>
      </a:pPr>
      <a:endParaRPr lang="cs-CZ"/>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spPr>
            <a:ln w="28575" cap="rnd">
              <a:solidFill>
                <a:schemeClr val="accent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D-662B-403D-869A-6DE690B7B77E}"/>
                </c:ext>
              </c:extLst>
            </c:dLbl>
            <c:dLbl>
              <c:idx val="1"/>
              <c:delete val="1"/>
              <c:extLst>
                <c:ext xmlns:c15="http://schemas.microsoft.com/office/drawing/2012/chart" uri="{CE6537A1-D6FC-4f65-9D91-7224C49458BB}"/>
                <c:ext xmlns:c16="http://schemas.microsoft.com/office/drawing/2014/chart" uri="{C3380CC4-5D6E-409C-BE32-E72D297353CC}">
                  <c16:uniqueId val="{0000000C-662B-403D-869A-6DE690B7B77E}"/>
                </c:ext>
              </c:extLst>
            </c:dLbl>
            <c:dLbl>
              <c:idx val="2"/>
              <c:delete val="1"/>
              <c:extLst>
                <c:ext xmlns:c15="http://schemas.microsoft.com/office/drawing/2012/chart" uri="{CE6537A1-D6FC-4f65-9D91-7224C49458BB}"/>
                <c:ext xmlns:c16="http://schemas.microsoft.com/office/drawing/2014/chart" uri="{C3380CC4-5D6E-409C-BE32-E72D297353CC}">
                  <c16:uniqueId val="{0000000B-662B-403D-869A-6DE690B7B77E}"/>
                </c:ext>
              </c:extLst>
            </c:dLbl>
            <c:dLbl>
              <c:idx val="3"/>
              <c:delete val="1"/>
              <c:extLst>
                <c:ext xmlns:c15="http://schemas.microsoft.com/office/drawing/2012/chart" uri="{CE6537A1-D6FC-4f65-9D91-7224C49458BB}"/>
                <c:ext xmlns:c16="http://schemas.microsoft.com/office/drawing/2014/chart" uri="{C3380CC4-5D6E-409C-BE32-E72D297353CC}">
                  <c16:uniqueId val="{0000000A-662B-403D-869A-6DE690B7B77E}"/>
                </c:ext>
              </c:extLst>
            </c:dLbl>
            <c:dLbl>
              <c:idx val="4"/>
              <c:delete val="1"/>
              <c:extLst>
                <c:ext xmlns:c15="http://schemas.microsoft.com/office/drawing/2012/chart" uri="{CE6537A1-D6FC-4f65-9D91-7224C49458BB}"/>
                <c:ext xmlns:c16="http://schemas.microsoft.com/office/drawing/2014/chart" uri="{C3380CC4-5D6E-409C-BE32-E72D297353CC}">
                  <c16:uniqueId val="{00000006-662B-403D-869A-6DE690B7B77E}"/>
                </c:ext>
              </c:extLst>
            </c:dLbl>
            <c:dLbl>
              <c:idx val="5"/>
              <c:delete val="1"/>
              <c:extLst>
                <c:ext xmlns:c15="http://schemas.microsoft.com/office/drawing/2012/chart" uri="{CE6537A1-D6FC-4f65-9D91-7224C49458BB}"/>
                <c:ext xmlns:c16="http://schemas.microsoft.com/office/drawing/2014/chart" uri="{C3380CC4-5D6E-409C-BE32-E72D297353CC}">
                  <c16:uniqueId val="{0000000E-662B-403D-869A-6DE690B7B77E}"/>
                </c:ext>
              </c:extLst>
            </c:dLbl>
            <c:dLbl>
              <c:idx val="6"/>
              <c:delete val="1"/>
              <c:extLst>
                <c:ext xmlns:c15="http://schemas.microsoft.com/office/drawing/2012/chart" uri="{CE6537A1-D6FC-4f65-9D91-7224C49458BB}"/>
                <c:ext xmlns:c16="http://schemas.microsoft.com/office/drawing/2014/chart" uri="{C3380CC4-5D6E-409C-BE32-E72D297353CC}">
                  <c16:uniqueId val="{00000009-662B-403D-869A-6DE690B7B77E}"/>
                </c:ext>
              </c:extLst>
            </c:dLbl>
            <c:dLbl>
              <c:idx val="7"/>
              <c:delete val="1"/>
              <c:extLst>
                <c:ext xmlns:c15="http://schemas.microsoft.com/office/drawing/2012/chart" uri="{CE6537A1-D6FC-4f65-9D91-7224C49458BB}"/>
                <c:ext xmlns:c16="http://schemas.microsoft.com/office/drawing/2014/chart" uri="{C3380CC4-5D6E-409C-BE32-E72D297353CC}">
                  <c16:uniqueId val="{00000007-662B-403D-869A-6DE690B7B77E}"/>
                </c:ext>
              </c:extLst>
            </c:dLbl>
            <c:dLbl>
              <c:idx val="8"/>
              <c:delete val="1"/>
              <c:extLst>
                <c:ext xmlns:c15="http://schemas.microsoft.com/office/drawing/2012/chart" uri="{CE6537A1-D6FC-4f65-9D91-7224C49458BB}"/>
                <c:ext xmlns:c16="http://schemas.microsoft.com/office/drawing/2014/chart" uri="{C3380CC4-5D6E-409C-BE32-E72D297353CC}">
                  <c16:uniqueId val="{00000011-662B-403D-869A-6DE690B7B77E}"/>
                </c:ext>
              </c:extLst>
            </c:dLbl>
            <c:dLbl>
              <c:idx val="9"/>
              <c:delete val="1"/>
              <c:extLst>
                <c:ext xmlns:c15="http://schemas.microsoft.com/office/drawing/2012/chart" uri="{CE6537A1-D6FC-4f65-9D91-7224C49458BB}"/>
                <c:ext xmlns:c16="http://schemas.microsoft.com/office/drawing/2014/chart" uri="{C3380CC4-5D6E-409C-BE32-E72D297353CC}">
                  <c16:uniqueId val="{0000000F-662B-403D-869A-6DE690B7B77E}"/>
                </c:ext>
              </c:extLst>
            </c:dLbl>
            <c:dLbl>
              <c:idx val="10"/>
              <c:delete val="1"/>
              <c:extLst>
                <c:ext xmlns:c15="http://schemas.microsoft.com/office/drawing/2012/chart" uri="{CE6537A1-D6FC-4f65-9D91-7224C49458BB}"/>
                <c:ext xmlns:c16="http://schemas.microsoft.com/office/drawing/2014/chart" uri="{C3380CC4-5D6E-409C-BE32-E72D297353CC}">
                  <c16:uniqueId val="{00000008-662B-403D-869A-6DE690B7B77E}"/>
                </c:ext>
              </c:extLst>
            </c:dLbl>
            <c:dLbl>
              <c:idx val="11"/>
              <c:delete val="1"/>
              <c:extLst>
                <c:ext xmlns:c15="http://schemas.microsoft.com/office/drawing/2012/chart" uri="{CE6537A1-D6FC-4f65-9D91-7224C49458BB}"/>
                <c:ext xmlns:c16="http://schemas.microsoft.com/office/drawing/2014/chart" uri="{C3380CC4-5D6E-409C-BE32-E72D297353CC}">
                  <c16:uniqueId val="{00000010-662B-403D-869A-6DE690B7B77E}"/>
                </c:ext>
              </c:extLst>
            </c:dLbl>
            <c:dLbl>
              <c:idx val="12"/>
              <c:delete val="1"/>
              <c:extLst>
                <c:ext xmlns:c15="http://schemas.microsoft.com/office/drawing/2012/chart" uri="{CE6537A1-D6FC-4f65-9D91-7224C49458BB}"/>
                <c:ext xmlns:c16="http://schemas.microsoft.com/office/drawing/2014/chart" uri="{C3380CC4-5D6E-409C-BE32-E72D297353CC}">
                  <c16:uniqueId val="{00000013-662B-403D-869A-6DE690B7B77E}"/>
                </c:ext>
              </c:extLst>
            </c:dLbl>
            <c:dLbl>
              <c:idx val="13"/>
              <c:delete val="1"/>
              <c:extLst>
                <c:ext xmlns:c15="http://schemas.microsoft.com/office/drawing/2012/chart" uri="{CE6537A1-D6FC-4f65-9D91-7224C49458BB}"/>
                <c:ext xmlns:c16="http://schemas.microsoft.com/office/drawing/2014/chart" uri="{C3380CC4-5D6E-409C-BE32-E72D297353CC}">
                  <c16:uniqueId val="{00000015-662B-403D-869A-6DE690B7B77E}"/>
                </c:ext>
              </c:extLst>
            </c:dLbl>
            <c:dLbl>
              <c:idx val="14"/>
              <c:delete val="1"/>
              <c:extLst>
                <c:ext xmlns:c15="http://schemas.microsoft.com/office/drawing/2012/chart" uri="{CE6537A1-D6FC-4f65-9D91-7224C49458BB}"/>
                <c:ext xmlns:c16="http://schemas.microsoft.com/office/drawing/2014/chart" uri="{C3380CC4-5D6E-409C-BE32-E72D297353CC}">
                  <c16:uniqueId val="{00000012-662B-403D-869A-6DE690B7B77E}"/>
                </c:ext>
              </c:extLst>
            </c:dLbl>
            <c:dLbl>
              <c:idx val="15"/>
              <c:delete val="1"/>
              <c:extLst>
                <c:ext xmlns:c15="http://schemas.microsoft.com/office/drawing/2012/chart" uri="{CE6537A1-D6FC-4f65-9D91-7224C49458BB}"/>
                <c:ext xmlns:c16="http://schemas.microsoft.com/office/drawing/2014/chart" uri="{C3380CC4-5D6E-409C-BE32-E72D297353CC}">
                  <c16:uniqueId val="{00000016-662B-403D-869A-6DE690B7B77E}"/>
                </c:ext>
              </c:extLst>
            </c:dLbl>
            <c:dLbl>
              <c:idx val="17"/>
              <c:delete val="1"/>
              <c:extLst>
                <c:ext xmlns:c15="http://schemas.microsoft.com/office/drawing/2012/chart" uri="{CE6537A1-D6FC-4f65-9D91-7224C49458BB}"/>
                <c:ext xmlns:c16="http://schemas.microsoft.com/office/drawing/2014/chart" uri="{C3380CC4-5D6E-409C-BE32-E72D297353CC}">
                  <c16:uniqueId val="{00000000-A885-40F3-9DA2-59DDF865EA88}"/>
                </c:ext>
              </c:extLst>
            </c:dLbl>
            <c:dLbl>
              <c:idx val="23"/>
              <c:delete val="1"/>
              <c:extLst>
                <c:ext xmlns:c15="http://schemas.microsoft.com/office/drawing/2012/chart" uri="{CE6537A1-D6FC-4f65-9D91-7224C49458BB}"/>
                <c:ext xmlns:c16="http://schemas.microsoft.com/office/drawing/2014/chart" uri="{C3380CC4-5D6E-409C-BE32-E72D297353CC}">
                  <c16:uniqueId val="{00000001-A885-40F3-9DA2-59DDF865EA88}"/>
                </c:ext>
              </c:extLst>
            </c:dLbl>
            <c:dLbl>
              <c:idx val="31"/>
              <c:layout>
                <c:manualLayout>
                  <c:x val="-2.810236220472451E-2"/>
                  <c:y val="-2.5078196581466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885-40F3-9DA2-59DDF865EA88}"/>
                </c:ext>
              </c:extLst>
            </c:dLbl>
            <c:dLbl>
              <c:idx val="37"/>
              <c:layout>
                <c:manualLayout>
                  <c:x val="-3.1227034120734909E-3"/>
                  <c:y val="-2.46076294114262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8D3-4A6E-ABA6-222F54A8A26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 (2)'!$A$9:$A$47</c:f>
              <c:numCache>
                <c:formatCode>m/d/yyyy</c:formatCode>
                <c:ptCount val="39"/>
                <c:pt idx="0">
                  <c:v>44538</c:v>
                </c:pt>
                <c:pt idx="1">
                  <c:v>44539</c:v>
                </c:pt>
                <c:pt idx="2">
                  <c:v>44540</c:v>
                </c:pt>
                <c:pt idx="3">
                  <c:v>44541</c:v>
                </c:pt>
                <c:pt idx="4">
                  <c:v>44542</c:v>
                </c:pt>
                <c:pt idx="5">
                  <c:v>44543</c:v>
                </c:pt>
                <c:pt idx="6">
                  <c:v>44544</c:v>
                </c:pt>
                <c:pt idx="7">
                  <c:v>44545</c:v>
                </c:pt>
                <c:pt idx="8">
                  <c:v>44546</c:v>
                </c:pt>
                <c:pt idx="9">
                  <c:v>44547</c:v>
                </c:pt>
                <c:pt idx="10">
                  <c:v>44548</c:v>
                </c:pt>
                <c:pt idx="11">
                  <c:v>44549</c:v>
                </c:pt>
                <c:pt idx="12">
                  <c:v>44550</c:v>
                </c:pt>
                <c:pt idx="13">
                  <c:v>44551</c:v>
                </c:pt>
                <c:pt idx="14">
                  <c:v>44552</c:v>
                </c:pt>
                <c:pt idx="15">
                  <c:v>44553</c:v>
                </c:pt>
                <c:pt idx="16">
                  <c:v>44554</c:v>
                </c:pt>
                <c:pt idx="17">
                  <c:v>44555</c:v>
                </c:pt>
                <c:pt idx="18">
                  <c:v>44556</c:v>
                </c:pt>
                <c:pt idx="19">
                  <c:v>44557</c:v>
                </c:pt>
                <c:pt idx="20">
                  <c:v>44558</c:v>
                </c:pt>
                <c:pt idx="21">
                  <c:v>44559</c:v>
                </c:pt>
                <c:pt idx="22">
                  <c:v>44560</c:v>
                </c:pt>
                <c:pt idx="23">
                  <c:v>44561</c:v>
                </c:pt>
                <c:pt idx="24">
                  <c:v>44562</c:v>
                </c:pt>
                <c:pt idx="25">
                  <c:v>44563</c:v>
                </c:pt>
                <c:pt idx="26">
                  <c:v>44564</c:v>
                </c:pt>
                <c:pt idx="27">
                  <c:v>44565</c:v>
                </c:pt>
                <c:pt idx="28">
                  <c:v>44566</c:v>
                </c:pt>
                <c:pt idx="29">
                  <c:v>44567</c:v>
                </c:pt>
                <c:pt idx="30">
                  <c:v>44568</c:v>
                </c:pt>
                <c:pt idx="31">
                  <c:v>44569</c:v>
                </c:pt>
                <c:pt idx="32">
                  <c:v>44570</c:v>
                </c:pt>
                <c:pt idx="33">
                  <c:v>44571</c:v>
                </c:pt>
                <c:pt idx="34">
                  <c:v>44572</c:v>
                </c:pt>
                <c:pt idx="35">
                  <c:v>44573</c:v>
                </c:pt>
                <c:pt idx="36">
                  <c:v>44574</c:v>
                </c:pt>
                <c:pt idx="37">
                  <c:v>44575</c:v>
                </c:pt>
                <c:pt idx="38">
                  <c:v>44576</c:v>
                </c:pt>
              </c:numCache>
            </c:numRef>
          </c:cat>
          <c:val>
            <c:numRef>
              <c:f>'Sheet1 (2)'!$B$9:$B$47</c:f>
              <c:numCache>
                <c:formatCode>[$-10409]0.0\ %</c:formatCode>
                <c:ptCount val="39"/>
                <c:pt idx="0">
                  <c:v>1.7594369800000001E-3</c:v>
                </c:pt>
                <c:pt idx="1">
                  <c:v>1.160092807E-3</c:v>
                </c:pt>
                <c:pt idx="2">
                  <c:v>1.578531965E-3</c:v>
                </c:pt>
                <c:pt idx="3">
                  <c:v>4.3497172600000001E-4</c:v>
                </c:pt>
                <c:pt idx="4">
                  <c:v>1.078748651E-3</c:v>
                </c:pt>
                <c:pt idx="5">
                  <c:v>2.4694745500000001E-3</c:v>
                </c:pt>
                <c:pt idx="6">
                  <c:v>2.1627998420000001E-3</c:v>
                </c:pt>
                <c:pt idx="7">
                  <c:v>1.1873664210000001E-3</c:v>
                </c:pt>
                <c:pt idx="8">
                  <c:v>3.4974441749999999E-3</c:v>
                </c:pt>
                <c:pt idx="9">
                  <c:v>3.0977189519999998E-3</c:v>
                </c:pt>
                <c:pt idx="10">
                  <c:v>3.548196333E-3</c:v>
                </c:pt>
                <c:pt idx="11">
                  <c:v>7.172743574E-3</c:v>
                </c:pt>
                <c:pt idx="12">
                  <c:v>5.3416835509999998E-3</c:v>
                </c:pt>
                <c:pt idx="13">
                  <c:v>6.0823887190000004E-3</c:v>
                </c:pt>
                <c:pt idx="14">
                  <c:v>1.5120674614000001E-2</c:v>
                </c:pt>
                <c:pt idx="15">
                  <c:v>3.4778875053000001E-2</c:v>
                </c:pt>
                <c:pt idx="16">
                  <c:v>6.1946902653999998E-2</c:v>
                </c:pt>
                <c:pt idx="17">
                  <c:v>6.9408740359000007E-2</c:v>
                </c:pt>
                <c:pt idx="18">
                  <c:v>6.3614744350999994E-2</c:v>
                </c:pt>
                <c:pt idx="19">
                  <c:v>3.9135514018000001E-2</c:v>
                </c:pt>
                <c:pt idx="20">
                  <c:v>7.5330649797999999E-2</c:v>
                </c:pt>
                <c:pt idx="21">
                  <c:v>9.9894847528E-2</c:v>
                </c:pt>
                <c:pt idx="22">
                  <c:v>0.15495867768499999</c:v>
                </c:pt>
                <c:pt idx="23">
                  <c:v>0.14587628865899999</c:v>
                </c:pt>
                <c:pt idx="24">
                  <c:v>0.30277777777699999</c:v>
                </c:pt>
                <c:pt idx="25">
                  <c:v>0.270571151984</c:v>
                </c:pt>
                <c:pt idx="26">
                  <c:v>0.259207783182</c:v>
                </c:pt>
                <c:pt idx="27">
                  <c:v>0.32864222001900001</c:v>
                </c:pt>
                <c:pt idx="28">
                  <c:v>0.350011528706</c:v>
                </c:pt>
                <c:pt idx="29">
                  <c:v>0.39426611124700001</c:v>
                </c:pt>
                <c:pt idx="30">
                  <c:v>0.38220843030700002</c:v>
                </c:pt>
                <c:pt idx="31">
                  <c:v>0.49594594594500002</c:v>
                </c:pt>
                <c:pt idx="32">
                  <c:v>0.62972453555399999</c:v>
                </c:pt>
                <c:pt idx="33">
                  <c:v>0.58607350096699995</c:v>
                </c:pt>
                <c:pt idx="34">
                  <c:v>0.64027582684200002</c:v>
                </c:pt>
                <c:pt idx="35">
                  <c:v>0.67418032786799997</c:v>
                </c:pt>
                <c:pt idx="36">
                  <c:v>0.71404288702899998</c:v>
                </c:pt>
                <c:pt idx="37">
                  <c:v>0.75955610357500003</c:v>
                </c:pt>
                <c:pt idx="38">
                  <c:v>0.74891020052299995</c:v>
                </c:pt>
              </c:numCache>
            </c:numRef>
          </c:val>
          <c:smooth val="0"/>
          <c:extLst>
            <c:ext xmlns:c16="http://schemas.microsoft.com/office/drawing/2014/chart" uri="{C3380CC4-5D6E-409C-BE32-E72D297353CC}">
              <c16:uniqueId val="{00000000-662B-403D-869A-6DE690B7B77E}"/>
            </c:ext>
          </c:extLst>
        </c:ser>
        <c:dLbls>
          <c:showLegendKey val="0"/>
          <c:showVal val="0"/>
          <c:showCatName val="0"/>
          <c:showSerName val="0"/>
          <c:showPercent val="0"/>
          <c:showBubbleSize val="0"/>
        </c:dLbls>
        <c:smooth val="0"/>
        <c:axId val="510161183"/>
        <c:axId val="510170335"/>
      </c:lineChart>
      <c:dateAx>
        <c:axId val="510161183"/>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cs-CZ"/>
          </a:p>
        </c:txPr>
        <c:crossAx val="510170335"/>
        <c:crosses val="autoZero"/>
        <c:auto val="1"/>
        <c:lblOffset val="100"/>
        <c:baseTimeUnit val="days"/>
      </c:dateAx>
      <c:valAx>
        <c:axId val="510170335"/>
        <c:scaling>
          <c:orientation val="minMax"/>
        </c:scaling>
        <c:delete val="0"/>
        <c:axPos val="l"/>
        <c:majorGridlines>
          <c:spPr>
            <a:ln w="9525" cap="flat" cmpd="sng" algn="ctr">
              <a:solidFill>
                <a:schemeClr val="tx1">
                  <a:lumMod val="15000"/>
                  <a:lumOff val="85000"/>
                </a:schemeClr>
              </a:solidFill>
              <a:round/>
            </a:ln>
            <a:effectLst/>
          </c:spPr>
        </c:majorGridlines>
        <c:numFmt formatCode="[$-10409]0.0\ %"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cs-CZ"/>
          </a:p>
        </c:txPr>
        <c:crossAx val="5101611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95491925027349E-2"/>
          <c:y val="2.8733097084892491E-2"/>
          <c:w val="0.69322079746689458"/>
          <c:h val="0.83918438300516462"/>
        </c:manualLayout>
      </c:layout>
      <c:lineChart>
        <c:grouping val="standard"/>
        <c:varyColors val="0"/>
        <c:ser>
          <c:idx val="0"/>
          <c:order val="0"/>
          <c:tx>
            <c:strRef>
              <c:f>List1!$A$2</c:f>
              <c:strCache>
                <c:ptCount val="1"/>
                <c:pt idx="0">
                  <c:v>Lékaři</c:v>
                </c:pt>
              </c:strCache>
            </c:strRef>
          </c:tx>
          <c:spPr>
            <a:ln w="6350" cap="rnd">
              <a:solidFill>
                <a:srgbClr val="4472C4"/>
              </a:solidFill>
              <a:prstDash val="solid"/>
              <a:round/>
            </a:ln>
            <a:effectLst/>
          </c:spPr>
          <c:marker>
            <c:symbol val="none"/>
          </c:marker>
          <c:dLbls>
            <c:dLbl>
              <c:idx val="182"/>
              <c:layout>
                <c:manualLayout>
                  <c:x val="-1.3019527064393282E-16"/>
                  <c:y val="9.3251132826876887E-3"/>
                </c:manualLayout>
              </c:layout>
              <c:spPr>
                <a:noFill/>
                <a:ln>
                  <a:noFill/>
                </a:ln>
                <a:effectLst/>
              </c:spPr>
              <c:txPr>
                <a:bodyPr rot="0" spcFirstLastPara="1" vertOverflow="ellipsis" vert="horz" wrap="square" anchor="ctr" anchorCtr="0"/>
                <a:lstStyle/>
                <a:p>
                  <a:pPr algn="l">
                    <a:defRPr sz="1200" b="1" i="0" u="none" strike="noStrike" kern="1200" baseline="0">
                      <a:solidFill>
                        <a:srgbClr val="4472C4"/>
                      </a:solidFill>
                      <a:latin typeface="Calibri" panose="020F0502020204030204" pitchFamily="34" charset="0"/>
                      <a:ea typeface="+mn-ea"/>
                      <a:cs typeface="Calibri" panose="020F0502020204030204" pitchFamily="34" charset="0"/>
                    </a:defRPr>
                  </a:pPr>
                  <a:endParaRPr lang="cs-CZ"/>
                </a:p>
              </c:txPr>
              <c:dLblPos val="r"/>
              <c:showLegendKey val="0"/>
              <c:showVal val="1"/>
              <c:showCatName val="0"/>
              <c:showSerName val="1"/>
              <c:showPercent val="0"/>
              <c:showBubbleSize val="0"/>
              <c:extLst>
                <c:ext xmlns:c15="http://schemas.microsoft.com/office/drawing/2012/chart" uri="{CE6537A1-D6FC-4f65-9D91-7224C49458BB}">
                  <c15:layout>
                    <c:manualLayout>
                      <c:w val="0.24601304996662368"/>
                      <c:h val="4.1147062359859425E-2"/>
                    </c:manualLayout>
                  </c15:layout>
                </c:ext>
                <c:ext xmlns:c16="http://schemas.microsoft.com/office/drawing/2014/chart" uri="{C3380CC4-5D6E-409C-BE32-E72D297353CC}">
                  <c16:uniqueId val="{00000004-CC25-463F-AAD4-4AD72ABB9622}"/>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showLegendKey val="0"/>
            <c:showVal val="0"/>
            <c:showCatName val="0"/>
            <c:showSerName val="0"/>
            <c:showPercent val="0"/>
            <c:showBubbleSize val="0"/>
            <c:extLst>
              <c:ext xmlns:c15="http://schemas.microsoft.com/office/drawing/2012/chart" uri="{CE6537A1-D6FC-4f65-9D91-7224C49458BB}">
                <c15:showLeaderLines val="0"/>
              </c:ext>
            </c:extLst>
          </c:dLbls>
          <c:trendline>
            <c:spPr>
              <a:ln w="25400" cap="rnd">
                <a:solidFill>
                  <a:srgbClr val="4472C4"/>
                </a:solidFill>
                <a:prstDash val="solid"/>
              </a:ln>
              <a:effectLst/>
            </c:spPr>
            <c:trendlineType val="movingAvg"/>
            <c:period val="7"/>
            <c:dispRSqr val="0"/>
            <c:dispEq val="0"/>
          </c:trendline>
          <c:cat>
            <c:strRef>
              <c:f>List1!$B$1:$GB$1</c:f>
              <c:strCache>
                <c:ptCount val="183"/>
                <c:pt idx="0">
                  <c:v>20.07.21</c:v>
                </c:pt>
                <c:pt idx="1">
                  <c:v>21.07.21</c:v>
                </c:pt>
                <c:pt idx="2">
                  <c:v>22.07.21</c:v>
                </c:pt>
                <c:pt idx="3">
                  <c:v>23.07.21</c:v>
                </c:pt>
                <c:pt idx="4">
                  <c:v>24.07.21</c:v>
                </c:pt>
                <c:pt idx="5">
                  <c:v>25.07.21</c:v>
                </c:pt>
                <c:pt idx="6">
                  <c:v>26.07.21</c:v>
                </c:pt>
                <c:pt idx="7">
                  <c:v>27.07.21</c:v>
                </c:pt>
                <c:pt idx="8">
                  <c:v>28.07.21</c:v>
                </c:pt>
                <c:pt idx="9">
                  <c:v>29.07.21</c:v>
                </c:pt>
                <c:pt idx="10">
                  <c:v>30.07.21</c:v>
                </c:pt>
                <c:pt idx="11">
                  <c:v>31.07.21</c:v>
                </c:pt>
                <c:pt idx="12">
                  <c:v>01.08.21</c:v>
                </c:pt>
                <c:pt idx="13">
                  <c:v>02.08.21</c:v>
                </c:pt>
                <c:pt idx="14">
                  <c:v>03.08.21</c:v>
                </c:pt>
                <c:pt idx="15">
                  <c:v>04.08.21</c:v>
                </c:pt>
                <c:pt idx="16">
                  <c:v>05.08.21</c:v>
                </c:pt>
                <c:pt idx="17">
                  <c:v>06.08.21</c:v>
                </c:pt>
                <c:pt idx="18">
                  <c:v>07.08.21</c:v>
                </c:pt>
                <c:pt idx="19">
                  <c:v>08.08.21</c:v>
                </c:pt>
                <c:pt idx="20">
                  <c:v>09.08.21</c:v>
                </c:pt>
                <c:pt idx="21">
                  <c:v>10.08.21</c:v>
                </c:pt>
                <c:pt idx="22">
                  <c:v>11.08.21</c:v>
                </c:pt>
                <c:pt idx="23">
                  <c:v>12.08.21</c:v>
                </c:pt>
                <c:pt idx="24">
                  <c:v>13.08.21</c:v>
                </c:pt>
                <c:pt idx="25">
                  <c:v>14.08.21</c:v>
                </c:pt>
                <c:pt idx="26">
                  <c:v>15.08.21</c:v>
                </c:pt>
                <c:pt idx="27">
                  <c:v>16.08.21</c:v>
                </c:pt>
                <c:pt idx="28">
                  <c:v>17.08.21</c:v>
                </c:pt>
                <c:pt idx="29">
                  <c:v>18.08.21</c:v>
                </c:pt>
                <c:pt idx="30">
                  <c:v>19.08.21</c:v>
                </c:pt>
                <c:pt idx="31">
                  <c:v>20.08.21</c:v>
                </c:pt>
                <c:pt idx="32">
                  <c:v>21.08.21</c:v>
                </c:pt>
                <c:pt idx="33">
                  <c:v>22.08.21</c:v>
                </c:pt>
                <c:pt idx="34">
                  <c:v>23.08.21</c:v>
                </c:pt>
                <c:pt idx="35">
                  <c:v>24.08.21</c:v>
                </c:pt>
                <c:pt idx="36">
                  <c:v>25.08.21</c:v>
                </c:pt>
                <c:pt idx="37">
                  <c:v>26.08.21</c:v>
                </c:pt>
                <c:pt idx="38">
                  <c:v>27.08.21</c:v>
                </c:pt>
                <c:pt idx="39">
                  <c:v>28.08.21</c:v>
                </c:pt>
                <c:pt idx="40">
                  <c:v>29.08.21</c:v>
                </c:pt>
                <c:pt idx="41">
                  <c:v>30.08.21</c:v>
                </c:pt>
                <c:pt idx="42">
                  <c:v>31.08.21</c:v>
                </c:pt>
                <c:pt idx="43">
                  <c:v>01.09.21</c:v>
                </c:pt>
                <c:pt idx="44">
                  <c:v>02.09.21</c:v>
                </c:pt>
                <c:pt idx="45">
                  <c:v>03.09.21</c:v>
                </c:pt>
                <c:pt idx="46">
                  <c:v>04.09.21</c:v>
                </c:pt>
                <c:pt idx="47">
                  <c:v>05.09.21</c:v>
                </c:pt>
                <c:pt idx="48">
                  <c:v>06.09.21</c:v>
                </c:pt>
                <c:pt idx="49">
                  <c:v>07.09.21</c:v>
                </c:pt>
                <c:pt idx="50">
                  <c:v>08.09.21</c:v>
                </c:pt>
                <c:pt idx="51">
                  <c:v>09.09.21</c:v>
                </c:pt>
                <c:pt idx="52">
                  <c:v>10.09.21</c:v>
                </c:pt>
                <c:pt idx="53">
                  <c:v>11.09.21</c:v>
                </c:pt>
                <c:pt idx="54">
                  <c:v>12.09.21</c:v>
                </c:pt>
                <c:pt idx="55">
                  <c:v>13.09.21</c:v>
                </c:pt>
                <c:pt idx="56">
                  <c:v>14.09.21</c:v>
                </c:pt>
                <c:pt idx="57">
                  <c:v>15.09.21</c:v>
                </c:pt>
                <c:pt idx="58">
                  <c:v>16.09.21</c:v>
                </c:pt>
                <c:pt idx="59">
                  <c:v>17.09.21</c:v>
                </c:pt>
                <c:pt idx="60">
                  <c:v>18.09.21</c:v>
                </c:pt>
                <c:pt idx="61">
                  <c:v>19.09.21</c:v>
                </c:pt>
                <c:pt idx="62">
                  <c:v>20.09.21</c:v>
                </c:pt>
                <c:pt idx="63">
                  <c:v>21.09.21</c:v>
                </c:pt>
                <c:pt idx="64">
                  <c:v>22.09.21</c:v>
                </c:pt>
                <c:pt idx="65">
                  <c:v>23.09.21</c:v>
                </c:pt>
                <c:pt idx="66">
                  <c:v>24.09.21</c:v>
                </c:pt>
                <c:pt idx="67">
                  <c:v>25.09.21</c:v>
                </c:pt>
                <c:pt idx="68">
                  <c:v>26.09.21</c:v>
                </c:pt>
                <c:pt idx="69">
                  <c:v>27.09.21</c:v>
                </c:pt>
                <c:pt idx="70">
                  <c:v>28.09.21</c:v>
                </c:pt>
                <c:pt idx="71">
                  <c:v>29.09.21</c:v>
                </c:pt>
                <c:pt idx="72">
                  <c:v>30.09.21</c:v>
                </c:pt>
                <c:pt idx="73">
                  <c:v>01.10.21</c:v>
                </c:pt>
                <c:pt idx="74">
                  <c:v>02.10.21</c:v>
                </c:pt>
                <c:pt idx="75">
                  <c:v>03.10.21</c:v>
                </c:pt>
                <c:pt idx="76">
                  <c:v>04.10.21</c:v>
                </c:pt>
                <c:pt idx="77">
                  <c:v>05.10.21</c:v>
                </c:pt>
                <c:pt idx="78">
                  <c:v>06.10.21</c:v>
                </c:pt>
                <c:pt idx="79">
                  <c:v>07.10.21</c:v>
                </c:pt>
                <c:pt idx="80">
                  <c:v>08.10.21</c:v>
                </c:pt>
                <c:pt idx="81">
                  <c:v>09.10.21</c:v>
                </c:pt>
                <c:pt idx="82">
                  <c:v>10.10.21</c:v>
                </c:pt>
                <c:pt idx="83">
                  <c:v>11.10.21</c:v>
                </c:pt>
                <c:pt idx="84">
                  <c:v>12.10.21</c:v>
                </c:pt>
                <c:pt idx="85">
                  <c:v>13.10.21</c:v>
                </c:pt>
                <c:pt idx="86">
                  <c:v>14.10.21</c:v>
                </c:pt>
                <c:pt idx="87">
                  <c:v>15.10.21</c:v>
                </c:pt>
                <c:pt idx="88">
                  <c:v>16.10.21</c:v>
                </c:pt>
                <c:pt idx="89">
                  <c:v>17.10.21</c:v>
                </c:pt>
                <c:pt idx="90">
                  <c:v>18.10.21</c:v>
                </c:pt>
                <c:pt idx="91">
                  <c:v>19.10.21</c:v>
                </c:pt>
                <c:pt idx="92">
                  <c:v>20.10.21</c:v>
                </c:pt>
                <c:pt idx="93">
                  <c:v>21.10.21</c:v>
                </c:pt>
                <c:pt idx="94">
                  <c:v>22.10.21</c:v>
                </c:pt>
                <c:pt idx="95">
                  <c:v>23.10.21</c:v>
                </c:pt>
                <c:pt idx="96">
                  <c:v>24.10.21</c:v>
                </c:pt>
                <c:pt idx="97">
                  <c:v>25.10.21</c:v>
                </c:pt>
                <c:pt idx="98">
                  <c:v>26.10.21</c:v>
                </c:pt>
                <c:pt idx="99">
                  <c:v>27.10.21</c:v>
                </c:pt>
                <c:pt idx="100">
                  <c:v>28.10.21</c:v>
                </c:pt>
                <c:pt idx="101">
                  <c:v>29.10.21</c:v>
                </c:pt>
                <c:pt idx="102">
                  <c:v>30.10.21</c:v>
                </c:pt>
                <c:pt idx="103">
                  <c:v>31.10.21</c:v>
                </c:pt>
                <c:pt idx="104">
                  <c:v>01.11.21</c:v>
                </c:pt>
                <c:pt idx="105">
                  <c:v>02.11.21</c:v>
                </c:pt>
                <c:pt idx="106">
                  <c:v>03.11.21</c:v>
                </c:pt>
                <c:pt idx="107">
                  <c:v>04.11.21</c:v>
                </c:pt>
                <c:pt idx="108">
                  <c:v>05.11.21</c:v>
                </c:pt>
                <c:pt idx="109">
                  <c:v>06.11.21</c:v>
                </c:pt>
                <c:pt idx="110">
                  <c:v>07.11.21</c:v>
                </c:pt>
                <c:pt idx="111">
                  <c:v>08.11.21</c:v>
                </c:pt>
                <c:pt idx="112">
                  <c:v>09.11.21</c:v>
                </c:pt>
                <c:pt idx="113">
                  <c:v>10.11.21</c:v>
                </c:pt>
                <c:pt idx="114">
                  <c:v>11.11.21</c:v>
                </c:pt>
                <c:pt idx="115">
                  <c:v>12.11.21</c:v>
                </c:pt>
                <c:pt idx="116">
                  <c:v>13.11.21</c:v>
                </c:pt>
                <c:pt idx="117">
                  <c:v>14.11.21</c:v>
                </c:pt>
                <c:pt idx="118">
                  <c:v>15.11.21</c:v>
                </c:pt>
                <c:pt idx="119">
                  <c:v>16.11.21</c:v>
                </c:pt>
                <c:pt idx="120">
                  <c:v>17.11.21</c:v>
                </c:pt>
                <c:pt idx="121">
                  <c:v>18.11.21</c:v>
                </c:pt>
                <c:pt idx="122">
                  <c:v>19.11.21</c:v>
                </c:pt>
                <c:pt idx="123">
                  <c:v>20.11.21</c:v>
                </c:pt>
                <c:pt idx="124">
                  <c:v>21.11.21</c:v>
                </c:pt>
                <c:pt idx="125">
                  <c:v>22.11.21</c:v>
                </c:pt>
                <c:pt idx="126">
                  <c:v>23.11.21</c:v>
                </c:pt>
                <c:pt idx="127">
                  <c:v>24.11.21</c:v>
                </c:pt>
                <c:pt idx="128">
                  <c:v>25.11.21</c:v>
                </c:pt>
                <c:pt idx="129">
                  <c:v>26.11.21</c:v>
                </c:pt>
                <c:pt idx="130">
                  <c:v>27.11.21</c:v>
                </c:pt>
                <c:pt idx="131">
                  <c:v>28.11.21</c:v>
                </c:pt>
                <c:pt idx="132">
                  <c:v>29.11.21</c:v>
                </c:pt>
                <c:pt idx="133">
                  <c:v>30.11.21</c:v>
                </c:pt>
                <c:pt idx="134">
                  <c:v>01.12.21</c:v>
                </c:pt>
                <c:pt idx="135">
                  <c:v>02.12.21</c:v>
                </c:pt>
                <c:pt idx="136">
                  <c:v>03.12.21</c:v>
                </c:pt>
                <c:pt idx="137">
                  <c:v>04.12.21</c:v>
                </c:pt>
                <c:pt idx="138">
                  <c:v>05.12.21</c:v>
                </c:pt>
                <c:pt idx="139">
                  <c:v>06.12.21</c:v>
                </c:pt>
                <c:pt idx="140">
                  <c:v>07.12.21</c:v>
                </c:pt>
                <c:pt idx="141">
                  <c:v>08.12.21</c:v>
                </c:pt>
                <c:pt idx="142">
                  <c:v>09.12.21</c:v>
                </c:pt>
                <c:pt idx="143">
                  <c:v>10.12.21</c:v>
                </c:pt>
                <c:pt idx="144">
                  <c:v>11.12.21</c:v>
                </c:pt>
                <c:pt idx="145">
                  <c:v>12.12.21</c:v>
                </c:pt>
                <c:pt idx="146">
                  <c:v>13.12.21</c:v>
                </c:pt>
                <c:pt idx="147">
                  <c:v>14.12.21</c:v>
                </c:pt>
                <c:pt idx="148">
                  <c:v>15.12.21</c:v>
                </c:pt>
                <c:pt idx="149">
                  <c:v>16.12.21</c:v>
                </c:pt>
                <c:pt idx="150">
                  <c:v>17.12.21</c:v>
                </c:pt>
                <c:pt idx="151">
                  <c:v>18.12.21</c:v>
                </c:pt>
                <c:pt idx="152">
                  <c:v>19.12.21</c:v>
                </c:pt>
                <c:pt idx="153">
                  <c:v>20.12.21</c:v>
                </c:pt>
                <c:pt idx="154">
                  <c:v>21.12.21</c:v>
                </c:pt>
                <c:pt idx="155">
                  <c:v>22.12.21</c:v>
                </c:pt>
                <c:pt idx="156">
                  <c:v>23.12.21</c:v>
                </c:pt>
                <c:pt idx="157">
                  <c:v>24.12.21</c:v>
                </c:pt>
                <c:pt idx="158">
                  <c:v>25.12.21</c:v>
                </c:pt>
                <c:pt idx="159">
                  <c:v>26.12.21</c:v>
                </c:pt>
                <c:pt idx="160">
                  <c:v>27.12.21</c:v>
                </c:pt>
                <c:pt idx="161">
                  <c:v>28.12.21</c:v>
                </c:pt>
                <c:pt idx="162">
                  <c:v>29.12.21</c:v>
                </c:pt>
                <c:pt idx="163">
                  <c:v>30.12.21</c:v>
                </c:pt>
                <c:pt idx="164">
                  <c:v>31.12.21</c:v>
                </c:pt>
                <c:pt idx="165">
                  <c:v>01.01.22</c:v>
                </c:pt>
                <c:pt idx="166">
                  <c:v>02.01.22</c:v>
                </c:pt>
                <c:pt idx="167">
                  <c:v>03.01.22</c:v>
                </c:pt>
                <c:pt idx="168">
                  <c:v>04.01.22</c:v>
                </c:pt>
                <c:pt idx="169">
                  <c:v>05.01.22</c:v>
                </c:pt>
                <c:pt idx="170">
                  <c:v>06.01.22</c:v>
                </c:pt>
                <c:pt idx="171">
                  <c:v>07.01.22</c:v>
                </c:pt>
                <c:pt idx="172">
                  <c:v>08.01.22</c:v>
                </c:pt>
                <c:pt idx="173">
                  <c:v>09.01.22</c:v>
                </c:pt>
                <c:pt idx="174">
                  <c:v>10.01.22</c:v>
                </c:pt>
                <c:pt idx="175">
                  <c:v>11.01.22</c:v>
                </c:pt>
                <c:pt idx="176">
                  <c:v>12.01.22</c:v>
                </c:pt>
                <c:pt idx="177">
                  <c:v>13.01.22</c:v>
                </c:pt>
                <c:pt idx="178">
                  <c:v>14.01.22</c:v>
                </c:pt>
                <c:pt idx="179">
                  <c:v>15.01.22</c:v>
                </c:pt>
                <c:pt idx="180">
                  <c:v>16.01.22</c:v>
                </c:pt>
                <c:pt idx="181">
                  <c:v>17.01.22</c:v>
                </c:pt>
                <c:pt idx="182">
                  <c:v>18.01.22</c:v>
                </c:pt>
              </c:strCache>
            </c:strRef>
          </c:cat>
          <c:val>
            <c:numRef>
              <c:f>List1!$B$2:$GB$2</c:f>
              <c:numCache>
                <c:formatCode>General</c:formatCode>
                <c:ptCount val="183"/>
                <c:pt idx="0">
                  <c:v>2</c:v>
                </c:pt>
                <c:pt idx="1">
                  <c:v>2</c:v>
                </c:pt>
                <c:pt idx="2">
                  <c:v>4</c:v>
                </c:pt>
                <c:pt idx="3">
                  <c:v>0</c:v>
                </c:pt>
                <c:pt idx="4">
                  <c:v>0</c:v>
                </c:pt>
                <c:pt idx="5">
                  <c:v>1</c:v>
                </c:pt>
                <c:pt idx="6">
                  <c:v>3</c:v>
                </c:pt>
                <c:pt idx="7">
                  <c:v>1</c:v>
                </c:pt>
                <c:pt idx="8">
                  <c:v>1</c:v>
                </c:pt>
                <c:pt idx="9">
                  <c:v>2</c:v>
                </c:pt>
                <c:pt idx="10">
                  <c:v>2</c:v>
                </c:pt>
                <c:pt idx="11">
                  <c:v>0</c:v>
                </c:pt>
                <c:pt idx="12">
                  <c:v>0</c:v>
                </c:pt>
                <c:pt idx="13">
                  <c:v>0</c:v>
                </c:pt>
                <c:pt idx="14">
                  <c:v>0</c:v>
                </c:pt>
                <c:pt idx="15">
                  <c:v>6</c:v>
                </c:pt>
                <c:pt idx="16">
                  <c:v>1</c:v>
                </c:pt>
                <c:pt idx="17">
                  <c:v>2</c:v>
                </c:pt>
                <c:pt idx="18">
                  <c:v>0</c:v>
                </c:pt>
                <c:pt idx="19">
                  <c:v>2</c:v>
                </c:pt>
                <c:pt idx="20">
                  <c:v>2</c:v>
                </c:pt>
                <c:pt idx="21">
                  <c:v>0</c:v>
                </c:pt>
                <c:pt idx="22">
                  <c:v>3</c:v>
                </c:pt>
                <c:pt idx="23">
                  <c:v>1</c:v>
                </c:pt>
                <c:pt idx="24">
                  <c:v>1</c:v>
                </c:pt>
                <c:pt idx="25">
                  <c:v>0</c:v>
                </c:pt>
                <c:pt idx="26">
                  <c:v>0</c:v>
                </c:pt>
                <c:pt idx="27">
                  <c:v>3</c:v>
                </c:pt>
                <c:pt idx="28">
                  <c:v>0</c:v>
                </c:pt>
                <c:pt idx="29">
                  <c:v>0</c:v>
                </c:pt>
                <c:pt idx="30">
                  <c:v>1</c:v>
                </c:pt>
                <c:pt idx="31">
                  <c:v>1</c:v>
                </c:pt>
                <c:pt idx="32">
                  <c:v>0</c:v>
                </c:pt>
                <c:pt idx="33">
                  <c:v>0</c:v>
                </c:pt>
                <c:pt idx="34">
                  <c:v>2</c:v>
                </c:pt>
                <c:pt idx="35">
                  <c:v>0</c:v>
                </c:pt>
                <c:pt idx="36">
                  <c:v>1</c:v>
                </c:pt>
                <c:pt idx="37">
                  <c:v>1</c:v>
                </c:pt>
                <c:pt idx="38">
                  <c:v>1</c:v>
                </c:pt>
                <c:pt idx="39">
                  <c:v>1</c:v>
                </c:pt>
                <c:pt idx="40">
                  <c:v>0</c:v>
                </c:pt>
                <c:pt idx="41">
                  <c:v>0</c:v>
                </c:pt>
                <c:pt idx="42">
                  <c:v>4</c:v>
                </c:pt>
                <c:pt idx="43">
                  <c:v>4</c:v>
                </c:pt>
                <c:pt idx="44">
                  <c:v>1</c:v>
                </c:pt>
                <c:pt idx="45">
                  <c:v>1</c:v>
                </c:pt>
                <c:pt idx="46">
                  <c:v>3</c:v>
                </c:pt>
                <c:pt idx="47">
                  <c:v>1</c:v>
                </c:pt>
                <c:pt idx="48">
                  <c:v>0</c:v>
                </c:pt>
                <c:pt idx="49">
                  <c:v>2</c:v>
                </c:pt>
                <c:pt idx="50">
                  <c:v>0</c:v>
                </c:pt>
                <c:pt idx="51">
                  <c:v>0</c:v>
                </c:pt>
                <c:pt idx="52">
                  <c:v>3</c:v>
                </c:pt>
                <c:pt idx="53">
                  <c:v>3</c:v>
                </c:pt>
                <c:pt idx="54">
                  <c:v>0</c:v>
                </c:pt>
                <c:pt idx="55">
                  <c:v>4</c:v>
                </c:pt>
                <c:pt idx="56">
                  <c:v>2</c:v>
                </c:pt>
                <c:pt idx="57">
                  <c:v>0</c:v>
                </c:pt>
                <c:pt idx="58">
                  <c:v>1</c:v>
                </c:pt>
                <c:pt idx="59">
                  <c:v>2</c:v>
                </c:pt>
                <c:pt idx="60">
                  <c:v>1</c:v>
                </c:pt>
                <c:pt idx="61">
                  <c:v>1</c:v>
                </c:pt>
                <c:pt idx="62">
                  <c:v>0</c:v>
                </c:pt>
                <c:pt idx="63">
                  <c:v>3</c:v>
                </c:pt>
                <c:pt idx="64">
                  <c:v>3</c:v>
                </c:pt>
                <c:pt idx="65">
                  <c:v>2</c:v>
                </c:pt>
                <c:pt idx="66">
                  <c:v>3</c:v>
                </c:pt>
                <c:pt idx="67">
                  <c:v>0</c:v>
                </c:pt>
                <c:pt idx="68">
                  <c:v>2</c:v>
                </c:pt>
                <c:pt idx="69">
                  <c:v>6</c:v>
                </c:pt>
                <c:pt idx="70">
                  <c:v>4</c:v>
                </c:pt>
                <c:pt idx="71">
                  <c:v>3</c:v>
                </c:pt>
                <c:pt idx="72">
                  <c:v>9</c:v>
                </c:pt>
                <c:pt idx="73">
                  <c:v>2</c:v>
                </c:pt>
                <c:pt idx="74">
                  <c:v>5</c:v>
                </c:pt>
                <c:pt idx="75">
                  <c:v>1</c:v>
                </c:pt>
                <c:pt idx="76">
                  <c:v>0</c:v>
                </c:pt>
                <c:pt idx="77">
                  <c:v>2</c:v>
                </c:pt>
                <c:pt idx="78">
                  <c:v>5</c:v>
                </c:pt>
                <c:pt idx="79">
                  <c:v>6</c:v>
                </c:pt>
                <c:pt idx="80">
                  <c:v>6</c:v>
                </c:pt>
                <c:pt idx="81">
                  <c:v>1</c:v>
                </c:pt>
                <c:pt idx="82">
                  <c:v>1</c:v>
                </c:pt>
                <c:pt idx="83">
                  <c:v>3</c:v>
                </c:pt>
                <c:pt idx="84">
                  <c:v>10</c:v>
                </c:pt>
                <c:pt idx="85">
                  <c:v>7</c:v>
                </c:pt>
                <c:pt idx="86">
                  <c:v>7</c:v>
                </c:pt>
                <c:pt idx="87">
                  <c:v>6</c:v>
                </c:pt>
                <c:pt idx="88">
                  <c:v>5</c:v>
                </c:pt>
                <c:pt idx="89">
                  <c:v>8</c:v>
                </c:pt>
                <c:pt idx="90">
                  <c:v>17</c:v>
                </c:pt>
                <c:pt idx="91">
                  <c:v>16</c:v>
                </c:pt>
                <c:pt idx="92">
                  <c:v>13</c:v>
                </c:pt>
                <c:pt idx="93">
                  <c:v>13</c:v>
                </c:pt>
                <c:pt idx="94">
                  <c:v>16</c:v>
                </c:pt>
                <c:pt idx="95">
                  <c:v>13</c:v>
                </c:pt>
                <c:pt idx="96">
                  <c:v>12</c:v>
                </c:pt>
                <c:pt idx="97">
                  <c:v>28</c:v>
                </c:pt>
                <c:pt idx="98">
                  <c:v>20</c:v>
                </c:pt>
                <c:pt idx="99">
                  <c:v>23</c:v>
                </c:pt>
                <c:pt idx="100">
                  <c:v>22</c:v>
                </c:pt>
                <c:pt idx="101">
                  <c:v>36</c:v>
                </c:pt>
                <c:pt idx="102">
                  <c:v>21</c:v>
                </c:pt>
                <c:pt idx="103">
                  <c:v>18</c:v>
                </c:pt>
                <c:pt idx="104">
                  <c:v>55</c:v>
                </c:pt>
                <c:pt idx="105">
                  <c:v>38</c:v>
                </c:pt>
                <c:pt idx="106">
                  <c:v>38</c:v>
                </c:pt>
                <c:pt idx="107">
                  <c:v>27</c:v>
                </c:pt>
                <c:pt idx="108">
                  <c:v>40</c:v>
                </c:pt>
                <c:pt idx="109">
                  <c:v>20</c:v>
                </c:pt>
                <c:pt idx="110">
                  <c:v>18</c:v>
                </c:pt>
                <c:pt idx="111">
                  <c:v>52</c:v>
                </c:pt>
                <c:pt idx="112">
                  <c:v>46</c:v>
                </c:pt>
                <c:pt idx="113">
                  <c:v>48</c:v>
                </c:pt>
                <c:pt idx="114">
                  <c:v>50</c:v>
                </c:pt>
                <c:pt idx="115">
                  <c:v>42</c:v>
                </c:pt>
                <c:pt idx="116">
                  <c:v>49</c:v>
                </c:pt>
                <c:pt idx="117">
                  <c:v>22</c:v>
                </c:pt>
                <c:pt idx="118">
                  <c:v>63</c:v>
                </c:pt>
                <c:pt idx="119">
                  <c:v>57</c:v>
                </c:pt>
                <c:pt idx="120">
                  <c:v>44</c:v>
                </c:pt>
                <c:pt idx="121">
                  <c:v>54</c:v>
                </c:pt>
                <c:pt idx="122">
                  <c:v>78</c:v>
                </c:pt>
                <c:pt idx="123">
                  <c:v>45</c:v>
                </c:pt>
                <c:pt idx="124">
                  <c:v>31</c:v>
                </c:pt>
                <c:pt idx="125">
                  <c:v>60</c:v>
                </c:pt>
                <c:pt idx="126">
                  <c:v>71</c:v>
                </c:pt>
                <c:pt idx="127">
                  <c:v>41</c:v>
                </c:pt>
                <c:pt idx="128">
                  <c:v>66</c:v>
                </c:pt>
                <c:pt idx="129">
                  <c:v>54</c:v>
                </c:pt>
                <c:pt idx="130">
                  <c:v>34</c:v>
                </c:pt>
                <c:pt idx="131">
                  <c:v>40</c:v>
                </c:pt>
                <c:pt idx="132">
                  <c:v>57</c:v>
                </c:pt>
                <c:pt idx="133">
                  <c:v>46</c:v>
                </c:pt>
                <c:pt idx="134">
                  <c:v>55</c:v>
                </c:pt>
                <c:pt idx="135">
                  <c:v>39</c:v>
                </c:pt>
                <c:pt idx="136">
                  <c:v>50</c:v>
                </c:pt>
                <c:pt idx="137">
                  <c:v>24</c:v>
                </c:pt>
                <c:pt idx="138">
                  <c:v>15</c:v>
                </c:pt>
                <c:pt idx="139">
                  <c:v>45</c:v>
                </c:pt>
                <c:pt idx="140">
                  <c:v>40</c:v>
                </c:pt>
                <c:pt idx="141">
                  <c:v>30</c:v>
                </c:pt>
                <c:pt idx="142">
                  <c:v>30</c:v>
                </c:pt>
                <c:pt idx="143">
                  <c:v>33</c:v>
                </c:pt>
                <c:pt idx="144">
                  <c:v>19</c:v>
                </c:pt>
                <c:pt idx="145">
                  <c:v>11</c:v>
                </c:pt>
                <c:pt idx="146">
                  <c:v>29</c:v>
                </c:pt>
                <c:pt idx="147">
                  <c:v>25</c:v>
                </c:pt>
                <c:pt idx="148">
                  <c:v>23</c:v>
                </c:pt>
                <c:pt idx="149">
                  <c:v>16</c:v>
                </c:pt>
                <c:pt idx="150">
                  <c:v>22</c:v>
                </c:pt>
                <c:pt idx="151">
                  <c:v>20</c:v>
                </c:pt>
                <c:pt idx="152">
                  <c:v>15</c:v>
                </c:pt>
                <c:pt idx="153">
                  <c:v>27</c:v>
                </c:pt>
                <c:pt idx="154">
                  <c:v>27</c:v>
                </c:pt>
                <c:pt idx="155">
                  <c:v>21</c:v>
                </c:pt>
                <c:pt idx="156">
                  <c:v>22</c:v>
                </c:pt>
                <c:pt idx="157">
                  <c:v>4</c:v>
                </c:pt>
                <c:pt idx="158">
                  <c:v>11</c:v>
                </c:pt>
                <c:pt idx="159">
                  <c:v>8</c:v>
                </c:pt>
                <c:pt idx="160">
                  <c:v>24</c:v>
                </c:pt>
                <c:pt idx="161">
                  <c:v>32</c:v>
                </c:pt>
                <c:pt idx="162">
                  <c:v>23</c:v>
                </c:pt>
                <c:pt idx="163">
                  <c:v>20</c:v>
                </c:pt>
                <c:pt idx="164">
                  <c:v>18</c:v>
                </c:pt>
                <c:pt idx="165">
                  <c:v>7</c:v>
                </c:pt>
                <c:pt idx="166">
                  <c:v>24</c:v>
                </c:pt>
                <c:pt idx="167">
                  <c:v>33</c:v>
                </c:pt>
                <c:pt idx="168">
                  <c:v>26</c:v>
                </c:pt>
                <c:pt idx="169">
                  <c:v>20</c:v>
                </c:pt>
                <c:pt idx="170">
                  <c:v>25</c:v>
                </c:pt>
                <c:pt idx="171">
                  <c:v>18</c:v>
                </c:pt>
                <c:pt idx="172">
                  <c:v>17</c:v>
                </c:pt>
                <c:pt idx="173">
                  <c:v>13</c:v>
                </c:pt>
                <c:pt idx="174">
                  <c:v>32</c:v>
                </c:pt>
                <c:pt idx="175">
                  <c:v>46</c:v>
                </c:pt>
                <c:pt idx="176">
                  <c:v>70</c:v>
                </c:pt>
                <c:pt idx="177">
                  <c:v>39</c:v>
                </c:pt>
                <c:pt idx="178">
                  <c:v>45</c:v>
                </c:pt>
                <c:pt idx="179">
                  <c:v>29</c:v>
                </c:pt>
                <c:pt idx="180">
                  <c:v>39</c:v>
                </c:pt>
                <c:pt idx="181">
                  <c:v>106</c:v>
                </c:pt>
                <c:pt idx="182">
                  <c:v>89</c:v>
                </c:pt>
              </c:numCache>
            </c:numRef>
          </c:val>
          <c:smooth val="0"/>
          <c:extLst>
            <c:ext xmlns:c16="http://schemas.microsoft.com/office/drawing/2014/chart" uri="{C3380CC4-5D6E-409C-BE32-E72D297353CC}">
              <c16:uniqueId val="{00000001-E8FD-43E4-BA1D-0B494D841FF9}"/>
            </c:ext>
          </c:extLst>
        </c:ser>
        <c:ser>
          <c:idx val="1"/>
          <c:order val="1"/>
          <c:tx>
            <c:strRef>
              <c:f>List1!$A$3</c:f>
              <c:strCache>
                <c:ptCount val="1"/>
                <c:pt idx="0">
                  <c:v>Sesterská povolání</c:v>
                </c:pt>
              </c:strCache>
            </c:strRef>
          </c:tx>
          <c:spPr>
            <a:ln w="6350" cap="rnd">
              <a:solidFill>
                <a:srgbClr val="ED7D31"/>
              </a:solidFill>
              <a:prstDash val="solid"/>
              <a:round/>
            </a:ln>
            <a:effectLst/>
          </c:spPr>
          <c:marker>
            <c:symbol val="none"/>
          </c:marker>
          <c:dLbls>
            <c:dLbl>
              <c:idx val="182"/>
              <c:layout>
                <c:manualLayout>
                  <c:x val="6.9898053688695042E-8"/>
                  <c:y val="-2.3311865380609576E-3"/>
                </c:manualLayout>
              </c:layout>
              <c:spPr>
                <a:noFill/>
                <a:ln>
                  <a:noFill/>
                </a:ln>
                <a:effectLst/>
              </c:spPr>
              <c:txPr>
                <a:bodyPr rot="0" spcFirstLastPara="1" vertOverflow="ellipsis" vert="horz" wrap="square" anchor="ctr" anchorCtr="0"/>
                <a:lstStyle/>
                <a:p>
                  <a:pPr algn="l">
                    <a:defRPr sz="1200" b="1" i="0" u="none" strike="noStrike" kern="1200" baseline="0">
                      <a:solidFill>
                        <a:srgbClr val="ED7D31"/>
                      </a:solidFill>
                      <a:latin typeface="Calibri" panose="020F0502020204030204" pitchFamily="34" charset="0"/>
                      <a:ea typeface="+mn-ea"/>
                      <a:cs typeface="Calibri" panose="020F0502020204030204" pitchFamily="34" charset="0"/>
                    </a:defRPr>
                  </a:pPr>
                  <a:endParaRPr lang="cs-CZ"/>
                </a:p>
              </c:txPr>
              <c:dLblPos val="r"/>
              <c:showLegendKey val="0"/>
              <c:showVal val="1"/>
              <c:showCatName val="0"/>
              <c:showSerName val="1"/>
              <c:showPercent val="0"/>
              <c:showBubbleSize val="0"/>
              <c:extLst>
                <c:ext xmlns:c15="http://schemas.microsoft.com/office/drawing/2012/chart" uri="{CE6537A1-D6FC-4f65-9D91-7224C49458BB}">
                  <c15:layout>
                    <c:manualLayout>
                      <c:w val="0.22244118952507763"/>
                      <c:h val="7.5300289757703073E-2"/>
                    </c:manualLayout>
                  </c15:layout>
                </c:ext>
                <c:ext xmlns:c16="http://schemas.microsoft.com/office/drawing/2014/chart" uri="{C3380CC4-5D6E-409C-BE32-E72D297353CC}">
                  <c16:uniqueId val="{00000005-CC25-463F-AAD4-4AD72ABB9622}"/>
                </c:ext>
              </c:extLst>
            </c:dLbl>
            <c:spPr>
              <a:noFill/>
              <a:ln>
                <a:noFill/>
              </a:ln>
              <a:effectLst/>
            </c:spPr>
            <c:txPr>
              <a:bodyPr rot="0" spcFirstLastPara="1" vertOverflow="ellipsis" vert="horz" wrap="square" anchor="ctr" anchorCtr="0"/>
              <a:lstStyle/>
              <a:p>
                <a:pPr algn="l">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showLegendKey val="0"/>
            <c:showVal val="0"/>
            <c:showCatName val="0"/>
            <c:showSerName val="0"/>
            <c:showPercent val="0"/>
            <c:showBubbleSize val="0"/>
            <c:extLst>
              <c:ext xmlns:c15="http://schemas.microsoft.com/office/drawing/2012/chart" uri="{CE6537A1-D6FC-4f65-9D91-7224C49458BB}">
                <c15:showLeaderLines val="0"/>
              </c:ext>
            </c:extLst>
          </c:dLbls>
          <c:trendline>
            <c:spPr>
              <a:ln w="25400" cap="rnd">
                <a:solidFill>
                  <a:srgbClr val="ED7D31"/>
                </a:solidFill>
                <a:prstDash val="solid"/>
              </a:ln>
              <a:effectLst/>
            </c:spPr>
            <c:trendlineType val="movingAvg"/>
            <c:period val="7"/>
            <c:dispRSqr val="0"/>
            <c:dispEq val="0"/>
          </c:trendline>
          <c:cat>
            <c:strRef>
              <c:f>List1!$B$1:$GB$1</c:f>
              <c:strCache>
                <c:ptCount val="183"/>
                <c:pt idx="0">
                  <c:v>20.07.21</c:v>
                </c:pt>
                <c:pt idx="1">
                  <c:v>21.07.21</c:v>
                </c:pt>
                <c:pt idx="2">
                  <c:v>22.07.21</c:v>
                </c:pt>
                <c:pt idx="3">
                  <c:v>23.07.21</c:v>
                </c:pt>
                <c:pt idx="4">
                  <c:v>24.07.21</c:v>
                </c:pt>
                <c:pt idx="5">
                  <c:v>25.07.21</c:v>
                </c:pt>
                <c:pt idx="6">
                  <c:v>26.07.21</c:v>
                </c:pt>
                <c:pt idx="7">
                  <c:v>27.07.21</c:v>
                </c:pt>
                <c:pt idx="8">
                  <c:v>28.07.21</c:v>
                </c:pt>
                <c:pt idx="9">
                  <c:v>29.07.21</c:v>
                </c:pt>
                <c:pt idx="10">
                  <c:v>30.07.21</c:v>
                </c:pt>
                <c:pt idx="11">
                  <c:v>31.07.21</c:v>
                </c:pt>
                <c:pt idx="12">
                  <c:v>01.08.21</c:v>
                </c:pt>
                <c:pt idx="13">
                  <c:v>02.08.21</c:v>
                </c:pt>
                <c:pt idx="14">
                  <c:v>03.08.21</c:v>
                </c:pt>
                <c:pt idx="15">
                  <c:v>04.08.21</c:v>
                </c:pt>
                <c:pt idx="16">
                  <c:v>05.08.21</c:v>
                </c:pt>
                <c:pt idx="17">
                  <c:v>06.08.21</c:v>
                </c:pt>
                <c:pt idx="18">
                  <c:v>07.08.21</c:v>
                </c:pt>
                <c:pt idx="19">
                  <c:v>08.08.21</c:v>
                </c:pt>
                <c:pt idx="20">
                  <c:v>09.08.21</c:v>
                </c:pt>
                <c:pt idx="21">
                  <c:v>10.08.21</c:v>
                </c:pt>
                <c:pt idx="22">
                  <c:v>11.08.21</c:v>
                </c:pt>
                <c:pt idx="23">
                  <c:v>12.08.21</c:v>
                </c:pt>
                <c:pt idx="24">
                  <c:v>13.08.21</c:v>
                </c:pt>
                <c:pt idx="25">
                  <c:v>14.08.21</c:v>
                </c:pt>
                <c:pt idx="26">
                  <c:v>15.08.21</c:v>
                </c:pt>
                <c:pt idx="27">
                  <c:v>16.08.21</c:v>
                </c:pt>
                <c:pt idx="28">
                  <c:v>17.08.21</c:v>
                </c:pt>
                <c:pt idx="29">
                  <c:v>18.08.21</c:v>
                </c:pt>
                <c:pt idx="30">
                  <c:v>19.08.21</c:v>
                </c:pt>
                <c:pt idx="31">
                  <c:v>20.08.21</c:v>
                </c:pt>
                <c:pt idx="32">
                  <c:v>21.08.21</c:v>
                </c:pt>
                <c:pt idx="33">
                  <c:v>22.08.21</c:v>
                </c:pt>
                <c:pt idx="34">
                  <c:v>23.08.21</c:v>
                </c:pt>
                <c:pt idx="35">
                  <c:v>24.08.21</c:v>
                </c:pt>
                <c:pt idx="36">
                  <c:v>25.08.21</c:v>
                </c:pt>
                <c:pt idx="37">
                  <c:v>26.08.21</c:v>
                </c:pt>
                <c:pt idx="38">
                  <c:v>27.08.21</c:v>
                </c:pt>
                <c:pt idx="39">
                  <c:v>28.08.21</c:v>
                </c:pt>
                <c:pt idx="40">
                  <c:v>29.08.21</c:v>
                </c:pt>
                <c:pt idx="41">
                  <c:v>30.08.21</c:v>
                </c:pt>
                <c:pt idx="42">
                  <c:v>31.08.21</c:v>
                </c:pt>
                <c:pt idx="43">
                  <c:v>01.09.21</c:v>
                </c:pt>
                <c:pt idx="44">
                  <c:v>02.09.21</c:v>
                </c:pt>
                <c:pt idx="45">
                  <c:v>03.09.21</c:v>
                </c:pt>
                <c:pt idx="46">
                  <c:v>04.09.21</c:v>
                </c:pt>
                <c:pt idx="47">
                  <c:v>05.09.21</c:v>
                </c:pt>
                <c:pt idx="48">
                  <c:v>06.09.21</c:v>
                </c:pt>
                <c:pt idx="49">
                  <c:v>07.09.21</c:v>
                </c:pt>
                <c:pt idx="50">
                  <c:v>08.09.21</c:v>
                </c:pt>
                <c:pt idx="51">
                  <c:v>09.09.21</c:v>
                </c:pt>
                <c:pt idx="52">
                  <c:v>10.09.21</c:v>
                </c:pt>
                <c:pt idx="53">
                  <c:v>11.09.21</c:v>
                </c:pt>
                <c:pt idx="54">
                  <c:v>12.09.21</c:v>
                </c:pt>
                <c:pt idx="55">
                  <c:v>13.09.21</c:v>
                </c:pt>
                <c:pt idx="56">
                  <c:v>14.09.21</c:v>
                </c:pt>
                <c:pt idx="57">
                  <c:v>15.09.21</c:v>
                </c:pt>
                <c:pt idx="58">
                  <c:v>16.09.21</c:v>
                </c:pt>
                <c:pt idx="59">
                  <c:v>17.09.21</c:v>
                </c:pt>
                <c:pt idx="60">
                  <c:v>18.09.21</c:v>
                </c:pt>
                <c:pt idx="61">
                  <c:v>19.09.21</c:v>
                </c:pt>
                <c:pt idx="62">
                  <c:v>20.09.21</c:v>
                </c:pt>
                <c:pt idx="63">
                  <c:v>21.09.21</c:v>
                </c:pt>
                <c:pt idx="64">
                  <c:v>22.09.21</c:v>
                </c:pt>
                <c:pt idx="65">
                  <c:v>23.09.21</c:v>
                </c:pt>
                <c:pt idx="66">
                  <c:v>24.09.21</c:v>
                </c:pt>
                <c:pt idx="67">
                  <c:v>25.09.21</c:v>
                </c:pt>
                <c:pt idx="68">
                  <c:v>26.09.21</c:v>
                </c:pt>
                <c:pt idx="69">
                  <c:v>27.09.21</c:v>
                </c:pt>
                <c:pt idx="70">
                  <c:v>28.09.21</c:v>
                </c:pt>
                <c:pt idx="71">
                  <c:v>29.09.21</c:v>
                </c:pt>
                <c:pt idx="72">
                  <c:v>30.09.21</c:v>
                </c:pt>
                <c:pt idx="73">
                  <c:v>01.10.21</c:v>
                </c:pt>
                <c:pt idx="74">
                  <c:v>02.10.21</c:v>
                </c:pt>
                <c:pt idx="75">
                  <c:v>03.10.21</c:v>
                </c:pt>
                <c:pt idx="76">
                  <c:v>04.10.21</c:v>
                </c:pt>
                <c:pt idx="77">
                  <c:v>05.10.21</c:v>
                </c:pt>
                <c:pt idx="78">
                  <c:v>06.10.21</c:v>
                </c:pt>
                <c:pt idx="79">
                  <c:v>07.10.21</c:v>
                </c:pt>
                <c:pt idx="80">
                  <c:v>08.10.21</c:v>
                </c:pt>
                <c:pt idx="81">
                  <c:v>09.10.21</c:v>
                </c:pt>
                <c:pt idx="82">
                  <c:v>10.10.21</c:v>
                </c:pt>
                <c:pt idx="83">
                  <c:v>11.10.21</c:v>
                </c:pt>
                <c:pt idx="84">
                  <c:v>12.10.21</c:v>
                </c:pt>
                <c:pt idx="85">
                  <c:v>13.10.21</c:v>
                </c:pt>
                <c:pt idx="86">
                  <c:v>14.10.21</c:v>
                </c:pt>
                <c:pt idx="87">
                  <c:v>15.10.21</c:v>
                </c:pt>
                <c:pt idx="88">
                  <c:v>16.10.21</c:v>
                </c:pt>
                <c:pt idx="89">
                  <c:v>17.10.21</c:v>
                </c:pt>
                <c:pt idx="90">
                  <c:v>18.10.21</c:v>
                </c:pt>
                <c:pt idx="91">
                  <c:v>19.10.21</c:v>
                </c:pt>
                <c:pt idx="92">
                  <c:v>20.10.21</c:v>
                </c:pt>
                <c:pt idx="93">
                  <c:v>21.10.21</c:v>
                </c:pt>
                <c:pt idx="94">
                  <c:v>22.10.21</c:v>
                </c:pt>
                <c:pt idx="95">
                  <c:v>23.10.21</c:v>
                </c:pt>
                <c:pt idx="96">
                  <c:v>24.10.21</c:v>
                </c:pt>
                <c:pt idx="97">
                  <c:v>25.10.21</c:v>
                </c:pt>
                <c:pt idx="98">
                  <c:v>26.10.21</c:v>
                </c:pt>
                <c:pt idx="99">
                  <c:v>27.10.21</c:v>
                </c:pt>
                <c:pt idx="100">
                  <c:v>28.10.21</c:v>
                </c:pt>
                <c:pt idx="101">
                  <c:v>29.10.21</c:v>
                </c:pt>
                <c:pt idx="102">
                  <c:v>30.10.21</c:v>
                </c:pt>
                <c:pt idx="103">
                  <c:v>31.10.21</c:v>
                </c:pt>
                <c:pt idx="104">
                  <c:v>01.11.21</c:v>
                </c:pt>
                <c:pt idx="105">
                  <c:v>02.11.21</c:v>
                </c:pt>
                <c:pt idx="106">
                  <c:v>03.11.21</c:v>
                </c:pt>
                <c:pt idx="107">
                  <c:v>04.11.21</c:v>
                </c:pt>
                <c:pt idx="108">
                  <c:v>05.11.21</c:v>
                </c:pt>
                <c:pt idx="109">
                  <c:v>06.11.21</c:v>
                </c:pt>
                <c:pt idx="110">
                  <c:v>07.11.21</c:v>
                </c:pt>
                <c:pt idx="111">
                  <c:v>08.11.21</c:v>
                </c:pt>
                <c:pt idx="112">
                  <c:v>09.11.21</c:v>
                </c:pt>
                <c:pt idx="113">
                  <c:v>10.11.21</c:v>
                </c:pt>
                <c:pt idx="114">
                  <c:v>11.11.21</c:v>
                </c:pt>
                <c:pt idx="115">
                  <c:v>12.11.21</c:v>
                </c:pt>
                <c:pt idx="116">
                  <c:v>13.11.21</c:v>
                </c:pt>
                <c:pt idx="117">
                  <c:v>14.11.21</c:v>
                </c:pt>
                <c:pt idx="118">
                  <c:v>15.11.21</c:v>
                </c:pt>
                <c:pt idx="119">
                  <c:v>16.11.21</c:v>
                </c:pt>
                <c:pt idx="120">
                  <c:v>17.11.21</c:v>
                </c:pt>
                <c:pt idx="121">
                  <c:v>18.11.21</c:v>
                </c:pt>
                <c:pt idx="122">
                  <c:v>19.11.21</c:v>
                </c:pt>
                <c:pt idx="123">
                  <c:v>20.11.21</c:v>
                </c:pt>
                <c:pt idx="124">
                  <c:v>21.11.21</c:v>
                </c:pt>
                <c:pt idx="125">
                  <c:v>22.11.21</c:v>
                </c:pt>
                <c:pt idx="126">
                  <c:v>23.11.21</c:v>
                </c:pt>
                <c:pt idx="127">
                  <c:v>24.11.21</c:v>
                </c:pt>
                <c:pt idx="128">
                  <c:v>25.11.21</c:v>
                </c:pt>
                <c:pt idx="129">
                  <c:v>26.11.21</c:v>
                </c:pt>
                <c:pt idx="130">
                  <c:v>27.11.21</c:v>
                </c:pt>
                <c:pt idx="131">
                  <c:v>28.11.21</c:v>
                </c:pt>
                <c:pt idx="132">
                  <c:v>29.11.21</c:v>
                </c:pt>
                <c:pt idx="133">
                  <c:v>30.11.21</c:v>
                </c:pt>
                <c:pt idx="134">
                  <c:v>01.12.21</c:v>
                </c:pt>
                <c:pt idx="135">
                  <c:v>02.12.21</c:v>
                </c:pt>
                <c:pt idx="136">
                  <c:v>03.12.21</c:v>
                </c:pt>
                <c:pt idx="137">
                  <c:v>04.12.21</c:v>
                </c:pt>
                <c:pt idx="138">
                  <c:v>05.12.21</c:v>
                </c:pt>
                <c:pt idx="139">
                  <c:v>06.12.21</c:v>
                </c:pt>
                <c:pt idx="140">
                  <c:v>07.12.21</c:v>
                </c:pt>
                <c:pt idx="141">
                  <c:v>08.12.21</c:v>
                </c:pt>
                <c:pt idx="142">
                  <c:v>09.12.21</c:v>
                </c:pt>
                <c:pt idx="143">
                  <c:v>10.12.21</c:v>
                </c:pt>
                <c:pt idx="144">
                  <c:v>11.12.21</c:v>
                </c:pt>
                <c:pt idx="145">
                  <c:v>12.12.21</c:v>
                </c:pt>
                <c:pt idx="146">
                  <c:v>13.12.21</c:v>
                </c:pt>
                <c:pt idx="147">
                  <c:v>14.12.21</c:v>
                </c:pt>
                <c:pt idx="148">
                  <c:v>15.12.21</c:v>
                </c:pt>
                <c:pt idx="149">
                  <c:v>16.12.21</c:v>
                </c:pt>
                <c:pt idx="150">
                  <c:v>17.12.21</c:v>
                </c:pt>
                <c:pt idx="151">
                  <c:v>18.12.21</c:v>
                </c:pt>
                <c:pt idx="152">
                  <c:v>19.12.21</c:v>
                </c:pt>
                <c:pt idx="153">
                  <c:v>20.12.21</c:v>
                </c:pt>
                <c:pt idx="154">
                  <c:v>21.12.21</c:v>
                </c:pt>
                <c:pt idx="155">
                  <c:v>22.12.21</c:v>
                </c:pt>
                <c:pt idx="156">
                  <c:v>23.12.21</c:v>
                </c:pt>
                <c:pt idx="157">
                  <c:v>24.12.21</c:v>
                </c:pt>
                <c:pt idx="158">
                  <c:v>25.12.21</c:v>
                </c:pt>
                <c:pt idx="159">
                  <c:v>26.12.21</c:v>
                </c:pt>
                <c:pt idx="160">
                  <c:v>27.12.21</c:v>
                </c:pt>
                <c:pt idx="161">
                  <c:v>28.12.21</c:v>
                </c:pt>
                <c:pt idx="162">
                  <c:v>29.12.21</c:v>
                </c:pt>
                <c:pt idx="163">
                  <c:v>30.12.21</c:v>
                </c:pt>
                <c:pt idx="164">
                  <c:v>31.12.21</c:v>
                </c:pt>
                <c:pt idx="165">
                  <c:v>01.01.22</c:v>
                </c:pt>
                <c:pt idx="166">
                  <c:v>02.01.22</c:v>
                </c:pt>
                <c:pt idx="167">
                  <c:v>03.01.22</c:v>
                </c:pt>
                <c:pt idx="168">
                  <c:v>04.01.22</c:v>
                </c:pt>
                <c:pt idx="169">
                  <c:v>05.01.22</c:v>
                </c:pt>
                <c:pt idx="170">
                  <c:v>06.01.22</c:v>
                </c:pt>
                <c:pt idx="171">
                  <c:v>07.01.22</c:v>
                </c:pt>
                <c:pt idx="172">
                  <c:v>08.01.22</c:v>
                </c:pt>
                <c:pt idx="173">
                  <c:v>09.01.22</c:v>
                </c:pt>
                <c:pt idx="174">
                  <c:v>10.01.22</c:v>
                </c:pt>
                <c:pt idx="175">
                  <c:v>11.01.22</c:v>
                </c:pt>
                <c:pt idx="176">
                  <c:v>12.01.22</c:v>
                </c:pt>
                <c:pt idx="177">
                  <c:v>13.01.22</c:v>
                </c:pt>
                <c:pt idx="178">
                  <c:v>14.01.22</c:v>
                </c:pt>
                <c:pt idx="179">
                  <c:v>15.01.22</c:v>
                </c:pt>
                <c:pt idx="180">
                  <c:v>16.01.22</c:v>
                </c:pt>
                <c:pt idx="181">
                  <c:v>17.01.22</c:v>
                </c:pt>
                <c:pt idx="182">
                  <c:v>18.01.22</c:v>
                </c:pt>
              </c:strCache>
            </c:strRef>
          </c:cat>
          <c:val>
            <c:numRef>
              <c:f>List1!$B$3:$GB$3</c:f>
              <c:numCache>
                <c:formatCode>General</c:formatCode>
                <c:ptCount val="183"/>
                <c:pt idx="0">
                  <c:v>0</c:v>
                </c:pt>
                <c:pt idx="1">
                  <c:v>4</c:v>
                </c:pt>
                <c:pt idx="2">
                  <c:v>0</c:v>
                </c:pt>
                <c:pt idx="3">
                  <c:v>4</c:v>
                </c:pt>
                <c:pt idx="4">
                  <c:v>1</c:v>
                </c:pt>
                <c:pt idx="5">
                  <c:v>1</c:v>
                </c:pt>
                <c:pt idx="6">
                  <c:v>3</c:v>
                </c:pt>
                <c:pt idx="7">
                  <c:v>0</c:v>
                </c:pt>
                <c:pt idx="8">
                  <c:v>0</c:v>
                </c:pt>
                <c:pt idx="9">
                  <c:v>1</c:v>
                </c:pt>
                <c:pt idx="10">
                  <c:v>1</c:v>
                </c:pt>
                <c:pt idx="11">
                  <c:v>1</c:v>
                </c:pt>
                <c:pt idx="12">
                  <c:v>0</c:v>
                </c:pt>
                <c:pt idx="13">
                  <c:v>0</c:v>
                </c:pt>
                <c:pt idx="14">
                  <c:v>2</c:v>
                </c:pt>
                <c:pt idx="15">
                  <c:v>1</c:v>
                </c:pt>
                <c:pt idx="16">
                  <c:v>0</c:v>
                </c:pt>
                <c:pt idx="17">
                  <c:v>1</c:v>
                </c:pt>
                <c:pt idx="18">
                  <c:v>0</c:v>
                </c:pt>
                <c:pt idx="19">
                  <c:v>0</c:v>
                </c:pt>
                <c:pt idx="20">
                  <c:v>2</c:v>
                </c:pt>
                <c:pt idx="21">
                  <c:v>2</c:v>
                </c:pt>
                <c:pt idx="22">
                  <c:v>2</c:v>
                </c:pt>
                <c:pt idx="23">
                  <c:v>1</c:v>
                </c:pt>
                <c:pt idx="24">
                  <c:v>2</c:v>
                </c:pt>
                <c:pt idx="25">
                  <c:v>3</c:v>
                </c:pt>
                <c:pt idx="26">
                  <c:v>1</c:v>
                </c:pt>
                <c:pt idx="27">
                  <c:v>3</c:v>
                </c:pt>
                <c:pt idx="28">
                  <c:v>3</c:v>
                </c:pt>
                <c:pt idx="29">
                  <c:v>2</c:v>
                </c:pt>
                <c:pt idx="30">
                  <c:v>1</c:v>
                </c:pt>
                <c:pt idx="31">
                  <c:v>0</c:v>
                </c:pt>
                <c:pt idx="32">
                  <c:v>0</c:v>
                </c:pt>
                <c:pt idx="33">
                  <c:v>0</c:v>
                </c:pt>
                <c:pt idx="34">
                  <c:v>4</c:v>
                </c:pt>
                <c:pt idx="35">
                  <c:v>2</c:v>
                </c:pt>
                <c:pt idx="36">
                  <c:v>0</c:v>
                </c:pt>
                <c:pt idx="37">
                  <c:v>2</c:v>
                </c:pt>
                <c:pt idx="38">
                  <c:v>1</c:v>
                </c:pt>
                <c:pt idx="39">
                  <c:v>2</c:v>
                </c:pt>
                <c:pt idx="40">
                  <c:v>1</c:v>
                </c:pt>
                <c:pt idx="41">
                  <c:v>0</c:v>
                </c:pt>
                <c:pt idx="42">
                  <c:v>2</c:v>
                </c:pt>
                <c:pt idx="43">
                  <c:v>1</c:v>
                </c:pt>
                <c:pt idx="44">
                  <c:v>5</c:v>
                </c:pt>
                <c:pt idx="45">
                  <c:v>6</c:v>
                </c:pt>
                <c:pt idx="46">
                  <c:v>1</c:v>
                </c:pt>
                <c:pt idx="47">
                  <c:v>0</c:v>
                </c:pt>
                <c:pt idx="48">
                  <c:v>2</c:v>
                </c:pt>
                <c:pt idx="49">
                  <c:v>6</c:v>
                </c:pt>
                <c:pt idx="50">
                  <c:v>1</c:v>
                </c:pt>
                <c:pt idx="51">
                  <c:v>4</c:v>
                </c:pt>
                <c:pt idx="52">
                  <c:v>0</c:v>
                </c:pt>
                <c:pt idx="53">
                  <c:v>1</c:v>
                </c:pt>
                <c:pt idx="54">
                  <c:v>2</c:v>
                </c:pt>
                <c:pt idx="55">
                  <c:v>3</c:v>
                </c:pt>
                <c:pt idx="56">
                  <c:v>4</c:v>
                </c:pt>
                <c:pt idx="57">
                  <c:v>3</c:v>
                </c:pt>
                <c:pt idx="58">
                  <c:v>7</c:v>
                </c:pt>
                <c:pt idx="59">
                  <c:v>5</c:v>
                </c:pt>
                <c:pt idx="60">
                  <c:v>2</c:v>
                </c:pt>
                <c:pt idx="61">
                  <c:v>2</c:v>
                </c:pt>
                <c:pt idx="62">
                  <c:v>10</c:v>
                </c:pt>
                <c:pt idx="63">
                  <c:v>7</c:v>
                </c:pt>
                <c:pt idx="64">
                  <c:v>6</c:v>
                </c:pt>
                <c:pt idx="65">
                  <c:v>5</c:v>
                </c:pt>
                <c:pt idx="66">
                  <c:v>7</c:v>
                </c:pt>
                <c:pt idx="67">
                  <c:v>6</c:v>
                </c:pt>
                <c:pt idx="68">
                  <c:v>6</c:v>
                </c:pt>
                <c:pt idx="69">
                  <c:v>5</c:v>
                </c:pt>
                <c:pt idx="70">
                  <c:v>7</c:v>
                </c:pt>
                <c:pt idx="71">
                  <c:v>12</c:v>
                </c:pt>
                <c:pt idx="72">
                  <c:v>15</c:v>
                </c:pt>
                <c:pt idx="73">
                  <c:v>7</c:v>
                </c:pt>
                <c:pt idx="74">
                  <c:v>5</c:v>
                </c:pt>
                <c:pt idx="75">
                  <c:v>8</c:v>
                </c:pt>
                <c:pt idx="76">
                  <c:v>10</c:v>
                </c:pt>
                <c:pt idx="77">
                  <c:v>12</c:v>
                </c:pt>
                <c:pt idx="78">
                  <c:v>9</c:v>
                </c:pt>
                <c:pt idx="79">
                  <c:v>8</c:v>
                </c:pt>
                <c:pt idx="80">
                  <c:v>9</c:v>
                </c:pt>
                <c:pt idx="81">
                  <c:v>5</c:v>
                </c:pt>
                <c:pt idx="82">
                  <c:v>4</c:v>
                </c:pt>
                <c:pt idx="83">
                  <c:v>17</c:v>
                </c:pt>
                <c:pt idx="84">
                  <c:v>17</c:v>
                </c:pt>
                <c:pt idx="85">
                  <c:v>20</c:v>
                </c:pt>
                <c:pt idx="86">
                  <c:v>19</c:v>
                </c:pt>
                <c:pt idx="87">
                  <c:v>17</c:v>
                </c:pt>
                <c:pt idx="88">
                  <c:v>10</c:v>
                </c:pt>
                <c:pt idx="89">
                  <c:v>10</c:v>
                </c:pt>
                <c:pt idx="90">
                  <c:v>32</c:v>
                </c:pt>
                <c:pt idx="91">
                  <c:v>25</c:v>
                </c:pt>
                <c:pt idx="92">
                  <c:v>24</c:v>
                </c:pt>
                <c:pt idx="93">
                  <c:v>49</c:v>
                </c:pt>
                <c:pt idx="94">
                  <c:v>38</c:v>
                </c:pt>
                <c:pt idx="95">
                  <c:v>31</c:v>
                </c:pt>
                <c:pt idx="96">
                  <c:v>11</c:v>
                </c:pt>
                <c:pt idx="97">
                  <c:v>58</c:v>
                </c:pt>
                <c:pt idx="98">
                  <c:v>63</c:v>
                </c:pt>
                <c:pt idx="99">
                  <c:v>71</c:v>
                </c:pt>
                <c:pt idx="100">
                  <c:v>32</c:v>
                </c:pt>
                <c:pt idx="101">
                  <c:v>76</c:v>
                </c:pt>
                <c:pt idx="102">
                  <c:v>56</c:v>
                </c:pt>
                <c:pt idx="103">
                  <c:v>37</c:v>
                </c:pt>
                <c:pt idx="104">
                  <c:v>103</c:v>
                </c:pt>
                <c:pt idx="105">
                  <c:v>100</c:v>
                </c:pt>
                <c:pt idx="106">
                  <c:v>107</c:v>
                </c:pt>
                <c:pt idx="107">
                  <c:v>95</c:v>
                </c:pt>
                <c:pt idx="108">
                  <c:v>107</c:v>
                </c:pt>
                <c:pt idx="109">
                  <c:v>78</c:v>
                </c:pt>
                <c:pt idx="110">
                  <c:v>25</c:v>
                </c:pt>
                <c:pt idx="111">
                  <c:v>120</c:v>
                </c:pt>
                <c:pt idx="112">
                  <c:v>133</c:v>
                </c:pt>
                <c:pt idx="113">
                  <c:v>164</c:v>
                </c:pt>
                <c:pt idx="114">
                  <c:v>91</c:v>
                </c:pt>
                <c:pt idx="115">
                  <c:v>150</c:v>
                </c:pt>
                <c:pt idx="116">
                  <c:v>86</c:v>
                </c:pt>
                <c:pt idx="117">
                  <c:v>52</c:v>
                </c:pt>
                <c:pt idx="118">
                  <c:v>148</c:v>
                </c:pt>
                <c:pt idx="119">
                  <c:v>214</c:v>
                </c:pt>
                <c:pt idx="120">
                  <c:v>106</c:v>
                </c:pt>
                <c:pt idx="121">
                  <c:v>152</c:v>
                </c:pt>
                <c:pt idx="122">
                  <c:v>213</c:v>
                </c:pt>
                <c:pt idx="123">
                  <c:v>145</c:v>
                </c:pt>
                <c:pt idx="124">
                  <c:v>78</c:v>
                </c:pt>
                <c:pt idx="125">
                  <c:v>181</c:v>
                </c:pt>
                <c:pt idx="126">
                  <c:v>239</c:v>
                </c:pt>
                <c:pt idx="127">
                  <c:v>129</c:v>
                </c:pt>
                <c:pt idx="128">
                  <c:v>197</c:v>
                </c:pt>
                <c:pt idx="129">
                  <c:v>177</c:v>
                </c:pt>
                <c:pt idx="130">
                  <c:v>99</c:v>
                </c:pt>
                <c:pt idx="131">
                  <c:v>74</c:v>
                </c:pt>
                <c:pt idx="132">
                  <c:v>187</c:v>
                </c:pt>
                <c:pt idx="133">
                  <c:v>149</c:v>
                </c:pt>
                <c:pt idx="134">
                  <c:v>155</c:v>
                </c:pt>
                <c:pt idx="135">
                  <c:v>133</c:v>
                </c:pt>
                <c:pt idx="136">
                  <c:v>127</c:v>
                </c:pt>
                <c:pt idx="137">
                  <c:v>79</c:v>
                </c:pt>
                <c:pt idx="138">
                  <c:v>59</c:v>
                </c:pt>
                <c:pt idx="139">
                  <c:v>150</c:v>
                </c:pt>
                <c:pt idx="140">
                  <c:v>143</c:v>
                </c:pt>
                <c:pt idx="141">
                  <c:v>108</c:v>
                </c:pt>
                <c:pt idx="142">
                  <c:v>118</c:v>
                </c:pt>
                <c:pt idx="143">
                  <c:v>104</c:v>
                </c:pt>
                <c:pt idx="144">
                  <c:v>70</c:v>
                </c:pt>
                <c:pt idx="145">
                  <c:v>50</c:v>
                </c:pt>
                <c:pt idx="146">
                  <c:v>95</c:v>
                </c:pt>
                <c:pt idx="147">
                  <c:v>113</c:v>
                </c:pt>
                <c:pt idx="148">
                  <c:v>77</c:v>
                </c:pt>
                <c:pt idx="149">
                  <c:v>60</c:v>
                </c:pt>
                <c:pt idx="150">
                  <c:v>71</c:v>
                </c:pt>
                <c:pt idx="151">
                  <c:v>45</c:v>
                </c:pt>
                <c:pt idx="152">
                  <c:v>29</c:v>
                </c:pt>
                <c:pt idx="153">
                  <c:v>82</c:v>
                </c:pt>
                <c:pt idx="154">
                  <c:v>74</c:v>
                </c:pt>
                <c:pt idx="155">
                  <c:v>50</c:v>
                </c:pt>
                <c:pt idx="156">
                  <c:v>55</c:v>
                </c:pt>
                <c:pt idx="157">
                  <c:v>17</c:v>
                </c:pt>
                <c:pt idx="158">
                  <c:v>18</c:v>
                </c:pt>
                <c:pt idx="159">
                  <c:v>16</c:v>
                </c:pt>
                <c:pt idx="160">
                  <c:v>71</c:v>
                </c:pt>
                <c:pt idx="161">
                  <c:v>84</c:v>
                </c:pt>
                <c:pt idx="162">
                  <c:v>50</c:v>
                </c:pt>
                <c:pt idx="163">
                  <c:v>46</c:v>
                </c:pt>
                <c:pt idx="164">
                  <c:v>43</c:v>
                </c:pt>
                <c:pt idx="165">
                  <c:v>10</c:v>
                </c:pt>
                <c:pt idx="166">
                  <c:v>33</c:v>
                </c:pt>
                <c:pt idx="167">
                  <c:v>80</c:v>
                </c:pt>
                <c:pt idx="168">
                  <c:v>66</c:v>
                </c:pt>
                <c:pt idx="169">
                  <c:v>44</c:v>
                </c:pt>
                <c:pt idx="170">
                  <c:v>49</c:v>
                </c:pt>
                <c:pt idx="171">
                  <c:v>56</c:v>
                </c:pt>
                <c:pt idx="172">
                  <c:v>32</c:v>
                </c:pt>
                <c:pt idx="173">
                  <c:v>22</c:v>
                </c:pt>
                <c:pt idx="174">
                  <c:v>58</c:v>
                </c:pt>
                <c:pt idx="175">
                  <c:v>88</c:v>
                </c:pt>
                <c:pt idx="176">
                  <c:v>81</c:v>
                </c:pt>
                <c:pt idx="177">
                  <c:v>76</c:v>
                </c:pt>
                <c:pt idx="178">
                  <c:v>78</c:v>
                </c:pt>
                <c:pt idx="179">
                  <c:v>74</c:v>
                </c:pt>
                <c:pt idx="180">
                  <c:v>44</c:v>
                </c:pt>
                <c:pt idx="181">
                  <c:v>177</c:v>
                </c:pt>
                <c:pt idx="182">
                  <c:v>193</c:v>
                </c:pt>
              </c:numCache>
            </c:numRef>
          </c:val>
          <c:smooth val="0"/>
          <c:extLst>
            <c:ext xmlns:c16="http://schemas.microsoft.com/office/drawing/2014/chart" uri="{C3380CC4-5D6E-409C-BE32-E72D297353CC}">
              <c16:uniqueId val="{00000003-E8FD-43E4-BA1D-0B494D841FF9}"/>
            </c:ext>
          </c:extLst>
        </c:ser>
        <c:ser>
          <c:idx val="2"/>
          <c:order val="2"/>
          <c:tx>
            <c:strRef>
              <c:f>List1!$A$4</c:f>
              <c:strCache>
                <c:ptCount val="1"/>
                <c:pt idx="0">
                  <c:v>Ostatní zdravotničtí pracovníci</c:v>
                </c:pt>
              </c:strCache>
            </c:strRef>
          </c:tx>
          <c:spPr>
            <a:ln w="6350" cap="rnd">
              <a:solidFill>
                <a:schemeClr val="bg1">
                  <a:lumMod val="65000"/>
                </a:schemeClr>
              </a:solidFill>
              <a:prstDash val="solid"/>
              <a:round/>
            </a:ln>
            <a:effectLst/>
          </c:spPr>
          <c:marker>
            <c:symbol val="none"/>
          </c:marker>
          <c:dLbls>
            <c:dLbl>
              <c:idx val="182"/>
              <c:layout>
                <c:manualLayout>
                  <c:x val="-5.3262316910785623E-3"/>
                  <c:y val="0.10957017285419139"/>
                </c:manualLayout>
              </c:layout>
              <c:spPr>
                <a:noFill/>
                <a:ln>
                  <a:noFill/>
                </a:ln>
                <a:effectLst/>
              </c:spPr>
              <c:txPr>
                <a:bodyPr rot="0" spcFirstLastPara="1" vertOverflow="ellipsis" vert="horz" wrap="square" anchor="ctr" anchorCtr="0"/>
                <a:lstStyle/>
                <a:p>
                  <a:pPr algn="l">
                    <a:defRPr sz="1200" b="1" i="0" u="none" strike="noStrike" kern="1200" baseline="0">
                      <a:solidFill>
                        <a:schemeClr val="bg1">
                          <a:lumMod val="50000"/>
                        </a:schemeClr>
                      </a:solidFill>
                      <a:latin typeface="Calibri" panose="020F0502020204030204" pitchFamily="34" charset="0"/>
                      <a:ea typeface="+mn-ea"/>
                      <a:cs typeface="Calibri" panose="020F0502020204030204" pitchFamily="34" charset="0"/>
                    </a:defRPr>
                  </a:pPr>
                  <a:endParaRPr lang="cs-CZ"/>
                </a:p>
              </c:txPr>
              <c:dLblPos val="r"/>
              <c:showLegendKey val="0"/>
              <c:showVal val="1"/>
              <c:showCatName val="0"/>
              <c:showSerName val="1"/>
              <c:showPercent val="0"/>
              <c:showBubbleSize val="0"/>
              <c:extLst>
                <c:ext xmlns:c15="http://schemas.microsoft.com/office/drawing/2012/chart" uri="{CE6537A1-D6FC-4f65-9D91-7224C49458BB}">
                  <c15:layout>
                    <c:manualLayout>
                      <c:w val="0.24601304996662368"/>
                      <c:h val="7.5300289757703073E-2"/>
                    </c:manualLayout>
                  </c15:layout>
                </c:ext>
                <c:ext xmlns:c16="http://schemas.microsoft.com/office/drawing/2014/chart" uri="{C3380CC4-5D6E-409C-BE32-E72D297353CC}">
                  <c16:uniqueId val="{00000006-CC25-463F-AAD4-4AD72ABB9622}"/>
                </c:ext>
              </c:extLst>
            </c:dLbl>
            <c:spPr>
              <a:noFill/>
              <a:ln>
                <a:noFill/>
              </a:ln>
              <a:effectLst/>
            </c:spPr>
            <c:txPr>
              <a:bodyPr rot="0" spcFirstLastPara="1" vertOverflow="ellipsis" vert="horz" wrap="square" anchor="ctr" anchorCtr="1"/>
              <a:lstStyle/>
              <a:p>
                <a:pPr>
                  <a:defRPr sz="1200" b="0" i="0" u="none" strike="noStrike" kern="1200" baseline="0">
                    <a:solidFill>
                      <a:schemeClr val="bg1">
                        <a:lumMod val="50000"/>
                      </a:schemeClr>
                    </a:solidFill>
                    <a:latin typeface="Calibri" panose="020F0502020204030204" pitchFamily="34" charset="0"/>
                    <a:ea typeface="+mn-ea"/>
                    <a:cs typeface="Calibri" panose="020F0502020204030204" pitchFamily="34" charset="0"/>
                  </a:defRPr>
                </a:pPr>
                <a:endParaRPr lang="cs-CZ"/>
              </a:p>
            </c:txPr>
            <c:showLegendKey val="0"/>
            <c:showVal val="0"/>
            <c:showCatName val="0"/>
            <c:showSerName val="0"/>
            <c:showPercent val="0"/>
            <c:showBubbleSize val="0"/>
            <c:extLst>
              <c:ext xmlns:c15="http://schemas.microsoft.com/office/drawing/2012/chart" uri="{CE6537A1-D6FC-4f65-9D91-7224C49458BB}">
                <c15:showLeaderLines val="0"/>
              </c:ext>
            </c:extLst>
          </c:dLbls>
          <c:trendline>
            <c:spPr>
              <a:ln w="25400" cap="rnd">
                <a:solidFill>
                  <a:srgbClr val="A6A6A6"/>
                </a:solidFill>
                <a:prstDash val="solid"/>
              </a:ln>
              <a:effectLst/>
            </c:spPr>
            <c:trendlineType val="movingAvg"/>
            <c:period val="7"/>
            <c:dispRSqr val="0"/>
            <c:dispEq val="0"/>
          </c:trendline>
          <c:cat>
            <c:strRef>
              <c:f>List1!$B$1:$GB$1</c:f>
              <c:strCache>
                <c:ptCount val="183"/>
                <c:pt idx="0">
                  <c:v>20.07.21</c:v>
                </c:pt>
                <c:pt idx="1">
                  <c:v>21.07.21</c:v>
                </c:pt>
                <c:pt idx="2">
                  <c:v>22.07.21</c:v>
                </c:pt>
                <c:pt idx="3">
                  <c:v>23.07.21</c:v>
                </c:pt>
                <c:pt idx="4">
                  <c:v>24.07.21</c:v>
                </c:pt>
                <c:pt idx="5">
                  <c:v>25.07.21</c:v>
                </c:pt>
                <c:pt idx="6">
                  <c:v>26.07.21</c:v>
                </c:pt>
                <c:pt idx="7">
                  <c:v>27.07.21</c:v>
                </c:pt>
                <c:pt idx="8">
                  <c:v>28.07.21</c:v>
                </c:pt>
                <c:pt idx="9">
                  <c:v>29.07.21</c:v>
                </c:pt>
                <c:pt idx="10">
                  <c:v>30.07.21</c:v>
                </c:pt>
                <c:pt idx="11">
                  <c:v>31.07.21</c:v>
                </c:pt>
                <c:pt idx="12">
                  <c:v>01.08.21</c:v>
                </c:pt>
                <c:pt idx="13">
                  <c:v>02.08.21</c:v>
                </c:pt>
                <c:pt idx="14">
                  <c:v>03.08.21</c:v>
                </c:pt>
                <c:pt idx="15">
                  <c:v>04.08.21</c:v>
                </c:pt>
                <c:pt idx="16">
                  <c:v>05.08.21</c:v>
                </c:pt>
                <c:pt idx="17">
                  <c:v>06.08.21</c:v>
                </c:pt>
                <c:pt idx="18">
                  <c:v>07.08.21</c:v>
                </c:pt>
                <c:pt idx="19">
                  <c:v>08.08.21</c:v>
                </c:pt>
                <c:pt idx="20">
                  <c:v>09.08.21</c:v>
                </c:pt>
                <c:pt idx="21">
                  <c:v>10.08.21</c:v>
                </c:pt>
                <c:pt idx="22">
                  <c:v>11.08.21</c:v>
                </c:pt>
                <c:pt idx="23">
                  <c:v>12.08.21</c:v>
                </c:pt>
                <c:pt idx="24">
                  <c:v>13.08.21</c:v>
                </c:pt>
                <c:pt idx="25">
                  <c:v>14.08.21</c:v>
                </c:pt>
                <c:pt idx="26">
                  <c:v>15.08.21</c:v>
                </c:pt>
                <c:pt idx="27">
                  <c:v>16.08.21</c:v>
                </c:pt>
                <c:pt idx="28">
                  <c:v>17.08.21</c:v>
                </c:pt>
                <c:pt idx="29">
                  <c:v>18.08.21</c:v>
                </c:pt>
                <c:pt idx="30">
                  <c:v>19.08.21</c:v>
                </c:pt>
                <c:pt idx="31">
                  <c:v>20.08.21</c:v>
                </c:pt>
                <c:pt idx="32">
                  <c:v>21.08.21</c:v>
                </c:pt>
                <c:pt idx="33">
                  <c:v>22.08.21</c:v>
                </c:pt>
                <c:pt idx="34">
                  <c:v>23.08.21</c:v>
                </c:pt>
                <c:pt idx="35">
                  <c:v>24.08.21</c:v>
                </c:pt>
                <c:pt idx="36">
                  <c:v>25.08.21</c:v>
                </c:pt>
                <c:pt idx="37">
                  <c:v>26.08.21</c:v>
                </c:pt>
                <c:pt idx="38">
                  <c:v>27.08.21</c:v>
                </c:pt>
                <c:pt idx="39">
                  <c:v>28.08.21</c:v>
                </c:pt>
                <c:pt idx="40">
                  <c:v>29.08.21</c:v>
                </c:pt>
                <c:pt idx="41">
                  <c:v>30.08.21</c:v>
                </c:pt>
                <c:pt idx="42">
                  <c:v>31.08.21</c:v>
                </c:pt>
                <c:pt idx="43">
                  <c:v>01.09.21</c:v>
                </c:pt>
                <c:pt idx="44">
                  <c:v>02.09.21</c:v>
                </c:pt>
                <c:pt idx="45">
                  <c:v>03.09.21</c:v>
                </c:pt>
                <c:pt idx="46">
                  <c:v>04.09.21</c:v>
                </c:pt>
                <c:pt idx="47">
                  <c:v>05.09.21</c:v>
                </c:pt>
                <c:pt idx="48">
                  <c:v>06.09.21</c:v>
                </c:pt>
                <c:pt idx="49">
                  <c:v>07.09.21</c:v>
                </c:pt>
                <c:pt idx="50">
                  <c:v>08.09.21</c:v>
                </c:pt>
                <c:pt idx="51">
                  <c:v>09.09.21</c:v>
                </c:pt>
                <c:pt idx="52">
                  <c:v>10.09.21</c:v>
                </c:pt>
                <c:pt idx="53">
                  <c:v>11.09.21</c:v>
                </c:pt>
                <c:pt idx="54">
                  <c:v>12.09.21</c:v>
                </c:pt>
                <c:pt idx="55">
                  <c:v>13.09.21</c:v>
                </c:pt>
                <c:pt idx="56">
                  <c:v>14.09.21</c:v>
                </c:pt>
                <c:pt idx="57">
                  <c:v>15.09.21</c:v>
                </c:pt>
                <c:pt idx="58">
                  <c:v>16.09.21</c:v>
                </c:pt>
                <c:pt idx="59">
                  <c:v>17.09.21</c:v>
                </c:pt>
                <c:pt idx="60">
                  <c:v>18.09.21</c:v>
                </c:pt>
                <c:pt idx="61">
                  <c:v>19.09.21</c:v>
                </c:pt>
                <c:pt idx="62">
                  <c:v>20.09.21</c:v>
                </c:pt>
                <c:pt idx="63">
                  <c:v>21.09.21</c:v>
                </c:pt>
                <c:pt idx="64">
                  <c:v>22.09.21</c:v>
                </c:pt>
                <c:pt idx="65">
                  <c:v>23.09.21</c:v>
                </c:pt>
                <c:pt idx="66">
                  <c:v>24.09.21</c:v>
                </c:pt>
                <c:pt idx="67">
                  <c:v>25.09.21</c:v>
                </c:pt>
                <c:pt idx="68">
                  <c:v>26.09.21</c:v>
                </c:pt>
                <c:pt idx="69">
                  <c:v>27.09.21</c:v>
                </c:pt>
                <c:pt idx="70">
                  <c:v>28.09.21</c:v>
                </c:pt>
                <c:pt idx="71">
                  <c:v>29.09.21</c:v>
                </c:pt>
                <c:pt idx="72">
                  <c:v>30.09.21</c:v>
                </c:pt>
                <c:pt idx="73">
                  <c:v>01.10.21</c:v>
                </c:pt>
                <c:pt idx="74">
                  <c:v>02.10.21</c:v>
                </c:pt>
                <c:pt idx="75">
                  <c:v>03.10.21</c:v>
                </c:pt>
                <c:pt idx="76">
                  <c:v>04.10.21</c:v>
                </c:pt>
                <c:pt idx="77">
                  <c:v>05.10.21</c:v>
                </c:pt>
                <c:pt idx="78">
                  <c:v>06.10.21</c:v>
                </c:pt>
                <c:pt idx="79">
                  <c:v>07.10.21</c:v>
                </c:pt>
                <c:pt idx="80">
                  <c:v>08.10.21</c:v>
                </c:pt>
                <c:pt idx="81">
                  <c:v>09.10.21</c:v>
                </c:pt>
                <c:pt idx="82">
                  <c:v>10.10.21</c:v>
                </c:pt>
                <c:pt idx="83">
                  <c:v>11.10.21</c:v>
                </c:pt>
                <c:pt idx="84">
                  <c:v>12.10.21</c:v>
                </c:pt>
                <c:pt idx="85">
                  <c:v>13.10.21</c:v>
                </c:pt>
                <c:pt idx="86">
                  <c:v>14.10.21</c:v>
                </c:pt>
                <c:pt idx="87">
                  <c:v>15.10.21</c:v>
                </c:pt>
                <c:pt idx="88">
                  <c:v>16.10.21</c:v>
                </c:pt>
                <c:pt idx="89">
                  <c:v>17.10.21</c:v>
                </c:pt>
                <c:pt idx="90">
                  <c:v>18.10.21</c:v>
                </c:pt>
                <c:pt idx="91">
                  <c:v>19.10.21</c:v>
                </c:pt>
                <c:pt idx="92">
                  <c:v>20.10.21</c:v>
                </c:pt>
                <c:pt idx="93">
                  <c:v>21.10.21</c:v>
                </c:pt>
                <c:pt idx="94">
                  <c:v>22.10.21</c:v>
                </c:pt>
                <c:pt idx="95">
                  <c:v>23.10.21</c:v>
                </c:pt>
                <c:pt idx="96">
                  <c:v>24.10.21</c:v>
                </c:pt>
                <c:pt idx="97">
                  <c:v>25.10.21</c:v>
                </c:pt>
                <c:pt idx="98">
                  <c:v>26.10.21</c:v>
                </c:pt>
                <c:pt idx="99">
                  <c:v>27.10.21</c:v>
                </c:pt>
                <c:pt idx="100">
                  <c:v>28.10.21</c:v>
                </c:pt>
                <c:pt idx="101">
                  <c:v>29.10.21</c:v>
                </c:pt>
                <c:pt idx="102">
                  <c:v>30.10.21</c:v>
                </c:pt>
                <c:pt idx="103">
                  <c:v>31.10.21</c:v>
                </c:pt>
                <c:pt idx="104">
                  <c:v>01.11.21</c:v>
                </c:pt>
                <c:pt idx="105">
                  <c:v>02.11.21</c:v>
                </c:pt>
                <c:pt idx="106">
                  <c:v>03.11.21</c:v>
                </c:pt>
                <c:pt idx="107">
                  <c:v>04.11.21</c:v>
                </c:pt>
                <c:pt idx="108">
                  <c:v>05.11.21</c:v>
                </c:pt>
                <c:pt idx="109">
                  <c:v>06.11.21</c:v>
                </c:pt>
                <c:pt idx="110">
                  <c:v>07.11.21</c:v>
                </c:pt>
                <c:pt idx="111">
                  <c:v>08.11.21</c:v>
                </c:pt>
                <c:pt idx="112">
                  <c:v>09.11.21</c:v>
                </c:pt>
                <c:pt idx="113">
                  <c:v>10.11.21</c:v>
                </c:pt>
                <c:pt idx="114">
                  <c:v>11.11.21</c:v>
                </c:pt>
                <c:pt idx="115">
                  <c:v>12.11.21</c:v>
                </c:pt>
                <c:pt idx="116">
                  <c:v>13.11.21</c:v>
                </c:pt>
                <c:pt idx="117">
                  <c:v>14.11.21</c:v>
                </c:pt>
                <c:pt idx="118">
                  <c:v>15.11.21</c:v>
                </c:pt>
                <c:pt idx="119">
                  <c:v>16.11.21</c:v>
                </c:pt>
                <c:pt idx="120">
                  <c:v>17.11.21</c:v>
                </c:pt>
                <c:pt idx="121">
                  <c:v>18.11.21</c:v>
                </c:pt>
                <c:pt idx="122">
                  <c:v>19.11.21</c:v>
                </c:pt>
                <c:pt idx="123">
                  <c:v>20.11.21</c:v>
                </c:pt>
                <c:pt idx="124">
                  <c:v>21.11.21</c:v>
                </c:pt>
                <c:pt idx="125">
                  <c:v>22.11.21</c:v>
                </c:pt>
                <c:pt idx="126">
                  <c:v>23.11.21</c:v>
                </c:pt>
                <c:pt idx="127">
                  <c:v>24.11.21</c:v>
                </c:pt>
                <c:pt idx="128">
                  <c:v>25.11.21</c:v>
                </c:pt>
                <c:pt idx="129">
                  <c:v>26.11.21</c:v>
                </c:pt>
                <c:pt idx="130">
                  <c:v>27.11.21</c:v>
                </c:pt>
                <c:pt idx="131">
                  <c:v>28.11.21</c:v>
                </c:pt>
                <c:pt idx="132">
                  <c:v>29.11.21</c:v>
                </c:pt>
                <c:pt idx="133">
                  <c:v>30.11.21</c:v>
                </c:pt>
                <c:pt idx="134">
                  <c:v>01.12.21</c:v>
                </c:pt>
                <c:pt idx="135">
                  <c:v>02.12.21</c:v>
                </c:pt>
                <c:pt idx="136">
                  <c:v>03.12.21</c:v>
                </c:pt>
                <c:pt idx="137">
                  <c:v>04.12.21</c:v>
                </c:pt>
                <c:pt idx="138">
                  <c:v>05.12.21</c:v>
                </c:pt>
                <c:pt idx="139">
                  <c:v>06.12.21</c:v>
                </c:pt>
                <c:pt idx="140">
                  <c:v>07.12.21</c:v>
                </c:pt>
                <c:pt idx="141">
                  <c:v>08.12.21</c:v>
                </c:pt>
                <c:pt idx="142">
                  <c:v>09.12.21</c:v>
                </c:pt>
                <c:pt idx="143">
                  <c:v>10.12.21</c:v>
                </c:pt>
                <c:pt idx="144">
                  <c:v>11.12.21</c:v>
                </c:pt>
                <c:pt idx="145">
                  <c:v>12.12.21</c:v>
                </c:pt>
                <c:pt idx="146">
                  <c:v>13.12.21</c:v>
                </c:pt>
                <c:pt idx="147">
                  <c:v>14.12.21</c:v>
                </c:pt>
                <c:pt idx="148">
                  <c:v>15.12.21</c:v>
                </c:pt>
                <c:pt idx="149">
                  <c:v>16.12.21</c:v>
                </c:pt>
                <c:pt idx="150">
                  <c:v>17.12.21</c:v>
                </c:pt>
                <c:pt idx="151">
                  <c:v>18.12.21</c:v>
                </c:pt>
                <c:pt idx="152">
                  <c:v>19.12.21</c:v>
                </c:pt>
                <c:pt idx="153">
                  <c:v>20.12.21</c:v>
                </c:pt>
                <c:pt idx="154">
                  <c:v>21.12.21</c:v>
                </c:pt>
                <c:pt idx="155">
                  <c:v>22.12.21</c:v>
                </c:pt>
                <c:pt idx="156">
                  <c:v>23.12.21</c:v>
                </c:pt>
                <c:pt idx="157">
                  <c:v>24.12.21</c:v>
                </c:pt>
                <c:pt idx="158">
                  <c:v>25.12.21</c:v>
                </c:pt>
                <c:pt idx="159">
                  <c:v>26.12.21</c:v>
                </c:pt>
                <c:pt idx="160">
                  <c:v>27.12.21</c:v>
                </c:pt>
                <c:pt idx="161">
                  <c:v>28.12.21</c:v>
                </c:pt>
                <c:pt idx="162">
                  <c:v>29.12.21</c:v>
                </c:pt>
                <c:pt idx="163">
                  <c:v>30.12.21</c:v>
                </c:pt>
                <c:pt idx="164">
                  <c:v>31.12.21</c:v>
                </c:pt>
                <c:pt idx="165">
                  <c:v>01.01.22</c:v>
                </c:pt>
                <c:pt idx="166">
                  <c:v>02.01.22</c:v>
                </c:pt>
                <c:pt idx="167">
                  <c:v>03.01.22</c:v>
                </c:pt>
                <c:pt idx="168">
                  <c:v>04.01.22</c:v>
                </c:pt>
                <c:pt idx="169">
                  <c:v>05.01.22</c:v>
                </c:pt>
                <c:pt idx="170">
                  <c:v>06.01.22</c:v>
                </c:pt>
                <c:pt idx="171">
                  <c:v>07.01.22</c:v>
                </c:pt>
                <c:pt idx="172">
                  <c:v>08.01.22</c:v>
                </c:pt>
                <c:pt idx="173">
                  <c:v>09.01.22</c:v>
                </c:pt>
                <c:pt idx="174">
                  <c:v>10.01.22</c:v>
                </c:pt>
                <c:pt idx="175">
                  <c:v>11.01.22</c:v>
                </c:pt>
                <c:pt idx="176">
                  <c:v>12.01.22</c:v>
                </c:pt>
                <c:pt idx="177">
                  <c:v>13.01.22</c:v>
                </c:pt>
                <c:pt idx="178">
                  <c:v>14.01.22</c:v>
                </c:pt>
                <c:pt idx="179">
                  <c:v>15.01.22</c:v>
                </c:pt>
                <c:pt idx="180">
                  <c:v>16.01.22</c:v>
                </c:pt>
                <c:pt idx="181">
                  <c:v>17.01.22</c:v>
                </c:pt>
                <c:pt idx="182">
                  <c:v>18.01.22</c:v>
                </c:pt>
              </c:strCache>
            </c:strRef>
          </c:cat>
          <c:val>
            <c:numRef>
              <c:f>List1!$B$4:$GB$4</c:f>
              <c:numCache>
                <c:formatCode>General</c:formatCode>
                <c:ptCount val="183"/>
                <c:pt idx="0">
                  <c:v>5</c:v>
                </c:pt>
                <c:pt idx="1">
                  <c:v>1</c:v>
                </c:pt>
                <c:pt idx="2">
                  <c:v>3</c:v>
                </c:pt>
                <c:pt idx="3">
                  <c:v>2</c:v>
                </c:pt>
                <c:pt idx="4">
                  <c:v>0</c:v>
                </c:pt>
                <c:pt idx="5">
                  <c:v>2</c:v>
                </c:pt>
                <c:pt idx="6">
                  <c:v>3</c:v>
                </c:pt>
                <c:pt idx="7">
                  <c:v>4</c:v>
                </c:pt>
                <c:pt idx="8">
                  <c:v>1</c:v>
                </c:pt>
                <c:pt idx="9">
                  <c:v>3</c:v>
                </c:pt>
                <c:pt idx="10">
                  <c:v>1</c:v>
                </c:pt>
                <c:pt idx="11">
                  <c:v>1</c:v>
                </c:pt>
                <c:pt idx="12">
                  <c:v>1</c:v>
                </c:pt>
                <c:pt idx="13">
                  <c:v>2</c:v>
                </c:pt>
                <c:pt idx="14">
                  <c:v>3</c:v>
                </c:pt>
                <c:pt idx="15">
                  <c:v>3</c:v>
                </c:pt>
                <c:pt idx="16">
                  <c:v>1</c:v>
                </c:pt>
                <c:pt idx="17">
                  <c:v>2</c:v>
                </c:pt>
                <c:pt idx="18">
                  <c:v>1</c:v>
                </c:pt>
                <c:pt idx="19">
                  <c:v>0</c:v>
                </c:pt>
                <c:pt idx="20">
                  <c:v>7</c:v>
                </c:pt>
                <c:pt idx="21">
                  <c:v>1</c:v>
                </c:pt>
                <c:pt idx="22">
                  <c:v>1</c:v>
                </c:pt>
                <c:pt idx="23">
                  <c:v>2</c:v>
                </c:pt>
                <c:pt idx="24">
                  <c:v>6</c:v>
                </c:pt>
                <c:pt idx="25">
                  <c:v>2</c:v>
                </c:pt>
                <c:pt idx="26">
                  <c:v>1</c:v>
                </c:pt>
                <c:pt idx="27">
                  <c:v>1</c:v>
                </c:pt>
                <c:pt idx="28">
                  <c:v>1</c:v>
                </c:pt>
                <c:pt idx="29">
                  <c:v>1</c:v>
                </c:pt>
                <c:pt idx="30">
                  <c:v>0</c:v>
                </c:pt>
                <c:pt idx="31">
                  <c:v>3</c:v>
                </c:pt>
                <c:pt idx="32">
                  <c:v>2</c:v>
                </c:pt>
                <c:pt idx="33">
                  <c:v>2</c:v>
                </c:pt>
                <c:pt idx="34">
                  <c:v>1</c:v>
                </c:pt>
                <c:pt idx="35">
                  <c:v>3</c:v>
                </c:pt>
                <c:pt idx="36">
                  <c:v>5</c:v>
                </c:pt>
                <c:pt idx="37">
                  <c:v>2</c:v>
                </c:pt>
                <c:pt idx="38">
                  <c:v>2</c:v>
                </c:pt>
                <c:pt idx="39">
                  <c:v>0</c:v>
                </c:pt>
                <c:pt idx="40">
                  <c:v>1</c:v>
                </c:pt>
                <c:pt idx="41">
                  <c:v>1</c:v>
                </c:pt>
                <c:pt idx="42">
                  <c:v>1</c:v>
                </c:pt>
                <c:pt idx="43">
                  <c:v>2</c:v>
                </c:pt>
                <c:pt idx="44">
                  <c:v>4</c:v>
                </c:pt>
                <c:pt idx="45">
                  <c:v>6</c:v>
                </c:pt>
                <c:pt idx="46">
                  <c:v>5</c:v>
                </c:pt>
                <c:pt idx="47">
                  <c:v>1</c:v>
                </c:pt>
                <c:pt idx="48">
                  <c:v>5</c:v>
                </c:pt>
                <c:pt idx="49">
                  <c:v>4</c:v>
                </c:pt>
                <c:pt idx="50">
                  <c:v>1</c:v>
                </c:pt>
                <c:pt idx="51">
                  <c:v>3</c:v>
                </c:pt>
                <c:pt idx="52">
                  <c:v>2</c:v>
                </c:pt>
                <c:pt idx="53">
                  <c:v>0</c:v>
                </c:pt>
                <c:pt idx="54">
                  <c:v>3</c:v>
                </c:pt>
                <c:pt idx="55">
                  <c:v>2</c:v>
                </c:pt>
                <c:pt idx="56">
                  <c:v>3</c:v>
                </c:pt>
                <c:pt idx="57">
                  <c:v>5</c:v>
                </c:pt>
                <c:pt idx="58">
                  <c:v>7</c:v>
                </c:pt>
                <c:pt idx="59">
                  <c:v>4</c:v>
                </c:pt>
                <c:pt idx="60">
                  <c:v>2</c:v>
                </c:pt>
                <c:pt idx="61">
                  <c:v>5</c:v>
                </c:pt>
                <c:pt idx="62">
                  <c:v>8</c:v>
                </c:pt>
                <c:pt idx="63">
                  <c:v>9</c:v>
                </c:pt>
                <c:pt idx="64">
                  <c:v>8</c:v>
                </c:pt>
                <c:pt idx="65">
                  <c:v>5</c:v>
                </c:pt>
                <c:pt idx="66">
                  <c:v>4</c:v>
                </c:pt>
                <c:pt idx="67">
                  <c:v>4</c:v>
                </c:pt>
                <c:pt idx="68">
                  <c:v>2</c:v>
                </c:pt>
                <c:pt idx="69">
                  <c:v>7</c:v>
                </c:pt>
                <c:pt idx="70">
                  <c:v>6</c:v>
                </c:pt>
                <c:pt idx="71">
                  <c:v>8</c:v>
                </c:pt>
                <c:pt idx="72">
                  <c:v>12</c:v>
                </c:pt>
                <c:pt idx="73">
                  <c:v>8</c:v>
                </c:pt>
                <c:pt idx="74">
                  <c:v>4</c:v>
                </c:pt>
                <c:pt idx="75">
                  <c:v>7</c:v>
                </c:pt>
                <c:pt idx="76">
                  <c:v>9</c:v>
                </c:pt>
                <c:pt idx="77">
                  <c:v>12</c:v>
                </c:pt>
                <c:pt idx="78">
                  <c:v>13</c:v>
                </c:pt>
                <c:pt idx="79">
                  <c:v>15</c:v>
                </c:pt>
                <c:pt idx="80">
                  <c:v>8</c:v>
                </c:pt>
                <c:pt idx="81">
                  <c:v>7</c:v>
                </c:pt>
                <c:pt idx="82">
                  <c:v>5</c:v>
                </c:pt>
                <c:pt idx="83">
                  <c:v>19</c:v>
                </c:pt>
                <c:pt idx="84">
                  <c:v>31</c:v>
                </c:pt>
                <c:pt idx="85">
                  <c:v>18</c:v>
                </c:pt>
                <c:pt idx="86">
                  <c:v>16</c:v>
                </c:pt>
                <c:pt idx="87">
                  <c:v>14</c:v>
                </c:pt>
                <c:pt idx="88">
                  <c:v>9</c:v>
                </c:pt>
                <c:pt idx="89">
                  <c:v>13</c:v>
                </c:pt>
                <c:pt idx="90">
                  <c:v>38</c:v>
                </c:pt>
                <c:pt idx="91">
                  <c:v>53</c:v>
                </c:pt>
                <c:pt idx="92">
                  <c:v>48</c:v>
                </c:pt>
                <c:pt idx="93">
                  <c:v>53</c:v>
                </c:pt>
                <c:pt idx="94">
                  <c:v>42</c:v>
                </c:pt>
                <c:pt idx="95">
                  <c:v>27</c:v>
                </c:pt>
                <c:pt idx="96">
                  <c:v>20</c:v>
                </c:pt>
                <c:pt idx="97">
                  <c:v>76</c:v>
                </c:pt>
                <c:pt idx="98">
                  <c:v>81</c:v>
                </c:pt>
                <c:pt idx="99">
                  <c:v>64</c:v>
                </c:pt>
                <c:pt idx="100">
                  <c:v>38</c:v>
                </c:pt>
                <c:pt idx="101">
                  <c:v>79</c:v>
                </c:pt>
                <c:pt idx="102">
                  <c:v>52</c:v>
                </c:pt>
                <c:pt idx="103">
                  <c:v>40</c:v>
                </c:pt>
                <c:pt idx="104">
                  <c:v>130</c:v>
                </c:pt>
                <c:pt idx="105">
                  <c:v>128</c:v>
                </c:pt>
                <c:pt idx="106">
                  <c:v>102</c:v>
                </c:pt>
                <c:pt idx="107">
                  <c:v>107</c:v>
                </c:pt>
                <c:pt idx="108">
                  <c:v>127</c:v>
                </c:pt>
                <c:pt idx="109">
                  <c:v>53</c:v>
                </c:pt>
                <c:pt idx="110">
                  <c:v>37</c:v>
                </c:pt>
                <c:pt idx="111">
                  <c:v>127</c:v>
                </c:pt>
                <c:pt idx="112">
                  <c:v>138</c:v>
                </c:pt>
                <c:pt idx="113">
                  <c:v>139</c:v>
                </c:pt>
                <c:pt idx="114">
                  <c:v>113</c:v>
                </c:pt>
                <c:pt idx="115">
                  <c:v>158</c:v>
                </c:pt>
                <c:pt idx="116">
                  <c:v>94</c:v>
                </c:pt>
                <c:pt idx="117">
                  <c:v>49</c:v>
                </c:pt>
                <c:pt idx="118">
                  <c:v>156</c:v>
                </c:pt>
                <c:pt idx="119">
                  <c:v>192</c:v>
                </c:pt>
                <c:pt idx="120">
                  <c:v>140</c:v>
                </c:pt>
                <c:pt idx="121">
                  <c:v>157</c:v>
                </c:pt>
                <c:pt idx="122">
                  <c:v>239</c:v>
                </c:pt>
                <c:pt idx="123">
                  <c:v>118</c:v>
                </c:pt>
                <c:pt idx="124">
                  <c:v>88</c:v>
                </c:pt>
                <c:pt idx="125">
                  <c:v>197</c:v>
                </c:pt>
                <c:pt idx="126">
                  <c:v>203</c:v>
                </c:pt>
                <c:pt idx="127">
                  <c:v>170</c:v>
                </c:pt>
                <c:pt idx="128">
                  <c:v>246</c:v>
                </c:pt>
                <c:pt idx="129">
                  <c:v>141</c:v>
                </c:pt>
                <c:pt idx="130">
                  <c:v>107</c:v>
                </c:pt>
                <c:pt idx="131">
                  <c:v>81</c:v>
                </c:pt>
                <c:pt idx="132">
                  <c:v>199</c:v>
                </c:pt>
                <c:pt idx="133">
                  <c:v>178</c:v>
                </c:pt>
                <c:pt idx="134">
                  <c:v>157</c:v>
                </c:pt>
                <c:pt idx="135">
                  <c:v>124</c:v>
                </c:pt>
                <c:pt idx="136">
                  <c:v>152</c:v>
                </c:pt>
                <c:pt idx="137">
                  <c:v>94</c:v>
                </c:pt>
                <c:pt idx="138">
                  <c:v>64</c:v>
                </c:pt>
                <c:pt idx="139">
                  <c:v>187</c:v>
                </c:pt>
                <c:pt idx="140">
                  <c:v>157</c:v>
                </c:pt>
                <c:pt idx="141">
                  <c:v>128</c:v>
                </c:pt>
                <c:pt idx="142">
                  <c:v>107</c:v>
                </c:pt>
                <c:pt idx="143">
                  <c:v>88</c:v>
                </c:pt>
                <c:pt idx="144">
                  <c:v>74</c:v>
                </c:pt>
                <c:pt idx="145">
                  <c:v>59</c:v>
                </c:pt>
                <c:pt idx="146">
                  <c:v>114</c:v>
                </c:pt>
                <c:pt idx="147">
                  <c:v>164</c:v>
                </c:pt>
                <c:pt idx="148">
                  <c:v>89</c:v>
                </c:pt>
                <c:pt idx="149">
                  <c:v>86</c:v>
                </c:pt>
                <c:pt idx="150">
                  <c:v>91</c:v>
                </c:pt>
                <c:pt idx="151">
                  <c:v>58</c:v>
                </c:pt>
                <c:pt idx="152">
                  <c:v>41</c:v>
                </c:pt>
                <c:pt idx="153">
                  <c:v>99</c:v>
                </c:pt>
                <c:pt idx="154">
                  <c:v>90</c:v>
                </c:pt>
                <c:pt idx="155">
                  <c:v>43</c:v>
                </c:pt>
                <c:pt idx="156">
                  <c:v>66</c:v>
                </c:pt>
                <c:pt idx="157">
                  <c:v>20</c:v>
                </c:pt>
                <c:pt idx="158">
                  <c:v>12</c:v>
                </c:pt>
                <c:pt idx="159">
                  <c:v>21</c:v>
                </c:pt>
                <c:pt idx="160">
                  <c:v>67</c:v>
                </c:pt>
                <c:pt idx="161">
                  <c:v>91</c:v>
                </c:pt>
                <c:pt idx="162">
                  <c:v>59</c:v>
                </c:pt>
                <c:pt idx="163">
                  <c:v>59</c:v>
                </c:pt>
                <c:pt idx="164">
                  <c:v>73</c:v>
                </c:pt>
                <c:pt idx="165">
                  <c:v>12</c:v>
                </c:pt>
                <c:pt idx="166">
                  <c:v>21</c:v>
                </c:pt>
                <c:pt idx="167">
                  <c:v>90</c:v>
                </c:pt>
                <c:pt idx="168">
                  <c:v>85</c:v>
                </c:pt>
                <c:pt idx="169">
                  <c:v>68</c:v>
                </c:pt>
                <c:pt idx="170">
                  <c:v>66</c:v>
                </c:pt>
                <c:pt idx="171">
                  <c:v>63</c:v>
                </c:pt>
                <c:pt idx="172">
                  <c:v>30</c:v>
                </c:pt>
                <c:pt idx="173">
                  <c:v>27</c:v>
                </c:pt>
                <c:pt idx="174">
                  <c:v>78</c:v>
                </c:pt>
                <c:pt idx="175">
                  <c:v>106</c:v>
                </c:pt>
                <c:pt idx="176">
                  <c:v>87</c:v>
                </c:pt>
                <c:pt idx="177">
                  <c:v>71</c:v>
                </c:pt>
                <c:pt idx="178">
                  <c:v>90</c:v>
                </c:pt>
                <c:pt idx="179">
                  <c:v>56</c:v>
                </c:pt>
                <c:pt idx="180">
                  <c:v>55</c:v>
                </c:pt>
                <c:pt idx="181">
                  <c:v>176</c:v>
                </c:pt>
                <c:pt idx="182">
                  <c:v>176</c:v>
                </c:pt>
              </c:numCache>
            </c:numRef>
          </c:val>
          <c:smooth val="0"/>
          <c:extLst>
            <c:ext xmlns:c16="http://schemas.microsoft.com/office/drawing/2014/chart" uri="{C3380CC4-5D6E-409C-BE32-E72D297353CC}">
              <c16:uniqueId val="{00000005-E8FD-43E4-BA1D-0B494D841FF9}"/>
            </c:ext>
          </c:extLst>
        </c:ser>
        <c:dLbls>
          <c:showLegendKey val="0"/>
          <c:showVal val="0"/>
          <c:showCatName val="0"/>
          <c:showSerName val="0"/>
          <c:showPercent val="0"/>
          <c:showBubbleSize val="0"/>
        </c:dLbls>
        <c:smooth val="0"/>
        <c:axId val="604314152"/>
        <c:axId val="604312192"/>
      </c:lineChart>
      <c:catAx>
        <c:axId val="604314152"/>
        <c:scaling>
          <c:orientation val="minMax"/>
        </c:scaling>
        <c:delete val="0"/>
        <c:axPos val="b"/>
        <c:numFmt formatCode="dd/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604312192"/>
        <c:crosses val="autoZero"/>
        <c:auto val="1"/>
        <c:lblAlgn val="ctr"/>
        <c:lblOffset val="100"/>
        <c:tickLblSkip val="7"/>
        <c:noMultiLvlLbl val="0"/>
      </c:catAx>
      <c:valAx>
        <c:axId val="604312192"/>
        <c:scaling>
          <c:orientation val="minMax"/>
          <c:max val="3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604314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Calibri" panose="020F0502020204030204" pitchFamily="34" charset="0"/>
          <a:cs typeface="Calibri" panose="020F0502020204030204" pitchFamily="34" charset="0"/>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PCR pozit / 100t</c:v>
                </c:pt>
              </c:strCache>
            </c:strRef>
          </c:tx>
          <c:spPr>
            <a:solidFill>
              <a:schemeClr val="accent2"/>
            </a:solidFill>
            <a:ln>
              <a:noFill/>
            </a:ln>
            <a:effectLst/>
          </c:spPr>
          <c:invertIfNegative val="0"/>
          <c:dPt>
            <c:idx val="4"/>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5-AF8D-452A-96D6-793B34FBC0C1}"/>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4-E6A1-48E7-A5BA-8103F746F862}"/>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1-E6A1-48E7-A5BA-8103F746F862}"/>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lavní město Praha</c:v>
                </c:pt>
                <c:pt idx="1">
                  <c:v>Olomoucký kraj</c:v>
                </c:pt>
                <c:pt idx="2">
                  <c:v>Karlovarský kraj</c:v>
                </c:pt>
                <c:pt idx="3">
                  <c:v>Ústecký kraj</c:v>
                </c:pt>
                <c:pt idx="4">
                  <c:v>ČR</c:v>
                </c:pt>
                <c:pt idx="5">
                  <c:v>Zlínský kraj</c:v>
                </c:pt>
                <c:pt idx="6">
                  <c:v>Královéhradecký kraj</c:v>
                </c:pt>
                <c:pt idx="7">
                  <c:v>Jihočeský kraj</c:v>
                </c:pt>
                <c:pt idx="8">
                  <c:v>Liberecký kraj</c:v>
                </c:pt>
                <c:pt idx="9">
                  <c:v>Středočeský kraj</c:v>
                </c:pt>
                <c:pt idx="10">
                  <c:v>Jihomoravský kraj</c:v>
                </c:pt>
                <c:pt idx="11">
                  <c:v>Plzeňský kraj</c:v>
                </c:pt>
                <c:pt idx="12">
                  <c:v>Pardubický kraj</c:v>
                </c:pt>
                <c:pt idx="13">
                  <c:v>Moravskoslezský kraj</c:v>
                </c:pt>
                <c:pt idx="14">
                  <c:v>Kraj Vysočina</c:v>
                </c:pt>
              </c:strCache>
            </c:strRef>
          </c:cat>
          <c:val>
            <c:numRef>
              <c:f>Sheet1!$B$2:$B$16</c:f>
              <c:numCache>
                <c:formatCode>0</c:formatCode>
                <c:ptCount val="15"/>
                <c:pt idx="0">
                  <c:v>702.84760000000006</c:v>
                </c:pt>
                <c:pt idx="1">
                  <c:v>548.15509999999995</c:v>
                </c:pt>
                <c:pt idx="2">
                  <c:v>454.49110000000002</c:v>
                </c:pt>
                <c:pt idx="3">
                  <c:v>373.36399999999998</c:v>
                </c:pt>
                <c:pt idx="4">
                  <c:v>362.0548</c:v>
                </c:pt>
                <c:pt idx="5">
                  <c:v>361.27519999999998</c:v>
                </c:pt>
                <c:pt idx="6">
                  <c:v>333.95179999999999</c:v>
                </c:pt>
                <c:pt idx="7">
                  <c:v>331.36630000000002</c:v>
                </c:pt>
                <c:pt idx="8">
                  <c:v>322.53339999999997</c:v>
                </c:pt>
                <c:pt idx="9">
                  <c:v>314.27890000000002</c:v>
                </c:pt>
                <c:pt idx="10">
                  <c:v>296.80540000000002</c:v>
                </c:pt>
                <c:pt idx="11">
                  <c:v>222.0249</c:v>
                </c:pt>
                <c:pt idx="12">
                  <c:v>188.8622</c:v>
                </c:pt>
                <c:pt idx="13">
                  <c:v>176.69130000000001</c:v>
                </c:pt>
                <c:pt idx="14" formatCode="General">
                  <c:v>159.24469999999999</c:v>
                </c:pt>
              </c:numCache>
            </c:numRef>
          </c:val>
          <c:extLst>
            <c:ext xmlns:c16="http://schemas.microsoft.com/office/drawing/2014/chart" uri="{C3380CC4-5D6E-409C-BE32-E72D297353CC}">
              <c16:uniqueId val="{00000002-E6A1-48E7-A5BA-8103F746F862}"/>
            </c:ext>
          </c:extLst>
        </c:ser>
        <c:dLbls>
          <c:showLegendKey val="0"/>
          <c:showVal val="0"/>
          <c:showCatName val="0"/>
          <c:showSerName val="0"/>
          <c:showPercent val="0"/>
          <c:showBubbleSize val="0"/>
        </c:dLbls>
        <c:gapWidth val="50"/>
        <c:axId val="709227824"/>
        <c:axId val="493545440"/>
      </c:barChart>
      <c:catAx>
        <c:axId val="709227824"/>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cs-CZ"/>
          </a:p>
        </c:txPr>
        <c:crossAx val="493545440"/>
        <c:crosses val="autoZero"/>
        <c:auto val="1"/>
        <c:lblAlgn val="ctr"/>
        <c:lblOffset val="100"/>
        <c:noMultiLvlLbl val="0"/>
      </c:catAx>
      <c:valAx>
        <c:axId val="493545440"/>
        <c:scaling>
          <c:orientation val="minMax"/>
        </c:scaling>
        <c:delete val="0"/>
        <c:axPos val="t"/>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709227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95491925027349E-2"/>
          <c:y val="2.8733097084892491E-2"/>
          <c:w val="0.69322079746689458"/>
          <c:h val="0.83918438300516462"/>
        </c:manualLayout>
      </c:layout>
      <c:lineChart>
        <c:grouping val="standard"/>
        <c:varyColors val="0"/>
        <c:ser>
          <c:idx val="0"/>
          <c:order val="0"/>
          <c:tx>
            <c:strRef>
              <c:f>List1!$A$2</c:f>
              <c:strCache>
                <c:ptCount val="1"/>
                <c:pt idx="0">
                  <c:v>Lékaři</c:v>
                </c:pt>
              </c:strCache>
            </c:strRef>
          </c:tx>
          <c:spPr>
            <a:ln w="28575" cap="rnd">
              <a:solidFill>
                <a:srgbClr val="4472C4"/>
              </a:solidFill>
              <a:prstDash val="solid"/>
              <a:round/>
            </a:ln>
            <a:effectLst/>
          </c:spPr>
          <c:marker>
            <c:symbol val="none"/>
          </c:marker>
          <c:dLbls>
            <c:dLbl>
              <c:idx val="182"/>
              <c:layout>
                <c:manualLayout>
                  <c:x val="-1.3019527064393282E-16"/>
                  <c:y val="2.3312783206719222E-3"/>
                </c:manualLayout>
              </c:layout>
              <c:spPr>
                <a:noFill/>
                <a:ln>
                  <a:noFill/>
                </a:ln>
                <a:effectLst/>
              </c:spPr>
              <c:txPr>
                <a:bodyPr rot="0" spcFirstLastPara="1" vertOverflow="ellipsis" vert="horz" wrap="square" anchor="ctr" anchorCtr="0"/>
                <a:lstStyle/>
                <a:p>
                  <a:pPr algn="l">
                    <a:defRPr sz="1200" b="1" i="0" u="none" strike="noStrike" kern="1200" baseline="0">
                      <a:solidFill>
                        <a:srgbClr val="4472C4"/>
                      </a:solidFill>
                      <a:latin typeface="Calibri" panose="020F0502020204030204" pitchFamily="34" charset="0"/>
                      <a:ea typeface="+mn-ea"/>
                      <a:cs typeface="Calibri" panose="020F0502020204030204" pitchFamily="34" charset="0"/>
                    </a:defRPr>
                  </a:pPr>
                  <a:endParaRPr lang="cs-CZ"/>
                </a:p>
              </c:txPr>
              <c:dLblPos val="r"/>
              <c:showLegendKey val="0"/>
              <c:showVal val="1"/>
              <c:showCatName val="0"/>
              <c:showSerName val="1"/>
              <c:showPercent val="0"/>
              <c:showBubbleSize val="0"/>
              <c:extLst>
                <c:ext xmlns:c15="http://schemas.microsoft.com/office/drawing/2012/chart" uri="{CE6537A1-D6FC-4f65-9D91-7224C49458BB}">
                  <c15:layout>
                    <c:manualLayout>
                      <c:w val="0.24601304996662368"/>
                      <c:h val="4.1147062359859425E-2"/>
                    </c:manualLayout>
                  </c15:layout>
                </c:ext>
                <c:ext xmlns:c16="http://schemas.microsoft.com/office/drawing/2014/chart" uri="{C3380CC4-5D6E-409C-BE32-E72D297353CC}">
                  <c16:uniqueId val="{00000000-37CD-4BA3-857E-B86804E5EE02}"/>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GB$1</c:f>
              <c:strCache>
                <c:ptCount val="183"/>
                <c:pt idx="0">
                  <c:v>20.07.21</c:v>
                </c:pt>
                <c:pt idx="1">
                  <c:v>21.07.21</c:v>
                </c:pt>
                <c:pt idx="2">
                  <c:v>22.07.21</c:v>
                </c:pt>
                <c:pt idx="3">
                  <c:v>23.07.21</c:v>
                </c:pt>
                <c:pt idx="4">
                  <c:v>24.07.21</c:v>
                </c:pt>
                <c:pt idx="5">
                  <c:v>25.07.21</c:v>
                </c:pt>
                <c:pt idx="6">
                  <c:v>26.07.21</c:v>
                </c:pt>
                <c:pt idx="7">
                  <c:v>27.07.21</c:v>
                </c:pt>
                <c:pt idx="8">
                  <c:v>28.07.21</c:v>
                </c:pt>
                <c:pt idx="9">
                  <c:v>29.07.21</c:v>
                </c:pt>
                <c:pt idx="10">
                  <c:v>30.07.21</c:v>
                </c:pt>
                <c:pt idx="11">
                  <c:v>31.07.21</c:v>
                </c:pt>
                <c:pt idx="12">
                  <c:v>01.08.21</c:v>
                </c:pt>
                <c:pt idx="13">
                  <c:v>02.08.21</c:v>
                </c:pt>
                <c:pt idx="14">
                  <c:v>03.08.21</c:v>
                </c:pt>
                <c:pt idx="15">
                  <c:v>04.08.21</c:v>
                </c:pt>
                <c:pt idx="16">
                  <c:v>05.08.21</c:v>
                </c:pt>
                <c:pt idx="17">
                  <c:v>06.08.21</c:v>
                </c:pt>
                <c:pt idx="18">
                  <c:v>07.08.21</c:v>
                </c:pt>
                <c:pt idx="19">
                  <c:v>08.08.21</c:v>
                </c:pt>
                <c:pt idx="20">
                  <c:v>09.08.21</c:v>
                </c:pt>
                <c:pt idx="21">
                  <c:v>10.08.21</c:v>
                </c:pt>
                <c:pt idx="22">
                  <c:v>11.08.21</c:v>
                </c:pt>
                <c:pt idx="23">
                  <c:v>12.08.21</c:v>
                </c:pt>
                <c:pt idx="24">
                  <c:v>13.08.21</c:v>
                </c:pt>
                <c:pt idx="25">
                  <c:v>14.08.21</c:v>
                </c:pt>
                <c:pt idx="26">
                  <c:v>15.08.21</c:v>
                </c:pt>
                <c:pt idx="27">
                  <c:v>16.08.21</c:v>
                </c:pt>
                <c:pt idx="28">
                  <c:v>17.08.21</c:v>
                </c:pt>
                <c:pt idx="29">
                  <c:v>18.08.21</c:v>
                </c:pt>
                <c:pt idx="30">
                  <c:v>19.08.21</c:v>
                </c:pt>
                <c:pt idx="31">
                  <c:v>20.08.21</c:v>
                </c:pt>
                <c:pt idx="32">
                  <c:v>21.08.21</c:v>
                </c:pt>
                <c:pt idx="33">
                  <c:v>22.08.21</c:v>
                </c:pt>
                <c:pt idx="34">
                  <c:v>23.08.21</c:v>
                </c:pt>
                <c:pt idx="35">
                  <c:v>24.08.21</c:v>
                </c:pt>
                <c:pt idx="36">
                  <c:v>25.08.21</c:v>
                </c:pt>
                <c:pt idx="37">
                  <c:v>26.08.21</c:v>
                </c:pt>
                <c:pt idx="38">
                  <c:v>27.08.21</c:v>
                </c:pt>
                <c:pt idx="39">
                  <c:v>28.08.21</c:v>
                </c:pt>
                <c:pt idx="40">
                  <c:v>29.08.21</c:v>
                </c:pt>
                <c:pt idx="41">
                  <c:v>30.08.21</c:v>
                </c:pt>
                <c:pt idx="42">
                  <c:v>31.08.21</c:v>
                </c:pt>
                <c:pt idx="43">
                  <c:v>01.09.21</c:v>
                </c:pt>
                <c:pt idx="44">
                  <c:v>02.09.21</c:v>
                </c:pt>
                <c:pt idx="45">
                  <c:v>03.09.21</c:v>
                </c:pt>
                <c:pt idx="46">
                  <c:v>04.09.21</c:v>
                </c:pt>
                <c:pt idx="47">
                  <c:v>05.09.21</c:v>
                </c:pt>
                <c:pt idx="48">
                  <c:v>06.09.21</c:v>
                </c:pt>
                <c:pt idx="49">
                  <c:v>07.09.21</c:v>
                </c:pt>
                <c:pt idx="50">
                  <c:v>08.09.21</c:v>
                </c:pt>
                <c:pt idx="51">
                  <c:v>09.09.21</c:v>
                </c:pt>
                <c:pt idx="52">
                  <c:v>10.09.21</c:v>
                </c:pt>
                <c:pt idx="53">
                  <c:v>11.09.21</c:v>
                </c:pt>
                <c:pt idx="54">
                  <c:v>12.09.21</c:v>
                </c:pt>
                <c:pt idx="55">
                  <c:v>13.09.21</c:v>
                </c:pt>
                <c:pt idx="56">
                  <c:v>14.09.21</c:v>
                </c:pt>
                <c:pt idx="57">
                  <c:v>15.09.21</c:v>
                </c:pt>
                <c:pt idx="58">
                  <c:v>16.09.21</c:v>
                </c:pt>
                <c:pt idx="59">
                  <c:v>17.09.21</c:v>
                </c:pt>
                <c:pt idx="60">
                  <c:v>18.09.21</c:v>
                </c:pt>
                <c:pt idx="61">
                  <c:v>19.09.21</c:v>
                </c:pt>
                <c:pt idx="62">
                  <c:v>20.09.21</c:v>
                </c:pt>
                <c:pt idx="63">
                  <c:v>21.09.21</c:v>
                </c:pt>
                <c:pt idx="64">
                  <c:v>22.09.21</c:v>
                </c:pt>
                <c:pt idx="65">
                  <c:v>23.09.21</c:v>
                </c:pt>
                <c:pt idx="66">
                  <c:v>24.09.21</c:v>
                </c:pt>
                <c:pt idx="67">
                  <c:v>25.09.21</c:v>
                </c:pt>
                <c:pt idx="68">
                  <c:v>26.09.21</c:v>
                </c:pt>
                <c:pt idx="69">
                  <c:v>27.09.21</c:v>
                </c:pt>
                <c:pt idx="70">
                  <c:v>28.09.21</c:v>
                </c:pt>
                <c:pt idx="71">
                  <c:v>29.09.21</c:v>
                </c:pt>
                <c:pt idx="72">
                  <c:v>30.09.21</c:v>
                </c:pt>
                <c:pt idx="73">
                  <c:v>01.10.21</c:v>
                </c:pt>
                <c:pt idx="74">
                  <c:v>02.10.21</c:v>
                </c:pt>
                <c:pt idx="75">
                  <c:v>03.10.21</c:v>
                </c:pt>
                <c:pt idx="76">
                  <c:v>04.10.21</c:v>
                </c:pt>
                <c:pt idx="77">
                  <c:v>05.10.21</c:v>
                </c:pt>
                <c:pt idx="78">
                  <c:v>06.10.21</c:v>
                </c:pt>
                <c:pt idx="79">
                  <c:v>07.10.21</c:v>
                </c:pt>
                <c:pt idx="80">
                  <c:v>08.10.21</c:v>
                </c:pt>
                <c:pt idx="81">
                  <c:v>09.10.21</c:v>
                </c:pt>
                <c:pt idx="82">
                  <c:v>10.10.21</c:v>
                </c:pt>
                <c:pt idx="83">
                  <c:v>11.10.21</c:v>
                </c:pt>
                <c:pt idx="84">
                  <c:v>12.10.21</c:v>
                </c:pt>
                <c:pt idx="85">
                  <c:v>13.10.21</c:v>
                </c:pt>
                <c:pt idx="86">
                  <c:v>14.10.21</c:v>
                </c:pt>
                <c:pt idx="87">
                  <c:v>15.10.21</c:v>
                </c:pt>
                <c:pt idx="88">
                  <c:v>16.10.21</c:v>
                </c:pt>
                <c:pt idx="89">
                  <c:v>17.10.21</c:v>
                </c:pt>
                <c:pt idx="90">
                  <c:v>18.10.21</c:v>
                </c:pt>
                <c:pt idx="91">
                  <c:v>19.10.21</c:v>
                </c:pt>
                <c:pt idx="92">
                  <c:v>20.10.21</c:v>
                </c:pt>
                <c:pt idx="93">
                  <c:v>21.10.21</c:v>
                </c:pt>
                <c:pt idx="94">
                  <c:v>22.10.21</c:v>
                </c:pt>
                <c:pt idx="95">
                  <c:v>23.10.21</c:v>
                </c:pt>
                <c:pt idx="96">
                  <c:v>24.10.21</c:v>
                </c:pt>
                <c:pt idx="97">
                  <c:v>25.10.21</c:v>
                </c:pt>
                <c:pt idx="98">
                  <c:v>26.10.21</c:v>
                </c:pt>
                <c:pt idx="99">
                  <c:v>27.10.21</c:v>
                </c:pt>
                <c:pt idx="100">
                  <c:v>28.10.21</c:v>
                </c:pt>
                <c:pt idx="101">
                  <c:v>29.10.21</c:v>
                </c:pt>
                <c:pt idx="102">
                  <c:v>30.10.21</c:v>
                </c:pt>
                <c:pt idx="103">
                  <c:v>31.10.21</c:v>
                </c:pt>
                <c:pt idx="104">
                  <c:v>01.11.21</c:v>
                </c:pt>
                <c:pt idx="105">
                  <c:v>02.11.21</c:v>
                </c:pt>
                <c:pt idx="106">
                  <c:v>03.11.21</c:v>
                </c:pt>
                <c:pt idx="107">
                  <c:v>04.11.21</c:v>
                </c:pt>
                <c:pt idx="108">
                  <c:v>05.11.21</c:v>
                </c:pt>
                <c:pt idx="109">
                  <c:v>06.11.21</c:v>
                </c:pt>
                <c:pt idx="110">
                  <c:v>07.11.21</c:v>
                </c:pt>
                <c:pt idx="111">
                  <c:v>08.11.21</c:v>
                </c:pt>
                <c:pt idx="112">
                  <c:v>09.11.21</c:v>
                </c:pt>
                <c:pt idx="113">
                  <c:v>10.11.21</c:v>
                </c:pt>
                <c:pt idx="114">
                  <c:v>11.11.21</c:v>
                </c:pt>
                <c:pt idx="115">
                  <c:v>12.11.21</c:v>
                </c:pt>
                <c:pt idx="116">
                  <c:v>13.11.21</c:v>
                </c:pt>
                <c:pt idx="117">
                  <c:v>14.11.21</c:v>
                </c:pt>
                <c:pt idx="118">
                  <c:v>15.11.21</c:v>
                </c:pt>
                <c:pt idx="119">
                  <c:v>16.11.21</c:v>
                </c:pt>
                <c:pt idx="120">
                  <c:v>17.11.21</c:v>
                </c:pt>
                <c:pt idx="121">
                  <c:v>18.11.21</c:v>
                </c:pt>
                <c:pt idx="122">
                  <c:v>19.11.21</c:v>
                </c:pt>
                <c:pt idx="123">
                  <c:v>20.11.21</c:v>
                </c:pt>
                <c:pt idx="124">
                  <c:v>21.11.21</c:v>
                </c:pt>
                <c:pt idx="125">
                  <c:v>22.11.21</c:v>
                </c:pt>
                <c:pt idx="126">
                  <c:v>23.11.21</c:v>
                </c:pt>
                <c:pt idx="127">
                  <c:v>24.11.21</c:v>
                </c:pt>
                <c:pt idx="128">
                  <c:v>25.11.21</c:v>
                </c:pt>
                <c:pt idx="129">
                  <c:v>26.11.21</c:v>
                </c:pt>
                <c:pt idx="130">
                  <c:v>27.11.21</c:v>
                </c:pt>
                <c:pt idx="131">
                  <c:v>28.11.21</c:v>
                </c:pt>
                <c:pt idx="132">
                  <c:v>29.11.21</c:v>
                </c:pt>
                <c:pt idx="133">
                  <c:v>30.11.21</c:v>
                </c:pt>
                <c:pt idx="134">
                  <c:v>01.12.21</c:v>
                </c:pt>
                <c:pt idx="135">
                  <c:v>02.12.21</c:v>
                </c:pt>
                <c:pt idx="136">
                  <c:v>03.12.21</c:v>
                </c:pt>
                <c:pt idx="137">
                  <c:v>04.12.21</c:v>
                </c:pt>
                <c:pt idx="138">
                  <c:v>05.12.21</c:v>
                </c:pt>
                <c:pt idx="139">
                  <c:v>06.12.21</c:v>
                </c:pt>
                <c:pt idx="140">
                  <c:v>07.12.21</c:v>
                </c:pt>
                <c:pt idx="141">
                  <c:v>08.12.21</c:v>
                </c:pt>
                <c:pt idx="142">
                  <c:v>09.12.21</c:v>
                </c:pt>
                <c:pt idx="143">
                  <c:v>10.12.21</c:v>
                </c:pt>
                <c:pt idx="144">
                  <c:v>11.12.21</c:v>
                </c:pt>
                <c:pt idx="145">
                  <c:v>12.12.21</c:v>
                </c:pt>
                <c:pt idx="146">
                  <c:v>13.12.21</c:v>
                </c:pt>
                <c:pt idx="147">
                  <c:v>14.12.21</c:v>
                </c:pt>
                <c:pt idx="148">
                  <c:v>15.12.21</c:v>
                </c:pt>
                <c:pt idx="149">
                  <c:v>16.12.21</c:v>
                </c:pt>
                <c:pt idx="150">
                  <c:v>17.12.21</c:v>
                </c:pt>
                <c:pt idx="151">
                  <c:v>18.12.21</c:v>
                </c:pt>
                <c:pt idx="152">
                  <c:v>19.12.21</c:v>
                </c:pt>
                <c:pt idx="153">
                  <c:v>20.12.21</c:v>
                </c:pt>
                <c:pt idx="154">
                  <c:v>21.12.21</c:v>
                </c:pt>
                <c:pt idx="155">
                  <c:v>22.12.21</c:v>
                </c:pt>
                <c:pt idx="156">
                  <c:v>23.12.21</c:v>
                </c:pt>
                <c:pt idx="157">
                  <c:v>24.12.21</c:v>
                </c:pt>
                <c:pt idx="158">
                  <c:v>25.12.21</c:v>
                </c:pt>
                <c:pt idx="159">
                  <c:v>26.12.21</c:v>
                </c:pt>
                <c:pt idx="160">
                  <c:v>27.12.21</c:v>
                </c:pt>
                <c:pt idx="161">
                  <c:v>28.12.21</c:v>
                </c:pt>
                <c:pt idx="162">
                  <c:v>29.12.21</c:v>
                </c:pt>
                <c:pt idx="163">
                  <c:v>30.12.21</c:v>
                </c:pt>
                <c:pt idx="164">
                  <c:v>31.12.21</c:v>
                </c:pt>
                <c:pt idx="165">
                  <c:v>01.01.22</c:v>
                </c:pt>
                <c:pt idx="166">
                  <c:v>02.01.22</c:v>
                </c:pt>
                <c:pt idx="167">
                  <c:v>03.01.22</c:v>
                </c:pt>
                <c:pt idx="168">
                  <c:v>04.01.22</c:v>
                </c:pt>
                <c:pt idx="169">
                  <c:v>05.01.22</c:v>
                </c:pt>
                <c:pt idx="170">
                  <c:v>06.01.22</c:v>
                </c:pt>
                <c:pt idx="171">
                  <c:v>07.01.22</c:v>
                </c:pt>
                <c:pt idx="172">
                  <c:v>08.01.22</c:v>
                </c:pt>
                <c:pt idx="173">
                  <c:v>09.01.22</c:v>
                </c:pt>
                <c:pt idx="174">
                  <c:v>10.01.22</c:v>
                </c:pt>
                <c:pt idx="175">
                  <c:v>11.01.22</c:v>
                </c:pt>
                <c:pt idx="176">
                  <c:v>12.01.22</c:v>
                </c:pt>
                <c:pt idx="177">
                  <c:v>13.01.22</c:v>
                </c:pt>
                <c:pt idx="178">
                  <c:v>14.01.22</c:v>
                </c:pt>
                <c:pt idx="179">
                  <c:v>15.01.22</c:v>
                </c:pt>
                <c:pt idx="180">
                  <c:v>16.01.22</c:v>
                </c:pt>
                <c:pt idx="181">
                  <c:v>17.01.22</c:v>
                </c:pt>
                <c:pt idx="182">
                  <c:v>18.01.22</c:v>
                </c:pt>
              </c:strCache>
            </c:strRef>
          </c:cat>
          <c:val>
            <c:numRef>
              <c:f>List1!$B$2:$GB$2</c:f>
              <c:numCache>
                <c:formatCode>General</c:formatCode>
                <c:ptCount val="183"/>
                <c:pt idx="0">
                  <c:v>23</c:v>
                </c:pt>
                <c:pt idx="1">
                  <c:v>25</c:v>
                </c:pt>
                <c:pt idx="2">
                  <c:v>28</c:v>
                </c:pt>
                <c:pt idx="3">
                  <c:v>27</c:v>
                </c:pt>
                <c:pt idx="4">
                  <c:v>27</c:v>
                </c:pt>
                <c:pt idx="5">
                  <c:v>28</c:v>
                </c:pt>
                <c:pt idx="6">
                  <c:v>28</c:v>
                </c:pt>
                <c:pt idx="7">
                  <c:v>29</c:v>
                </c:pt>
                <c:pt idx="8">
                  <c:v>30</c:v>
                </c:pt>
                <c:pt idx="9">
                  <c:v>31</c:v>
                </c:pt>
                <c:pt idx="10">
                  <c:v>29</c:v>
                </c:pt>
                <c:pt idx="11">
                  <c:v>28</c:v>
                </c:pt>
                <c:pt idx="12">
                  <c:v>27</c:v>
                </c:pt>
                <c:pt idx="13">
                  <c:v>25</c:v>
                </c:pt>
                <c:pt idx="14">
                  <c:v>23</c:v>
                </c:pt>
                <c:pt idx="15">
                  <c:v>26</c:v>
                </c:pt>
                <c:pt idx="16">
                  <c:v>24</c:v>
                </c:pt>
                <c:pt idx="17">
                  <c:v>26</c:v>
                </c:pt>
                <c:pt idx="18">
                  <c:v>23</c:v>
                </c:pt>
                <c:pt idx="19">
                  <c:v>25</c:v>
                </c:pt>
                <c:pt idx="20">
                  <c:v>25</c:v>
                </c:pt>
                <c:pt idx="21">
                  <c:v>25</c:v>
                </c:pt>
                <c:pt idx="22">
                  <c:v>25</c:v>
                </c:pt>
                <c:pt idx="23">
                  <c:v>26</c:v>
                </c:pt>
                <c:pt idx="24">
                  <c:v>26</c:v>
                </c:pt>
                <c:pt idx="25">
                  <c:v>26</c:v>
                </c:pt>
                <c:pt idx="26">
                  <c:v>26</c:v>
                </c:pt>
                <c:pt idx="27">
                  <c:v>29</c:v>
                </c:pt>
                <c:pt idx="28">
                  <c:v>26</c:v>
                </c:pt>
                <c:pt idx="29">
                  <c:v>23</c:v>
                </c:pt>
                <c:pt idx="30">
                  <c:v>23</c:v>
                </c:pt>
                <c:pt idx="31">
                  <c:v>22</c:v>
                </c:pt>
                <c:pt idx="32">
                  <c:v>21</c:v>
                </c:pt>
                <c:pt idx="33">
                  <c:v>19</c:v>
                </c:pt>
                <c:pt idx="34">
                  <c:v>20</c:v>
                </c:pt>
                <c:pt idx="35">
                  <c:v>19</c:v>
                </c:pt>
                <c:pt idx="36">
                  <c:v>17</c:v>
                </c:pt>
                <c:pt idx="37">
                  <c:v>18</c:v>
                </c:pt>
                <c:pt idx="38">
                  <c:v>18</c:v>
                </c:pt>
                <c:pt idx="39">
                  <c:v>19</c:v>
                </c:pt>
                <c:pt idx="40">
                  <c:v>18</c:v>
                </c:pt>
                <c:pt idx="41">
                  <c:v>16</c:v>
                </c:pt>
                <c:pt idx="42">
                  <c:v>20</c:v>
                </c:pt>
                <c:pt idx="43">
                  <c:v>23</c:v>
                </c:pt>
                <c:pt idx="44">
                  <c:v>24</c:v>
                </c:pt>
                <c:pt idx="45">
                  <c:v>24</c:v>
                </c:pt>
                <c:pt idx="46">
                  <c:v>27</c:v>
                </c:pt>
                <c:pt idx="47">
                  <c:v>28</c:v>
                </c:pt>
                <c:pt idx="48">
                  <c:v>26</c:v>
                </c:pt>
                <c:pt idx="49">
                  <c:v>27</c:v>
                </c:pt>
                <c:pt idx="50">
                  <c:v>26</c:v>
                </c:pt>
                <c:pt idx="51">
                  <c:v>26</c:v>
                </c:pt>
                <c:pt idx="52">
                  <c:v>27</c:v>
                </c:pt>
                <c:pt idx="53">
                  <c:v>30</c:v>
                </c:pt>
                <c:pt idx="54">
                  <c:v>29</c:v>
                </c:pt>
                <c:pt idx="55">
                  <c:v>31</c:v>
                </c:pt>
                <c:pt idx="56">
                  <c:v>30</c:v>
                </c:pt>
                <c:pt idx="57">
                  <c:v>27</c:v>
                </c:pt>
                <c:pt idx="58">
                  <c:v>28</c:v>
                </c:pt>
                <c:pt idx="59">
                  <c:v>28</c:v>
                </c:pt>
                <c:pt idx="60">
                  <c:v>27</c:v>
                </c:pt>
                <c:pt idx="61">
                  <c:v>27</c:v>
                </c:pt>
                <c:pt idx="62">
                  <c:v>25</c:v>
                </c:pt>
                <c:pt idx="63">
                  <c:v>28</c:v>
                </c:pt>
                <c:pt idx="64">
                  <c:v>31</c:v>
                </c:pt>
                <c:pt idx="65">
                  <c:v>31</c:v>
                </c:pt>
                <c:pt idx="66">
                  <c:v>32</c:v>
                </c:pt>
                <c:pt idx="67">
                  <c:v>30</c:v>
                </c:pt>
                <c:pt idx="68">
                  <c:v>30</c:v>
                </c:pt>
                <c:pt idx="69">
                  <c:v>32</c:v>
                </c:pt>
                <c:pt idx="70">
                  <c:v>36</c:v>
                </c:pt>
                <c:pt idx="71">
                  <c:v>39</c:v>
                </c:pt>
                <c:pt idx="72">
                  <c:v>47</c:v>
                </c:pt>
                <c:pt idx="73">
                  <c:v>48</c:v>
                </c:pt>
                <c:pt idx="74">
                  <c:v>52</c:v>
                </c:pt>
                <c:pt idx="75">
                  <c:v>52</c:v>
                </c:pt>
                <c:pt idx="76">
                  <c:v>51</c:v>
                </c:pt>
                <c:pt idx="77">
                  <c:v>50</c:v>
                </c:pt>
                <c:pt idx="78">
                  <c:v>51</c:v>
                </c:pt>
                <c:pt idx="79">
                  <c:v>56</c:v>
                </c:pt>
                <c:pt idx="80">
                  <c:v>59</c:v>
                </c:pt>
                <c:pt idx="81">
                  <c:v>60</c:v>
                </c:pt>
                <c:pt idx="82">
                  <c:v>59</c:v>
                </c:pt>
                <c:pt idx="83">
                  <c:v>53</c:v>
                </c:pt>
                <c:pt idx="84">
                  <c:v>62</c:v>
                </c:pt>
                <c:pt idx="85">
                  <c:v>59</c:v>
                </c:pt>
                <c:pt idx="86">
                  <c:v>62</c:v>
                </c:pt>
                <c:pt idx="87">
                  <c:v>65</c:v>
                </c:pt>
                <c:pt idx="88">
                  <c:v>68</c:v>
                </c:pt>
                <c:pt idx="89">
                  <c:v>74</c:v>
                </c:pt>
                <c:pt idx="90">
                  <c:v>91</c:v>
                </c:pt>
                <c:pt idx="91">
                  <c:v>104</c:v>
                </c:pt>
                <c:pt idx="92">
                  <c:v>112</c:v>
                </c:pt>
                <c:pt idx="93">
                  <c:v>119</c:v>
                </c:pt>
                <c:pt idx="94">
                  <c:v>130</c:v>
                </c:pt>
                <c:pt idx="95">
                  <c:v>143</c:v>
                </c:pt>
                <c:pt idx="96">
                  <c:v>153</c:v>
                </c:pt>
                <c:pt idx="97">
                  <c:v>178</c:v>
                </c:pt>
                <c:pt idx="98">
                  <c:v>185</c:v>
                </c:pt>
                <c:pt idx="99">
                  <c:v>204</c:v>
                </c:pt>
                <c:pt idx="100">
                  <c:v>218</c:v>
                </c:pt>
                <c:pt idx="101">
                  <c:v>248</c:v>
                </c:pt>
                <c:pt idx="102">
                  <c:v>264</c:v>
                </c:pt>
                <c:pt idx="103">
                  <c:v>270</c:v>
                </c:pt>
                <c:pt idx="104">
                  <c:v>309</c:v>
                </c:pt>
                <c:pt idx="105">
                  <c:v>331</c:v>
                </c:pt>
                <c:pt idx="106">
                  <c:v>354</c:v>
                </c:pt>
                <c:pt idx="107">
                  <c:v>368</c:v>
                </c:pt>
                <c:pt idx="108">
                  <c:v>386</c:v>
                </c:pt>
                <c:pt idx="109">
                  <c:v>394</c:v>
                </c:pt>
                <c:pt idx="110">
                  <c:v>402</c:v>
                </c:pt>
                <c:pt idx="111">
                  <c:v>423</c:v>
                </c:pt>
                <c:pt idx="112">
                  <c:v>453</c:v>
                </c:pt>
                <c:pt idx="113">
                  <c:v>470</c:v>
                </c:pt>
                <c:pt idx="114">
                  <c:v>503</c:v>
                </c:pt>
                <c:pt idx="115">
                  <c:v>502</c:v>
                </c:pt>
                <c:pt idx="116">
                  <c:v>537</c:v>
                </c:pt>
                <c:pt idx="117">
                  <c:v>542</c:v>
                </c:pt>
                <c:pt idx="118">
                  <c:v>541</c:v>
                </c:pt>
                <c:pt idx="119">
                  <c:v>567</c:v>
                </c:pt>
                <c:pt idx="120">
                  <c:v>573</c:v>
                </c:pt>
                <c:pt idx="121">
                  <c:v>598</c:v>
                </c:pt>
                <c:pt idx="122">
                  <c:v>640</c:v>
                </c:pt>
                <c:pt idx="123">
                  <c:v>668</c:v>
                </c:pt>
                <c:pt idx="124">
                  <c:v>672</c:v>
                </c:pt>
                <c:pt idx="125">
                  <c:v>668</c:v>
                </c:pt>
                <c:pt idx="126">
                  <c:v>706</c:v>
                </c:pt>
                <c:pt idx="127">
                  <c:v>694</c:v>
                </c:pt>
                <c:pt idx="128">
                  <c:v>710</c:v>
                </c:pt>
                <c:pt idx="129">
                  <c:v>702</c:v>
                </c:pt>
                <c:pt idx="130">
                  <c:v>707</c:v>
                </c:pt>
                <c:pt idx="131">
                  <c:v>722</c:v>
                </c:pt>
                <c:pt idx="132">
                  <c:v>712</c:v>
                </c:pt>
                <c:pt idx="133">
                  <c:v>705</c:v>
                </c:pt>
                <c:pt idx="134">
                  <c:v>720</c:v>
                </c:pt>
                <c:pt idx="135">
                  <c:v>691</c:v>
                </c:pt>
                <c:pt idx="136">
                  <c:v>664</c:v>
                </c:pt>
                <c:pt idx="137">
                  <c:v>658</c:v>
                </c:pt>
                <c:pt idx="138">
                  <c:v>640</c:v>
                </c:pt>
                <c:pt idx="139">
                  <c:v>599</c:v>
                </c:pt>
                <c:pt idx="140">
                  <c:v>579</c:v>
                </c:pt>
                <c:pt idx="141">
                  <c:v>567</c:v>
                </c:pt>
                <c:pt idx="142">
                  <c:v>539</c:v>
                </c:pt>
                <c:pt idx="143">
                  <c:v>518</c:v>
                </c:pt>
                <c:pt idx="144">
                  <c:v>507</c:v>
                </c:pt>
                <c:pt idx="145">
                  <c:v>486</c:v>
                </c:pt>
                <c:pt idx="146">
                  <c:v>455</c:v>
                </c:pt>
                <c:pt idx="147">
                  <c:v>433</c:v>
                </c:pt>
                <c:pt idx="148">
                  <c:v>410</c:v>
                </c:pt>
                <c:pt idx="149">
                  <c:v>382</c:v>
                </c:pt>
                <c:pt idx="150">
                  <c:v>359</c:v>
                </c:pt>
                <c:pt idx="151">
                  <c:v>356</c:v>
                </c:pt>
                <c:pt idx="152">
                  <c:v>354</c:v>
                </c:pt>
                <c:pt idx="153">
                  <c:v>328</c:v>
                </c:pt>
                <c:pt idx="154">
                  <c:v>327</c:v>
                </c:pt>
                <c:pt idx="155">
                  <c:v>313</c:v>
                </c:pt>
                <c:pt idx="156">
                  <c:v>303</c:v>
                </c:pt>
                <c:pt idx="157">
                  <c:v>275</c:v>
                </c:pt>
                <c:pt idx="158">
                  <c:v>272</c:v>
                </c:pt>
                <c:pt idx="159">
                  <c:v>268</c:v>
                </c:pt>
                <c:pt idx="160">
                  <c:v>257</c:v>
                </c:pt>
                <c:pt idx="161">
                  <c:v>263</c:v>
                </c:pt>
                <c:pt idx="162">
                  <c:v>267</c:v>
                </c:pt>
                <c:pt idx="163">
                  <c:v>268</c:v>
                </c:pt>
                <c:pt idx="164">
                  <c:v>263</c:v>
                </c:pt>
                <c:pt idx="165">
                  <c:v>254</c:v>
                </c:pt>
                <c:pt idx="166">
                  <c:v>262</c:v>
                </c:pt>
                <c:pt idx="167">
                  <c:v>260</c:v>
                </c:pt>
                <c:pt idx="168">
                  <c:v>265</c:v>
                </c:pt>
                <c:pt idx="169">
                  <c:v>266</c:v>
                </c:pt>
                <c:pt idx="170">
                  <c:v>275</c:v>
                </c:pt>
                <c:pt idx="171">
                  <c:v>288</c:v>
                </c:pt>
                <c:pt idx="172">
                  <c:v>292</c:v>
                </c:pt>
                <c:pt idx="173">
                  <c:v>298</c:v>
                </c:pt>
                <c:pt idx="174">
                  <c:v>296</c:v>
                </c:pt>
                <c:pt idx="175">
                  <c:v>314</c:v>
                </c:pt>
                <c:pt idx="176">
                  <c:v>364</c:v>
                </c:pt>
                <c:pt idx="177">
                  <c:v>380</c:v>
                </c:pt>
                <c:pt idx="178">
                  <c:v>412</c:v>
                </c:pt>
                <c:pt idx="179">
                  <c:v>441</c:v>
                </c:pt>
                <c:pt idx="180">
                  <c:v>480</c:v>
                </c:pt>
                <c:pt idx="181">
                  <c:v>586</c:v>
                </c:pt>
                <c:pt idx="182">
                  <c:v>675</c:v>
                </c:pt>
              </c:numCache>
            </c:numRef>
          </c:val>
          <c:smooth val="0"/>
          <c:extLst>
            <c:ext xmlns:c16="http://schemas.microsoft.com/office/drawing/2014/chart" uri="{C3380CC4-5D6E-409C-BE32-E72D297353CC}">
              <c16:uniqueId val="{00000002-37CD-4BA3-857E-B86804E5EE02}"/>
            </c:ext>
          </c:extLst>
        </c:ser>
        <c:ser>
          <c:idx val="1"/>
          <c:order val="1"/>
          <c:tx>
            <c:strRef>
              <c:f>List1!$A$3</c:f>
              <c:strCache>
                <c:ptCount val="1"/>
                <c:pt idx="0">
                  <c:v>Sesterská povolání</c:v>
                </c:pt>
              </c:strCache>
            </c:strRef>
          </c:tx>
          <c:spPr>
            <a:ln w="28575" cap="rnd">
              <a:solidFill>
                <a:srgbClr val="ED7D31"/>
              </a:solidFill>
              <a:prstDash val="solid"/>
              <a:round/>
            </a:ln>
            <a:effectLst/>
          </c:spPr>
          <c:marker>
            <c:symbol val="none"/>
          </c:marker>
          <c:dLbls>
            <c:dLbl>
              <c:idx val="182"/>
              <c:layout>
                <c:manualLayout>
                  <c:x val="1.7754105636927238E-3"/>
                  <c:y val="9.1782611050075675E-8"/>
                </c:manualLayout>
              </c:layout>
              <c:spPr>
                <a:noFill/>
                <a:ln>
                  <a:noFill/>
                </a:ln>
                <a:effectLst/>
              </c:spPr>
              <c:txPr>
                <a:bodyPr rot="0" spcFirstLastPara="1" vertOverflow="ellipsis" vert="horz" wrap="square" anchor="ctr" anchorCtr="0"/>
                <a:lstStyle/>
                <a:p>
                  <a:pPr algn="l">
                    <a:defRPr sz="1200" b="1" i="0" u="none" strike="noStrike" kern="1200" baseline="0">
                      <a:solidFill>
                        <a:srgbClr val="ED7D31"/>
                      </a:solidFill>
                      <a:latin typeface="Calibri" panose="020F0502020204030204" pitchFamily="34" charset="0"/>
                      <a:ea typeface="+mn-ea"/>
                      <a:cs typeface="Calibri" panose="020F0502020204030204" pitchFamily="34" charset="0"/>
                    </a:defRPr>
                  </a:pPr>
                  <a:endParaRPr lang="cs-CZ"/>
                </a:p>
              </c:txPr>
              <c:dLblPos val="r"/>
              <c:showLegendKey val="0"/>
              <c:showVal val="1"/>
              <c:showCatName val="0"/>
              <c:showSerName val="1"/>
              <c:showPercent val="0"/>
              <c:showBubbleSize val="0"/>
              <c:extLst>
                <c:ext xmlns:c15="http://schemas.microsoft.com/office/drawing/2012/chart" uri="{CE6537A1-D6FC-4f65-9D91-7224C49458BB}">
                  <c15:layout>
                    <c:manualLayout>
                      <c:w val="0.24197070572569906"/>
                      <c:h val="4.7324949909640007E-2"/>
                    </c:manualLayout>
                  </c15:layout>
                </c:ext>
                <c:ext xmlns:c16="http://schemas.microsoft.com/office/drawing/2014/chart" uri="{C3380CC4-5D6E-409C-BE32-E72D297353CC}">
                  <c16:uniqueId val="{00000003-37CD-4BA3-857E-B86804E5EE02}"/>
                </c:ext>
              </c:extLst>
            </c:dLbl>
            <c:spPr>
              <a:noFill/>
              <a:ln>
                <a:noFill/>
              </a:ln>
              <a:effectLst/>
            </c:spPr>
            <c:txPr>
              <a:bodyPr rot="0" spcFirstLastPara="1" vertOverflow="ellipsis" vert="horz" wrap="square" anchor="ctr" anchorCtr="0"/>
              <a:lstStyle/>
              <a:p>
                <a:pPr algn="l">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List1!$B$1:$GB$1</c:f>
              <c:strCache>
                <c:ptCount val="183"/>
                <c:pt idx="0">
                  <c:v>20.07.21</c:v>
                </c:pt>
                <c:pt idx="1">
                  <c:v>21.07.21</c:v>
                </c:pt>
                <c:pt idx="2">
                  <c:v>22.07.21</c:v>
                </c:pt>
                <c:pt idx="3">
                  <c:v>23.07.21</c:v>
                </c:pt>
                <c:pt idx="4">
                  <c:v>24.07.21</c:v>
                </c:pt>
                <c:pt idx="5">
                  <c:v>25.07.21</c:v>
                </c:pt>
                <c:pt idx="6">
                  <c:v>26.07.21</c:v>
                </c:pt>
                <c:pt idx="7">
                  <c:v>27.07.21</c:v>
                </c:pt>
                <c:pt idx="8">
                  <c:v>28.07.21</c:v>
                </c:pt>
                <c:pt idx="9">
                  <c:v>29.07.21</c:v>
                </c:pt>
                <c:pt idx="10">
                  <c:v>30.07.21</c:v>
                </c:pt>
                <c:pt idx="11">
                  <c:v>31.07.21</c:v>
                </c:pt>
                <c:pt idx="12">
                  <c:v>01.08.21</c:v>
                </c:pt>
                <c:pt idx="13">
                  <c:v>02.08.21</c:v>
                </c:pt>
                <c:pt idx="14">
                  <c:v>03.08.21</c:v>
                </c:pt>
                <c:pt idx="15">
                  <c:v>04.08.21</c:v>
                </c:pt>
                <c:pt idx="16">
                  <c:v>05.08.21</c:v>
                </c:pt>
                <c:pt idx="17">
                  <c:v>06.08.21</c:v>
                </c:pt>
                <c:pt idx="18">
                  <c:v>07.08.21</c:v>
                </c:pt>
                <c:pt idx="19">
                  <c:v>08.08.21</c:v>
                </c:pt>
                <c:pt idx="20">
                  <c:v>09.08.21</c:v>
                </c:pt>
                <c:pt idx="21">
                  <c:v>10.08.21</c:v>
                </c:pt>
                <c:pt idx="22">
                  <c:v>11.08.21</c:v>
                </c:pt>
                <c:pt idx="23">
                  <c:v>12.08.21</c:v>
                </c:pt>
                <c:pt idx="24">
                  <c:v>13.08.21</c:v>
                </c:pt>
                <c:pt idx="25">
                  <c:v>14.08.21</c:v>
                </c:pt>
                <c:pt idx="26">
                  <c:v>15.08.21</c:v>
                </c:pt>
                <c:pt idx="27">
                  <c:v>16.08.21</c:v>
                </c:pt>
                <c:pt idx="28">
                  <c:v>17.08.21</c:v>
                </c:pt>
                <c:pt idx="29">
                  <c:v>18.08.21</c:v>
                </c:pt>
                <c:pt idx="30">
                  <c:v>19.08.21</c:v>
                </c:pt>
                <c:pt idx="31">
                  <c:v>20.08.21</c:v>
                </c:pt>
                <c:pt idx="32">
                  <c:v>21.08.21</c:v>
                </c:pt>
                <c:pt idx="33">
                  <c:v>22.08.21</c:v>
                </c:pt>
                <c:pt idx="34">
                  <c:v>23.08.21</c:v>
                </c:pt>
                <c:pt idx="35">
                  <c:v>24.08.21</c:v>
                </c:pt>
                <c:pt idx="36">
                  <c:v>25.08.21</c:v>
                </c:pt>
                <c:pt idx="37">
                  <c:v>26.08.21</c:v>
                </c:pt>
                <c:pt idx="38">
                  <c:v>27.08.21</c:v>
                </c:pt>
                <c:pt idx="39">
                  <c:v>28.08.21</c:v>
                </c:pt>
                <c:pt idx="40">
                  <c:v>29.08.21</c:v>
                </c:pt>
                <c:pt idx="41">
                  <c:v>30.08.21</c:v>
                </c:pt>
                <c:pt idx="42">
                  <c:v>31.08.21</c:v>
                </c:pt>
                <c:pt idx="43">
                  <c:v>01.09.21</c:v>
                </c:pt>
                <c:pt idx="44">
                  <c:v>02.09.21</c:v>
                </c:pt>
                <c:pt idx="45">
                  <c:v>03.09.21</c:v>
                </c:pt>
                <c:pt idx="46">
                  <c:v>04.09.21</c:v>
                </c:pt>
                <c:pt idx="47">
                  <c:v>05.09.21</c:v>
                </c:pt>
                <c:pt idx="48">
                  <c:v>06.09.21</c:v>
                </c:pt>
                <c:pt idx="49">
                  <c:v>07.09.21</c:v>
                </c:pt>
                <c:pt idx="50">
                  <c:v>08.09.21</c:v>
                </c:pt>
                <c:pt idx="51">
                  <c:v>09.09.21</c:v>
                </c:pt>
                <c:pt idx="52">
                  <c:v>10.09.21</c:v>
                </c:pt>
                <c:pt idx="53">
                  <c:v>11.09.21</c:v>
                </c:pt>
                <c:pt idx="54">
                  <c:v>12.09.21</c:v>
                </c:pt>
                <c:pt idx="55">
                  <c:v>13.09.21</c:v>
                </c:pt>
                <c:pt idx="56">
                  <c:v>14.09.21</c:v>
                </c:pt>
                <c:pt idx="57">
                  <c:v>15.09.21</c:v>
                </c:pt>
                <c:pt idx="58">
                  <c:v>16.09.21</c:v>
                </c:pt>
                <c:pt idx="59">
                  <c:v>17.09.21</c:v>
                </c:pt>
                <c:pt idx="60">
                  <c:v>18.09.21</c:v>
                </c:pt>
                <c:pt idx="61">
                  <c:v>19.09.21</c:v>
                </c:pt>
                <c:pt idx="62">
                  <c:v>20.09.21</c:v>
                </c:pt>
                <c:pt idx="63">
                  <c:v>21.09.21</c:v>
                </c:pt>
                <c:pt idx="64">
                  <c:v>22.09.21</c:v>
                </c:pt>
                <c:pt idx="65">
                  <c:v>23.09.21</c:v>
                </c:pt>
                <c:pt idx="66">
                  <c:v>24.09.21</c:v>
                </c:pt>
                <c:pt idx="67">
                  <c:v>25.09.21</c:v>
                </c:pt>
                <c:pt idx="68">
                  <c:v>26.09.21</c:v>
                </c:pt>
                <c:pt idx="69">
                  <c:v>27.09.21</c:v>
                </c:pt>
                <c:pt idx="70">
                  <c:v>28.09.21</c:v>
                </c:pt>
                <c:pt idx="71">
                  <c:v>29.09.21</c:v>
                </c:pt>
                <c:pt idx="72">
                  <c:v>30.09.21</c:v>
                </c:pt>
                <c:pt idx="73">
                  <c:v>01.10.21</c:v>
                </c:pt>
                <c:pt idx="74">
                  <c:v>02.10.21</c:v>
                </c:pt>
                <c:pt idx="75">
                  <c:v>03.10.21</c:v>
                </c:pt>
                <c:pt idx="76">
                  <c:v>04.10.21</c:v>
                </c:pt>
                <c:pt idx="77">
                  <c:v>05.10.21</c:v>
                </c:pt>
                <c:pt idx="78">
                  <c:v>06.10.21</c:v>
                </c:pt>
                <c:pt idx="79">
                  <c:v>07.10.21</c:v>
                </c:pt>
                <c:pt idx="80">
                  <c:v>08.10.21</c:v>
                </c:pt>
                <c:pt idx="81">
                  <c:v>09.10.21</c:v>
                </c:pt>
                <c:pt idx="82">
                  <c:v>10.10.21</c:v>
                </c:pt>
                <c:pt idx="83">
                  <c:v>11.10.21</c:v>
                </c:pt>
                <c:pt idx="84">
                  <c:v>12.10.21</c:v>
                </c:pt>
                <c:pt idx="85">
                  <c:v>13.10.21</c:v>
                </c:pt>
                <c:pt idx="86">
                  <c:v>14.10.21</c:v>
                </c:pt>
                <c:pt idx="87">
                  <c:v>15.10.21</c:v>
                </c:pt>
                <c:pt idx="88">
                  <c:v>16.10.21</c:v>
                </c:pt>
                <c:pt idx="89">
                  <c:v>17.10.21</c:v>
                </c:pt>
                <c:pt idx="90">
                  <c:v>18.10.21</c:v>
                </c:pt>
                <c:pt idx="91">
                  <c:v>19.10.21</c:v>
                </c:pt>
                <c:pt idx="92">
                  <c:v>20.10.21</c:v>
                </c:pt>
                <c:pt idx="93">
                  <c:v>21.10.21</c:v>
                </c:pt>
                <c:pt idx="94">
                  <c:v>22.10.21</c:v>
                </c:pt>
                <c:pt idx="95">
                  <c:v>23.10.21</c:v>
                </c:pt>
                <c:pt idx="96">
                  <c:v>24.10.21</c:v>
                </c:pt>
                <c:pt idx="97">
                  <c:v>25.10.21</c:v>
                </c:pt>
                <c:pt idx="98">
                  <c:v>26.10.21</c:v>
                </c:pt>
                <c:pt idx="99">
                  <c:v>27.10.21</c:v>
                </c:pt>
                <c:pt idx="100">
                  <c:v>28.10.21</c:v>
                </c:pt>
                <c:pt idx="101">
                  <c:v>29.10.21</c:v>
                </c:pt>
                <c:pt idx="102">
                  <c:v>30.10.21</c:v>
                </c:pt>
                <c:pt idx="103">
                  <c:v>31.10.21</c:v>
                </c:pt>
                <c:pt idx="104">
                  <c:v>01.11.21</c:v>
                </c:pt>
                <c:pt idx="105">
                  <c:v>02.11.21</c:v>
                </c:pt>
                <c:pt idx="106">
                  <c:v>03.11.21</c:v>
                </c:pt>
                <c:pt idx="107">
                  <c:v>04.11.21</c:v>
                </c:pt>
                <c:pt idx="108">
                  <c:v>05.11.21</c:v>
                </c:pt>
                <c:pt idx="109">
                  <c:v>06.11.21</c:v>
                </c:pt>
                <c:pt idx="110">
                  <c:v>07.11.21</c:v>
                </c:pt>
                <c:pt idx="111">
                  <c:v>08.11.21</c:v>
                </c:pt>
                <c:pt idx="112">
                  <c:v>09.11.21</c:v>
                </c:pt>
                <c:pt idx="113">
                  <c:v>10.11.21</c:v>
                </c:pt>
                <c:pt idx="114">
                  <c:v>11.11.21</c:v>
                </c:pt>
                <c:pt idx="115">
                  <c:v>12.11.21</c:v>
                </c:pt>
                <c:pt idx="116">
                  <c:v>13.11.21</c:v>
                </c:pt>
                <c:pt idx="117">
                  <c:v>14.11.21</c:v>
                </c:pt>
                <c:pt idx="118">
                  <c:v>15.11.21</c:v>
                </c:pt>
                <c:pt idx="119">
                  <c:v>16.11.21</c:v>
                </c:pt>
                <c:pt idx="120">
                  <c:v>17.11.21</c:v>
                </c:pt>
                <c:pt idx="121">
                  <c:v>18.11.21</c:v>
                </c:pt>
                <c:pt idx="122">
                  <c:v>19.11.21</c:v>
                </c:pt>
                <c:pt idx="123">
                  <c:v>20.11.21</c:v>
                </c:pt>
                <c:pt idx="124">
                  <c:v>21.11.21</c:v>
                </c:pt>
                <c:pt idx="125">
                  <c:v>22.11.21</c:v>
                </c:pt>
                <c:pt idx="126">
                  <c:v>23.11.21</c:v>
                </c:pt>
                <c:pt idx="127">
                  <c:v>24.11.21</c:v>
                </c:pt>
                <c:pt idx="128">
                  <c:v>25.11.21</c:v>
                </c:pt>
                <c:pt idx="129">
                  <c:v>26.11.21</c:v>
                </c:pt>
                <c:pt idx="130">
                  <c:v>27.11.21</c:v>
                </c:pt>
                <c:pt idx="131">
                  <c:v>28.11.21</c:v>
                </c:pt>
                <c:pt idx="132">
                  <c:v>29.11.21</c:v>
                </c:pt>
                <c:pt idx="133">
                  <c:v>30.11.21</c:v>
                </c:pt>
                <c:pt idx="134">
                  <c:v>01.12.21</c:v>
                </c:pt>
                <c:pt idx="135">
                  <c:v>02.12.21</c:v>
                </c:pt>
                <c:pt idx="136">
                  <c:v>03.12.21</c:v>
                </c:pt>
                <c:pt idx="137">
                  <c:v>04.12.21</c:v>
                </c:pt>
                <c:pt idx="138">
                  <c:v>05.12.21</c:v>
                </c:pt>
                <c:pt idx="139">
                  <c:v>06.12.21</c:v>
                </c:pt>
                <c:pt idx="140">
                  <c:v>07.12.21</c:v>
                </c:pt>
                <c:pt idx="141">
                  <c:v>08.12.21</c:v>
                </c:pt>
                <c:pt idx="142">
                  <c:v>09.12.21</c:v>
                </c:pt>
                <c:pt idx="143">
                  <c:v>10.12.21</c:v>
                </c:pt>
                <c:pt idx="144">
                  <c:v>11.12.21</c:v>
                </c:pt>
                <c:pt idx="145">
                  <c:v>12.12.21</c:v>
                </c:pt>
                <c:pt idx="146">
                  <c:v>13.12.21</c:v>
                </c:pt>
                <c:pt idx="147">
                  <c:v>14.12.21</c:v>
                </c:pt>
                <c:pt idx="148">
                  <c:v>15.12.21</c:v>
                </c:pt>
                <c:pt idx="149">
                  <c:v>16.12.21</c:v>
                </c:pt>
                <c:pt idx="150">
                  <c:v>17.12.21</c:v>
                </c:pt>
                <c:pt idx="151">
                  <c:v>18.12.21</c:v>
                </c:pt>
                <c:pt idx="152">
                  <c:v>19.12.21</c:v>
                </c:pt>
                <c:pt idx="153">
                  <c:v>20.12.21</c:v>
                </c:pt>
                <c:pt idx="154">
                  <c:v>21.12.21</c:v>
                </c:pt>
                <c:pt idx="155">
                  <c:v>22.12.21</c:v>
                </c:pt>
                <c:pt idx="156">
                  <c:v>23.12.21</c:v>
                </c:pt>
                <c:pt idx="157">
                  <c:v>24.12.21</c:v>
                </c:pt>
                <c:pt idx="158">
                  <c:v>25.12.21</c:v>
                </c:pt>
                <c:pt idx="159">
                  <c:v>26.12.21</c:v>
                </c:pt>
                <c:pt idx="160">
                  <c:v>27.12.21</c:v>
                </c:pt>
                <c:pt idx="161">
                  <c:v>28.12.21</c:v>
                </c:pt>
                <c:pt idx="162">
                  <c:v>29.12.21</c:v>
                </c:pt>
                <c:pt idx="163">
                  <c:v>30.12.21</c:v>
                </c:pt>
                <c:pt idx="164">
                  <c:v>31.12.21</c:v>
                </c:pt>
                <c:pt idx="165">
                  <c:v>01.01.22</c:v>
                </c:pt>
                <c:pt idx="166">
                  <c:v>02.01.22</c:v>
                </c:pt>
                <c:pt idx="167">
                  <c:v>03.01.22</c:v>
                </c:pt>
                <c:pt idx="168">
                  <c:v>04.01.22</c:v>
                </c:pt>
                <c:pt idx="169">
                  <c:v>05.01.22</c:v>
                </c:pt>
                <c:pt idx="170">
                  <c:v>06.01.22</c:v>
                </c:pt>
                <c:pt idx="171">
                  <c:v>07.01.22</c:v>
                </c:pt>
                <c:pt idx="172">
                  <c:v>08.01.22</c:v>
                </c:pt>
                <c:pt idx="173">
                  <c:v>09.01.22</c:v>
                </c:pt>
                <c:pt idx="174">
                  <c:v>10.01.22</c:v>
                </c:pt>
                <c:pt idx="175">
                  <c:v>11.01.22</c:v>
                </c:pt>
                <c:pt idx="176">
                  <c:v>12.01.22</c:v>
                </c:pt>
                <c:pt idx="177">
                  <c:v>13.01.22</c:v>
                </c:pt>
                <c:pt idx="178">
                  <c:v>14.01.22</c:v>
                </c:pt>
                <c:pt idx="179">
                  <c:v>15.01.22</c:v>
                </c:pt>
                <c:pt idx="180">
                  <c:v>16.01.22</c:v>
                </c:pt>
                <c:pt idx="181">
                  <c:v>17.01.22</c:v>
                </c:pt>
                <c:pt idx="182">
                  <c:v>18.01.22</c:v>
                </c:pt>
              </c:strCache>
            </c:strRef>
          </c:cat>
          <c:val>
            <c:numRef>
              <c:f>List1!$B$3:$GB$3</c:f>
              <c:numCache>
                <c:formatCode>General</c:formatCode>
                <c:ptCount val="183"/>
                <c:pt idx="0">
                  <c:v>45</c:v>
                </c:pt>
                <c:pt idx="1">
                  <c:v>48</c:v>
                </c:pt>
                <c:pt idx="2">
                  <c:v>48</c:v>
                </c:pt>
                <c:pt idx="3">
                  <c:v>51</c:v>
                </c:pt>
                <c:pt idx="4">
                  <c:v>52</c:v>
                </c:pt>
                <c:pt idx="5">
                  <c:v>53</c:v>
                </c:pt>
                <c:pt idx="6">
                  <c:v>52</c:v>
                </c:pt>
                <c:pt idx="7">
                  <c:v>50</c:v>
                </c:pt>
                <c:pt idx="8">
                  <c:v>49</c:v>
                </c:pt>
                <c:pt idx="9">
                  <c:v>48</c:v>
                </c:pt>
                <c:pt idx="10">
                  <c:v>49</c:v>
                </c:pt>
                <c:pt idx="11">
                  <c:v>49</c:v>
                </c:pt>
                <c:pt idx="12">
                  <c:v>49</c:v>
                </c:pt>
                <c:pt idx="13">
                  <c:v>45</c:v>
                </c:pt>
                <c:pt idx="14">
                  <c:v>47</c:v>
                </c:pt>
                <c:pt idx="15">
                  <c:v>45</c:v>
                </c:pt>
                <c:pt idx="16">
                  <c:v>44</c:v>
                </c:pt>
                <c:pt idx="17">
                  <c:v>41</c:v>
                </c:pt>
                <c:pt idx="18">
                  <c:v>40</c:v>
                </c:pt>
                <c:pt idx="19">
                  <c:v>37</c:v>
                </c:pt>
                <c:pt idx="20">
                  <c:v>39</c:v>
                </c:pt>
                <c:pt idx="21">
                  <c:v>41</c:v>
                </c:pt>
                <c:pt idx="22">
                  <c:v>43</c:v>
                </c:pt>
                <c:pt idx="23">
                  <c:v>43</c:v>
                </c:pt>
                <c:pt idx="24">
                  <c:v>45</c:v>
                </c:pt>
                <c:pt idx="25">
                  <c:v>46</c:v>
                </c:pt>
                <c:pt idx="26">
                  <c:v>47</c:v>
                </c:pt>
                <c:pt idx="27">
                  <c:v>49</c:v>
                </c:pt>
                <c:pt idx="28">
                  <c:v>51</c:v>
                </c:pt>
                <c:pt idx="29">
                  <c:v>52</c:v>
                </c:pt>
                <c:pt idx="30">
                  <c:v>52</c:v>
                </c:pt>
                <c:pt idx="31">
                  <c:v>52</c:v>
                </c:pt>
                <c:pt idx="32">
                  <c:v>52</c:v>
                </c:pt>
                <c:pt idx="33">
                  <c:v>52</c:v>
                </c:pt>
                <c:pt idx="34">
                  <c:v>54</c:v>
                </c:pt>
                <c:pt idx="35">
                  <c:v>55</c:v>
                </c:pt>
                <c:pt idx="36">
                  <c:v>52</c:v>
                </c:pt>
                <c:pt idx="37">
                  <c:v>53</c:v>
                </c:pt>
                <c:pt idx="38">
                  <c:v>52</c:v>
                </c:pt>
                <c:pt idx="39">
                  <c:v>52</c:v>
                </c:pt>
                <c:pt idx="40">
                  <c:v>51</c:v>
                </c:pt>
                <c:pt idx="41">
                  <c:v>46</c:v>
                </c:pt>
                <c:pt idx="42">
                  <c:v>47</c:v>
                </c:pt>
                <c:pt idx="43">
                  <c:v>45</c:v>
                </c:pt>
                <c:pt idx="44">
                  <c:v>50</c:v>
                </c:pt>
                <c:pt idx="45">
                  <c:v>56</c:v>
                </c:pt>
                <c:pt idx="46">
                  <c:v>57</c:v>
                </c:pt>
                <c:pt idx="47">
                  <c:v>55</c:v>
                </c:pt>
                <c:pt idx="48">
                  <c:v>53</c:v>
                </c:pt>
                <c:pt idx="49">
                  <c:v>59</c:v>
                </c:pt>
                <c:pt idx="50">
                  <c:v>59</c:v>
                </c:pt>
                <c:pt idx="51">
                  <c:v>61</c:v>
                </c:pt>
                <c:pt idx="52">
                  <c:v>61</c:v>
                </c:pt>
                <c:pt idx="53">
                  <c:v>60</c:v>
                </c:pt>
                <c:pt idx="54">
                  <c:v>61</c:v>
                </c:pt>
                <c:pt idx="55">
                  <c:v>62</c:v>
                </c:pt>
                <c:pt idx="56">
                  <c:v>65</c:v>
                </c:pt>
                <c:pt idx="57">
                  <c:v>67</c:v>
                </c:pt>
                <c:pt idx="58">
                  <c:v>69</c:v>
                </c:pt>
                <c:pt idx="59">
                  <c:v>68</c:v>
                </c:pt>
                <c:pt idx="60">
                  <c:v>70</c:v>
                </c:pt>
                <c:pt idx="61">
                  <c:v>71</c:v>
                </c:pt>
                <c:pt idx="62">
                  <c:v>77</c:v>
                </c:pt>
                <c:pt idx="63">
                  <c:v>79</c:v>
                </c:pt>
                <c:pt idx="64">
                  <c:v>84</c:v>
                </c:pt>
                <c:pt idx="65">
                  <c:v>87</c:v>
                </c:pt>
                <c:pt idx="66">
                  <c:v>94</c:v>
                </c:pt>
                <c:pt idx="67">
                  <c:v>100</c:v>
                </c:pt>
                <c:pt idx="68">
                  <c:v>102</c:v>
                </c:pt>
                <c:pt idx="69">
                  <c:v>103</c:v>
                </c:pt>
                <c:pt idx="70">
                  <c:v>108</c:v>
                </c:pt>
                <c:pt idx="71">
                  <c:v>114</c:v>
                </c:pt>
                <c:pt idx="72">
                  <c:v>122</c:v>
                </c:pt>
                <c:pt idx="73">
                  <c:v>124</c:v>
                </c:pt>
                <c:pt idx="74">
                  <c:v>125</c:v>
                </c:pt>
                <c:pt idx="75">
                  <c:v>131</c:v>
                </c:pt>
                <c:pt idx="76">
                  <c:v>130</c:v>
                </c:pt>
                <c:pt idx="77">
                  <c:v>138</c:v>
                </c:pt>
                <c:pt idx="78">
                  <c:v>142</c:v>
                </c:pt>
                <c:pt idx="79">
                  <c:v>144</c:v>
                </c:pt>
                <c:pt idx="80">
                  <c:v>145</c:v>
                </c:pt>
                <c:pt idx="81">
                  <c:v>145</c:v>
                </c:pt>
                <c:pt idx="82">
                  <c:v>143</c:v>
                </c:pt>
                <c:pt idx="83">
                  <c:v>154</c:v>
                </c:pt>
                <c:pt idx="84">
                  <c:v>166</c:v>
                </c:pt>
                <c:pt idx="85">
                  <c:v>167</c:v>
                </c:pt>
                <c:pt idx="86">
                  <c:v>177</c:v>
                </c:pt>
                <c:pt idx="87">
                  <c:v>187</c:v>
                </c:pt>
                <c:pt idx="88">
                  <c:v>192</c:v>
                </c:pt>
                <c:pt idx="89">
                  <c:v>195</c:v>
                </c:pt>
                <c:pt idx="90">
                  <c:v>217</c:v>
                </c:pt>
                <c:pt idx="91">
                  <c:v>228</c:v>
                </c:pt>
                <c:pt idx="92">
                  <c:v>244</c:v>
                </c:pt>
                <c:pt idx="93">
                  <c:v>283</c:v>
                </c:pt>
                <c:pt idx="94">
                  <c:v>310</c:v>
                </c:pt>
                <c:pt idx="95">
                  <c:v>339</c:v>
                </c:pt>
                <c:pt idx="96">
                  <c:v>342</c:v>
                </c:pt>
                <c:pt idx="97">
                  <c:v>385</c:v>
                </c:pt>
                <c:pt idx="98">
                  <c:v>431</c:v>
                </c:pt>
                <c:pt idx="99">
                  <c:v>482</c:v>
                </c:pt>
                <c:pt idx="100">
                  <c:v>497</c:v>
                </c:pt>
                <c:pt idx="101">
                  <c:v>556</c:v>
                </c:pt>
                <c:pt idx="102">
                  <c:v>603</c:v>
                </c:pt>
                <c:pt idx="103">
                  <c:v>630</c:v>
                </c:pt>
                <c:pt idx="104">
                  <c:v>692</c:v>
                </c:pt>
                <c:pt idx="105">
                  <c:v>773</c:v>
                </c:pt>
                <c:pt idx="106">
                  <c:v>846</c:v>
                </c:pt>
                <c:pt idx="107">
                  <c:v>889</c:v>
                </c:pt>
                <c:pt idx="108">
                  <c:v>963</c:v>
                </c:pt>
                <c:pt idx="109">
                  <c:v>1019</c:v>
                </c:pt>
                <c:pt idx="110">
                  <c:v>1021</c:v>
                </c:pt>
                <c:pt idx="111">
                  <c:v>1061</c:v>
                </c:pt>
                <c:pt idx="112">
                  <c:v>1140</c:v>
                </c:pt>
                <c:pt idx="113">
                  <c:v>1240</c:v>
                </c:pt>
                <c:pt idx="114">
                  <c:v>1295</c:v>
                </c:pt>
                <c:pt idx="115">
                  <c:v>1362</c:v>
                </c:pt>
                <c:pt idx="116">
                  <c:v>1399</c:v>
                </c:pt>
                <c:pt idx="117">
                  <c:v>1408</c:v>
                </c:pt>
                <c:pt idx="118">
                  <c:v>1441</c:v>
                </c:pt>
                <c:pt idx="119">
                  <c:v>1553</c:v>
                </c:pt>
                <c:pt idx="120">
                  <c:v>1555</c:v>
                </c:pt>
                <c:pt idx="121">
                  <c:v>1609</c:v>
                </c:pt>
                <c:pt idx="122">
                  <c:v>1710</c:v>
                </c:pt>
                <c:pt idx="123">
                  <c:v>1806</c:v>
                </c:pt>
                <c:pt idx="124">
                  <c:v>1851</c:v>
                </c:pt>
                <c:pt idx="125">
                  <c:v>1865</c:v>
                </c:pt>
                <c:pt idx="126">
                  <c:v>1973</c:v>
                </c:pt>
                <c:pt idx="127">
                  <c:v>1960</c:v>
                </c:pt>
                <c:pt idx="128">
                  <c:v>2044</c:v>
                </c:pt>
                <c:pt idx="129">
                  <c:v>2080</c:v>
                </c:pt>
                <c:pt idx="130">
                  <c:v>2118</c:v>
                </c:pt>
                <c:pt idx="131">
                  <c:v>2142</c:v>
                </c:pt>
                <c:pt idx="132">
                  <c:v>2096</c:v>
                </c:pt>
                <c:pt idx="133">
                  <c:v>2070</c:v>
                </c:pt>
                <c:pt idx="134">
                  <c:v>2152</c:v>
                </c:pt>
                <c:pt idx="135">
                  <c:v>2074</c:v>
                </c:pt>
                <c:pt idx="136">
                  <c:v>1973</c:v>
                </c:pt>
                <c:pt idx="137">
                  <c:v>1978</c:v>
                </c:pt>
                <c:pt idx="138">
                  <c:v>1960</c:v>
                </c:pt>
                <c:pt idx="139">
                  <c:v>1821</c:v>
                </c:pt>
                <c:pt idx="140">
                  <c:v>1768</c:v>
                </c:pt>
                <c:pt idx="141">
                  <c:v>1713</c:v>
                </c:pt>
                <c:pt idx="142">
                  <c:v>1683</c:v>
                </c:pt>
                <c:pt idx="143">
                  <c:v>1617</c:v>
                </c:pt>
                <c:pt idx="144">
                  <c:v>1617</c:v>
                </c:pt>
                <c:pt idx="145">
                  <c:v>1604</c:v>
                </c:pt>
                <c:pt idx="146">
                  <c:v>1463</c:v>
                </c:pt>
                <c:pt idx="147">
                  <c:v>1436</c:v>
                </c:pt>
                <c:pt idx="148">
                  <c:v>1376</c:v>
                </c:pt>
                <c:pt idx="149">
                  <c:v>1312</c:v>
                </c:pt>
                <c:pt idx="150">
                  <c:v>1253</c:v>
                </c:pt>
                <c:pt idx="151">
                  <c:v>1238</c:v>
                </c:pt>
                <c:pt idx="152">
                  <c:v>1207</c:v>
                </c:pt>
                <c:pt idx="153">
                  <c:v>1100</c:v>
                </c:pt>
                <c:pt idx="154">
                  <c:v>1048</c:v>
                </c:pt>
                <c:pt idx="155">
                  <c:v>997</c:v>
                </c:pt>
                <c:pt idx="156">
                  <c:v>956</c:v>
                </c:pt>
                <c:pt idx="157">
                  <c:v>864</c:v>
                </c:pt>
                <c:pt idx="158">
                  <c:v>830</c:v>
                </c:pt>
                <c:pt idx="159">
                  <c:v>790</c:v>
                </c:pt>
                <c:pt idx="160">
                  <c:v>729</c:v>
                </c:pt>
                <c:pt idx="161">
                  <c:v>729</c:v>
                </c:pt>
                <c:pt idx="162">
                  <c:v>712</c:v>
                </c:pt>
                <c:pt idx="163">
                  <c:v>687</c:v>
                </c:pt>
                <c:pt idx="164">
                  <c:v>662</c:v>
                </c:pt>
                <c:pt idx="165">
                  <c:v>641</c:v>
                </c:pt>
                <c:pt idx="166">
                  <c:v>637</c:v>
                </c:pt>
                <c:pt idx="167">
                  <c:v>615</c:v>
                </c:pt>
                <c:pt idx="168">
                  <c:v>627</c:v>
                </c:pt>
                <c:pt idx="169">
                  <c:v>615</c:v>
                </c:pt>
                <c:pt idx="170">
                  <c:v>620</c:v>
                </c:pt>
                <c:pt idx="171">
                  <c:v>662</c:v>
                </c:pt>
                <c:pt idx="172">
                  <c:v>678</c:v>
                </c:pt>
                <c:pt idx="173">
                  <c:v>673</c:v>
                </c:pt>
                <c:pt idx="174">
                  <c:v>634</c:v>
                </c:pt>
                <c:pt idx="175">
                  <c:v>663</c:v>
                </c:pt>
                <c:pt idx="176">
                  <c:v>695</c:v>
                </c:pt>
                <c:pt idx="177">
                  <c:v>729</c:v>
                </c:pt>
                <c:pt idx="178">
                  <c:v>775</c:v>
                </c:pt>
                <c:pt idx="179">
                  <c:v>849</c:v>
                </c:pt>
                <c:pt idx="180">
                  <c:v>893</c:v>
                </c:pt>
                <c:pt idx="181">
                  <c:v>1070</c:v>
                </c:pt>
                <c:pt idx="182">
                  <c:v>1262</c:v>
                </c:pt>
              </c:numCache>
            </c:numRef>
          </c:val>
          <c:smooth val="0"/>
          <c:extLst>
            <c:ext xmlns:c16="http://schemas.microsoft.com/office/drawing/2014/chart" uri="{C3380CC4-5D6E-409C-BE32-E72D297353CC}">
              <c16:uniqueId val="{00000005-37CD-4BA3-857E-B86804E5EE02}"/>
            </c:ext>
          </c:extLst>
        </c:ser>
        <c:ser>
          <c:idx val="2"/>
          <c:order val="2"/>
          <c:tx>
            <c:strRef>
              <c:f>List1!$A$4</c:f>
              <c:strCache>
                <c:ptCount val="1"/>
                <c:pt idx="0">
                  <c:v>Ostatní zdravotničtí pracovníci</c:v>
                </c:pt>
              </c:strCache>
            </c:strRef>
          </c:tx>
          <c:spPr>
            <a:ln w="28575" cap="rnd">
              <a:solidFill>
                <a:schemeClr val="bg1">
                  <a:lumMod val="65000"/>
                </a:schemeClr>
              </a:solidFill>
              <a:prstDash val="solid"/>
              <a:round/>
            </a:ln>
            <a:effectLst/>
          </c:spPr>
          <c:marker>
            <c:symbol val="none"/>
          </c:marker>
          <c:dLbls>
            <c:dLbl>
              <c:idx val="182"/>
              <c:layout>
                <c:manualLayout>
                  <c:x val="-1.3019527064393282E-16"/>
                  <c:y val="-4.6625474630827481E-2"/>
                </c:manualLayout>
              </c:layout>
              <c:spPr>
                <a:noFill/>
                <a:ln>
                  <a:noFill/>
                </a:ln>
                <a:effectLst/>
              </c:spPr>
              <c:txPr>
                <a:bodyPr rot="0" spcFirstLastPara="1" vertOverflow="ellipsis" vert="horz" wrap="square" anchor="ctr" anchorCtr="0"/>
                <a:lstStyle/>
                <a:p>
                  <a:pPr algn="l">
                    <a:defRPr sz="1200" b="1" i="0" u="none" strike="noStrike" kern="1200" baseline="0">
                      <a:solidFill>
                        <a:schemeClr val="bg1">
                          <a:lumMod val="50000"/>
                        </a:schemeClr>
                      </a:solidFill>
                      <a:latin typeface="Calibri" panose="020F0502020204030204" pitchFamily="34" charset="0"/>
                      <a:ea typeface="+mn-ea"/>
                      <a:cs typeface="Calibri" panose="020F0502020204030204" pitchFamily="34" charset="0"/>
                    </a:defRPr>
                  </a:pPr>
                  <a:endParaRPr lang="cs-CZ"/>
                </a:p>
              </c:txPr>
              <c:dLblPos val="r"/>
              <c:showLegendKey val="0"/>
              <c:showVal val="1"/>
              <c:showCatName val="0"/>
              <c:showSerName val="1"/>
              <c:showPercent val="0"/>
              <c:showBubbleSize val="0"/>
              <c:extLst>
                <c:ext xmlns:c15="http://schemas.microsoft.com/office/drawing/2012/chart" uri="{CE6537A1-D6FC-4f65-9D91-7224C49458BB}">
                  <c15:layout>
                    <c:manualLayout>
                      <c:w val="0.24601304996662368"/>
                      <c:h val="7.5300289757703073E-2"/>
                    </c:manualLayout>
                  </c15:layout>
                </c:ext>
                <c:ext xmlns:c16="http://schemas.microsoft.com/office/drawing/2014/chart" uri="{C3380CC4-5D6E-409C-BE32-E72D297353CC}">
                  <c16:uniqueId val="{00000006-37CD-4BA3-857E-B86804E5EE02}"/>
                </c:ext>
              </c:extLst>
            </c:dLbl>
            <c:spPr>
              <a:noFill/>
              <a:ln>
                <a:noFill/>
              </a:ln>
              <a:effectLst/>
            </c:spPr>
            <c:txPr>
              <a:bodyPr rot="0" spcFirstLastPara="1" vertOverflow="ellipsis" vert="horz" wrap="square" anchor="ctr" anchorCtr="1"/>
              <a:lstStyle/>
              <a:p>
                <a:pPr>
                  <a:defRPr sz="1200" b="0" i="0" u="none" strike="noStrike" kern="1200" baseline="0">
                    <a:solidFill>
                      <a:schemeClr val="bg1">
                        <a:lumMod val="50000"/>
                      </a:schemeClr>
                    </a:solidFill>
                    <a:latin typeface="Calibri" panose="020F0502020204030204" pitchFamily="34" charset="0"/>
                    <a:ea typeface="+mn-ea"/>
                    <a:cs typeface="Calibri" panose="020F0502020204030204" pitchFamily="34" charset="0"/>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GB$1</c:f>
              <c:strCache>
                <c:ptCount val="183"/>
                <c:pt idx="0">
                  <c:v>20.07.21</c:v>
                </c:pt>
                <c:pt idx="1">
                  <c:v>21.07.21</c:v>
                </c:pt>
                <c:pt idx="2">
                  <c:v>22.07.21</c:v>
                </c:pt>
                <c:pt idx="3">
                  <c:v>23.07.21</c:v>
                </c:pt>
                <c:pt idx="4">
                  <c:v>24.07.21</c:v>
                </c:pt>
                <c:pt idx="5">
                  <c:v>25.07.21</c:v>
                </c:pt>
                <c:pt idx="6">
                  <c:v>26.07.21</c:v>
                </c:pt>
                <c:pt idx="7">
                  <c:v>27.07.21</c:v>
                </c:pt>
                <c:pt idx="8">
                  <c:v>28.07.21</c:v>
                </c:pt>
                <c:pt idx="9">
                  <c:v>29.07.21</c:v>
                </c:pt>
                <c:pt idx="10">
                  <c:v>30.07.21</c:v>
                </c:pt>
                <c:pt idx="11">
                  <c:v>31.07.21</c:v>
                </c:pt>
                <c:pt idx="12">
                  <c:v>01.08.21</c:v>
                </c:pt>
                <c:pt idx="13">
                  <c:v>02.08.21</c:v>
                </c:pt>
                <c:pt idx="14">
                  <c:v>03.08.21</c:v>
                </c:pt>
                <c:pt idx="15">
                  <c:v>04.08.21</c:v>
                </c:pt>
                <c:pt idx="16">
                  <c:v>05.08.21</c:v>
                </c:pt>
                <c:pt idx="17">
                  <c:v>06.08.21</c:v>
                </c:pt>
                <c:pt idx="18">
                  <c:v>07.08.21</c:v>
                </c:pt>
                <c:pt idx="19">
                  <c:v>08.08.21</c:v>
                </c:pt>
                <c:pt idx="20">
                  <c:v>09.08.21</c:v>
                </c:pt>
                <c:pt idx="21">
                  <c:v>10.08.21</c:v>
                </c:pt>
                <c:pt idx="22">
                  <c:v>11.08.21</c:v>
                </c:pt>
                <c:pt idx="23">
                  <c:v>12.08.21</c:v>
                </c:pt>
                <c:pt idx="24">
                  <c:v>13.08.21</c:v>
                </c:pt>
                <c:pt idx="25">
                  <c:v>14.08.21</c:v>
                </c:pt>
                <c:pt idx="26">
                  <c:v>15.08.21</c:v>
                </c:pt>
                <c:pt idx="27">
                  <c:v>16.08.21</c:v>
                </c:pt>
                <c:pt idx="28">
                  <c:v>17.08.21</c:v>
                </c:pt>
                <c:pt idx="29">
                  <c:v>18.08.21</c:v>
                </c:pt>
                <c:pt idx="30">
                  <c:v>19.08.21</c:v>
                </c:pt>
                <c:pt idx="31">
                  <c:v>20.08.21</c:v>
                </c:pt>
                <c:pt idx="32">
                  <c:v>21.08.21</c:v>
                </c:pt>
                <c:pt idx="33">
                  <c:v>22.08.21</c:v>
                </c:pt>
                <c:pt idx="34">
                  <c:v>23.08.21</c:v>
                </c:pt>
                <c:pt idx="35">
                  <c:v>24.08.21</c:v>
                </c:pt>
                <c:pt idx="36">
                  <c:v>25.08.21</c:v>
                </c:pt>
                <c:pt idx="37">
                  <c:v>26.08.21</c:v>
                </c:pt>
                <c:pt idx="38">
                  <c:v>27.08.21</c:v>
                </c:pt>
                <c:pt idx="39">
                  <c:v>28.08.21</c:v>
                </c:pt>
                <c:pt idx="40">
                  <c:v>29.08.21</c:v>
                </c:pt>
                <c:pt idx="41">
                  <c:v>30.08.21</c:v>
                </c:pt>
                <c:pt idx="42">
                  <c:v>31.08.21</c:v>
                </c:pt>
                <c:pt idx="43">
                  <c:v>01.09.21</c:v>
                </c:pt>
                <c:pt idx="44">
                  <c:v>02.09.21</c:v>
                </c:pt>
                <c:pt idx="45">
                  <c:v>03.09.21</c:v>
                </c:pt>
                <c:pt idx="46">
                  <c:v>04.09.21</c:v>
                </c:pt>
                <c:pt idx="47">
                  <c:v>05.09.21</c:v>
                </c:pt>
                <c:pt idx="48">
                  <c:v>06.09.21</c:v>
                </c:pt>
                <c:pt idx="49">
                  <c:v>07.09.21</c:v>
                </c:pt>
                <c:pt idx="50">
                  <c:v>08.09.21</c:v>
                </c:pt>
                <c:pt idx="51">
                  <c:v>09.09.21</c:v>
                </c:pt>
                <c:pt idx="52">
                  <c:v>10.09.21</c:v>
                </c:pt>
                <c:pt idx="53">
                  <c:v>11.09.21</c:v>
                </c:pt>
                <c:pt idx="54">
                  <c:v>12.09.21</c:v>
                </c:pt>
                <c:pt idx="55">
                  <c:v>13.09.21</c:v>
                </c:pt>
                <c:pt idx="56">
                  <c:v>14.09.21</c:v>
                </c:pt>
                <c:pt idx="57">
                  <c:v>15.09.21</c:v>
                </c:pt>
                <c:pt idx="58">
                  <c:v>16.09.21</c:v>
                </c:pt>
                <c:pt idx="59">
                  <c:v>17.09.21</c:v>
                </c:pt>
                <c:pt idx="60">
                  <c:v>18.09.21</c:v>
                </c:pt>
                <c:pt idx="61">
                  <c:v>19.09.21</c:v>
                </c:pt>
                <c:pt idx="62">
                  <c:v>20.09.21</c:v>
                </c:pt>
                <c:pt idx="63">
                  <c:v>21.09.21</c:v>
                </c:pt>
                <c:pt idx="64">
                  <c:v>22.09.21</c:v>
                </c:pt>
                <c:pt idx="65">
                  <c:v>23.09.21</c:v>
                </c:pt>
                <c:pt idx="66">
                  <c:v>24.09.21</c:v>
                </c:pt>
                <c:pt idx="67">
                  <c:v>25.09.21</c:v>
                </c:pt>
                <c:pt idx="68">
                  <c:v>26.09.21</c:v>
                </c:pt>
                <c:pt idx="69">
                  <c:v>27.09.21</c:v>
                </c:pt>
                <c:pt idx="70">
                  <c:v>28.09.21</c:v>
                </c:pt>
                <c:pt idx="71">
                  <c:v>29.09.21</c:v>
                </c:pt>
                <c:pt idx="72">
                  <c:v>30.09.21</c:v>
                </c:pt>
                <c:pt idx="73">
                  <c:v>01.10.21</c:v>
                </c:pt>
                <c:pt idx="74">
                  <c:v>02.10.21</c:v>
                </c:pt>
                <c:pt idx="75">
                  <c:v>03.10.21</c:v>
                </c:pt>
                <c:pt idx="76">
                  <c:v>04.10.21</c:v>
                </c:pt>
                <c:pt idx="77">
                  <c:v>05.10.21</c:v>
                </c:pt>
                <c:pt idx="78">
                  <c:v>06.10.21</c:v>
                </c:pt>
                <c:pt idx="79">
                  <c:v>07.10.21</c:v>
                </c:pt>
                <c:pt idx="80">
                  <c:v>08.10.21</c:v>
                </c:pt>
                <c:pt idx="81">
                  <c:v>09.10.21</c:v>
                </c:pt>
                <c:pt idx="82">
                  <c:v>10.10.21</c:v>
                </c:pt>
                <c:pt idx="83">
                  <c:v>11.10.21</c:v>
                </c:pt>
                <c:pt idx="84">
                  <c:v>12.10.21</c:v>
                </c:pt>
                <c:pt idx="85">
                  <c:v>13.10.21</c:v>
                </c:pt>
                <c:pt idx="86">
                  <c:v>14.10.21</c:v>
                </c:pt>
                <c:pt idx="87">
                  <c:v>15.10.21</c:v>
                </c:pt>
                <c:pt idx="88">
                  <c:v>16.10.21</c:v>
                </c:pt>
                <c:pt idx="89">
                  <c:v>17.10.21</c:v>
                </c:pt>
                <c:pt idx="90">
                  <c:v>18.10.21</c:v>
                </c:pt>
                <c:pt idx="91">
                  <c:v>19.10.21</c:v>
                </c:pt>
                <c:pt idx="92">
                  <c:v>20.10.21</c:v>
                </c:pt>
                <c:pt idx="93">
                  <c:v>21.10.21</c:v>
                </c:pt>
                <c:pt idx="94">
                  <c:v>22.10.21</c:v>
                </c:pt>
                <c:pt idx="95">
                  <c:v>23.10.21</c:v>
                </c:pt>
                <c:pt idx="96">
                  <c:v>24.10.21</c:v>
                </c:pt>
                <c:pt idx="97">
                  <c:v>25.10.21</c:v>
                </c:pt>
                <c:pt idx="98">
                  <c:v>26.10.21</c:v>
                </c:pt>
                <c:pt idx="99">
                  <c:v>27.10.21</c:v>
                </c:pt>
                <c:pt idx="100">
                  <c:v>28.10.21</c:v>
                </c:pt>
                <c:pt idx="101">
                  <c:v>29.10.21</c:v>
                </c:pt>
                <c:pt idx="102">
                  <c:v>30.10.21</c:v>
                </c:pt>
                <c:pt idx="103">
                  <c:v>31.10.21</c:v>
                </c:pt>
                <c:pt idx="104">
                  <c:v>01.11.21</c:v>
                </c:pt>
                <c:pt idx="105">
                  <c:v>02.11.21</c:v>
                </c:pt>
                <c:pt idx="106">
                  <c:v>03.11.21</c:v>
                </c:pt>
                <c:pt idx="107">
                  <c:v>04.11.21</c:v>
                </c:pt>
                <c:pt idx="108">
                  <c:v>05.11.21</c:v>
                </c:pt>
                <c:pt idx="109">
                  <c:v>06.11.21</c:v>
                </c:pt>
                <c:pt idx="110">
                  <c:v>07.11.21</c:v>
                </c:pt>
                <c:pt idx="111">
                  <c:v>08.11.21</c:v>
                </c:pt>
                <c:pt idx="112">
                  <c:v>09.11.21</c:v>
                </c:pt>
                <c:pt idx="113">
                  <c:v>10.11.21</c:v>
                </c:pt>
                <c:pt idx="114">
                  <c:v>11.11.21</c:v>
                </c:pt>
                <c:pt idx="115">
                  <c:v>12.11.21</c:v>
                </c:pt>
                <c:pt idx="116">
                  <c:v>13.11.21</c:v>
                </c:pt>
                <c:pt idx="117">
                  <c:v>14.11.21</c:v>
                </c:pt>
                <c:pt idx="118">
                  <c:v>15.11.21</c:v>
                </c:pt>
                <c:pt idx="119">
                  <c:v>16.11.21</c:v>
                </c:pt>
                <c:pt idx="120">
                  <c:v>17.11.21</c:v>
                </c:pt>
                <c:pt idx="121">
                  <c:v>18.11.21</c:v>
                </c:pt>
                <c:pt idx="122">
                  <c:v>19.11.21</c:v>
                </c:pt>
                <c:pt idx="123">
                  <c:v>20.11.21</c:v>
                </c:pt>
                <c:pt idx="124">
                  <c:v>21.11.21</c:v>
                </c:pt>
                <c:pt idx="125">
                  <c:v>22.11.21</c:v>
                </c:pt>
                <c:pt idx="126">
                  <c:v>23.11.21</c:v>
                </c:pt>
                <c:pt idx="127">
                  <c:v>24.11.21</c:v>
                </c:pt>
                <c:pt idx="128">
                  <c:v>25.11.21</c:v>
                </c:pt>
                <c:pt idx="129">
                  <c:v>26.11.21</c:v>
                </c:pt>
                <c:pt idx="130">
                  <c:v>27.11.21</c:v>
                </c:pt>
                <c:pt idx="131">
                  <c:v>28.11.21</c:v>
                </c:pt>
                <c:pt idx="132">
                  <c:v>29.11.21</c:v>
                </c:pt>
                <c:pt idx="133">
                  <c:v>30.11.21</c:v>
                </c:pt>
                <c:pt idx="134">
                  <c:v>01.12.21</c:v>
                </c:pt>
                <c:pt idx="135">
                  <c:v>02.12.21</c:v>
                </c:pt>
                <c:pt idx="136">
                  <c:v>03.12.21</c:v>
                </c:pt>
                <c:pt idx="137">
                  <c:v>04.12.21</c:v>
                </c:pt>
                <c:pt idx="138">
                  <c:v>05.12.21</c:v>
                </c:pt>
                <c:pt idx="139">
                  <c:v>06.12.21</c:v>
                </c:pt>
                <c:pt idx="140">
                  <c:v>07.12.21</c:v>
                </c:pt>
                <c:pt idx="141">
                  <c:v>08.12.21</c:v>
                </c:pt>
                <c:pt idx="142">
                  <c:v>09.12.21</c:v>
                </c:pt>
                <c:pt idx="143">
                  <c:v>10.12.21</c:v>
                </c:pt>
                <c:pt idx="144">
                  <c:v>11.12.21</c:v>
                </c:pt>
                <c:pt idx="145">
                  <c:v>12.12.21</c:v>
                </c:pt>
                <c:pt idx="146">
                  <c:v>13.12.21</c:v>
                </c:pt>
                <c:pt idx="147">
                  <c:v>14.12.21</c:v>
                </c:pt>
                <c:pt idx="148">
                  <c:v>15.12.21</c:v>
                </c:pt>
                <c:pt idx="149">
                  <c:v>16.12.21</c:v>
                </c:pt>
                <c:pt idx="150">
                  <c:v>17.12.21</c:v>
                </c:pt>
                <c:pt idx="151">
                  <c:v>18.12.21</c:v>
                </c:pt>
                <c:pt idx="152">
                  <c:v>19.12.21</c:v>
                </c:pt>
                <c:pt idx="153">
                  <c:v>20.12.21</c:v>
                </c:pt>
                <c:pt idx="154">
                  <c:v>21.12.21</c:v>
                </c:pt>
                <c:pt idx="155">
                  <c:v>22.12.21</c:v>
                </c:pt>
                <c:pt idx="156">
                  <c:v>23.12.21</c:v>
                </c:pt>
                <c:pt idx="157">
                  <c:v>24.12.21</c:v>
                </c:pt>
                <c:pt idx="158">
                  <c:v>25.12.21</c:v>
                </c:pt>
                <c:pt idx="159">
                  <c:v>26.12.21</c:v>
                </c:pt>
                <c:pt idx="160">
                  <c:v>27.12.21</c:v>
                </c:pt>
                <c:pt idx="161">
                  <c:v>28.12.21</c:v>
                </c:pt>
                <c:pt idx="162">
                  <c:v>29.12.21</c:v>
                </c:pt>
                <c:pt idx="163">
                  <c:v>30.12.21</c:v>
                </c:pt>
                <c:pt idx="164">
                  <c:v>31.12.21</c:v>
                </c:pt>
                <c:pt idx="165">
                  <c:v>01.01.22</c:v>
                </c:pt>
                <c:pt idx="166">
                  <c:v>02.01.22</c:v>
                </c:pt>
                <c:pt idx="167">
                  <c:v>03.01.22</c:v>
                </c:pt>
                <c:pt idx="168">
                  <c:v>04.01.22</c:v>
                </c:pt>
                <c:pt idx="169">
                  <c:v>05.01.22</c:v>
                </c:pt>
                <c:pt idx="170">
                  <c:v>06.01.22</c:v>
                </c:pt>
                <c:pt idx="171">
                  <c:v>07.01.22</c:v>
                </c:pt>
                <c:pt idx="172">
                  <c:v>08.01.22</c:v>
                </c:pt>
                <c:pt idx="173">
                  <c:v>09.01.22</c:v>
                </c:pt>
                <c:pt idx="174">
                  <c:v>10.01.22</c:v>
                </c:pt>
                <c:pt idx="175">
                  <c:v>11.01.22</c:v>
                </c:pt>
                <c:pt idx="176">
                  <c:v>12.01.22</c:v>
                </c:pt>
                <c:pt idx="177">
                  <c:v>13.01.22</c:v>
                </c:pt>
                <c:pt idx="178">
                  <c:v>14.01.22</c:v>
                </c:pt>
                <c:pt idx="179">
                  <c:v>15.01.22</c:v>
                </c:pt>
                <c:pt idx="180">
                  <c:v>16.01.22</c:v>
                </c:pt>
                <c:pt idx="181">
                  <c:v>17.01.22</c:v>
                </c:pt>
                <c:pt idx="182">
                  <c:v>18.01.22</c:v>
                </c:pt>
              </c:strCache>
            </c:strRef>
          </c:cat>
          <c:val>
            <c:numRef>
              <c:f>List1!$B$4:$GB$4</c:f>
              <c:numCache>
                <c:formatCode>General</c:formatCode>
                <c:ptCount val="183"/>
                <c:pt idx="0">
                  <c:v>68</c:v>
                </c:pt>
                <c:pt idx="1">
                  <c:v>67</c:v>
                </c:pt>
                <c:pt idx="2">
                  <c:v>66</c:v>
                </c:pt>
                <c:pt idx="3">
                  <c:v>65</c:v>
                </c:pt>
                <c:pt idx="4">
                  <c:v>65</c:v>
                </c:pt>
                <c:pt idx="5">
                  <c:v>66</c:v>
                </c:pt>
                <c:pt idx="6">
                  <c:v>67</c:v>
                </c:pt>
                <c:pt idx="7">
                  <c:v>71</c:v>
                </c:pt>
                <c:pt idx="8">
                  <c:v>68</c:v>
                </c:pt>
                <c:pt idx="9">
                  <c:v>67</c:v>
                </c:pt>
                <c:pt idx="10">
                  <c:v>65</c:v>
                </c:pt>
                <c:pt idx="11">
                  <c:v>65</c:v>
                </c:pt>
                <c:pt idx="12">
                  <c:v>63</c:v>
                </c:pt>
                <c:pt idx="13">
                  <c:v>61</c:v>
                </c:pt>
                <c:pt idx="14">
                  <c:v>63</c:v>
                </c:pt>
                <c:pt idx="15">
                  <c:v>65</c:v>
                </c:pt>
                <c:pt idx="16">
                  <c:v>61</c:v>
                </c:pt>
                <c:pt idx="17">
                  <c:v>62</c:v>
                </c:pt>
                <c:pt idx="18">
                  <c:v>61</c:v>
                </c:pt>
                <c:pt idx="19">
                  <c:v>59</c:v>
                </c:pt>
                <c:pt idx="20">
                  <c:v>62</c:v>
                </c:pt>
                <c:pt idx="21">
                  <c:v>61</c:v>
                </c:pt>
                <c:pt idx="22">
                  <c:v>61</c:v>
                </c:pt>
                <c:pt idx="23">
                  <c:v>60</c:v>
                </c:pt>
                <c:pt idx="24">
                  <c:v>66</c:v>
                </c:pt>
                <c:pt idx="25">
                  <c:v>67</c:v>
                </c:pt>
                <c:pt idx="26">
                  <c:v>67</c:v>
                </c:pt>
                <c:pt idx="27">
                  <c:v>65</c:v>
                </c:pt>
                <c:pt idx="28">
                  <c:v>62</c:v>
                </c:pt>
                <c:pt idx="29">
                  <c:v>61</c:v>
                </c:pt>
                <c:pt idx="30">
                  <c:v>59</c:v>
                </c:pt>
                <c:pt idx="31">
                  <c:v>61</c:v>
                </c:pt>
                <c:pt idx="32">
                  <c:v>62</c:v>
                </c:pt>
                <c:pt idx="33">
                  <c:v>63</c:v>
                </c:pt>
                <c:pt idx="34">
                  <c:v>60</c:v>
                </c:pt>
                <c:pt idx="35">
                  <c:v>61</c:v>
                </c:pt>
                <c:pt idx="36">
                  <c:v>65</c:v>
                </c:pt>
                <c:pt idx="37">
                  <c:v>63</c:v>
                </c:pt>
                <c:pt idx="38">
                  <c:v>61</c:v>
                </c:pt>
                <c:pt idx="39">
                  <c:v>59</c:v>
                </c:pt>
                <c:pt idx="40">
                  <c:v>60</c:v>
                </c:pt>
                <c:pt idx="41">
                  <c:v>58</c:v>
                </c:pt>
                <c:pt idx="42">
                  <c:v>59</c:v>
                </c:pt>
                <c:pt idx="43">
                  <c:v>61</c:v>
                </c:pt>
                <c:pt idx="44">
                  <c:v>65</c:v>
                </c:pt>
                <c:pt idx="45">
                  <c:v>67</c:v>
                </c:pt>
                <c:pt idx="46">
                  <c:v>70</c:v>
                </c:pt>
                <c:pt idx="47">
                  <c:v>69</c:v>
                </c:pt>
                <c:pt idx="48">
                  <c:v>73</c:v>
                </c:pt>
                <c:pt idx="49">
                  <c:v>74</c:v>
                </c:pt>
                <c:pt idx="50">
                  <c:v>71</c:v>
                </c:pt>
                <c:pt idx="51">
                  <c:v>70</c:v>
                </c:pt>
                <c:pt idx="52">
                  <c:v>72</c:v>
                </c:pt>
                <c:pt idx="53">
                  <c:v>71</c:v>
                </c:pt>
                <c:pt idx="54">
                  <c:v>74</c:v>
                </c:pt>
                <c:pt idx="55">
                  <c:v>75</c:v>
                </c:pt>
                <c:pt idx="56">
                  <c:v>75</c:v>
                </c:pt>
                <c:pt idx="57">
                  <c:v>79</c:v>
                </c:pt>
                <c:pt idx="58">
                  <c:v>82</c:v>
                </c:pt>
                <c:pt idx="59">
                  <c:v>80</c:v>
                </c:pt>
                <c:pt idx="60">
                  <c:v>79</c:v>
                </c:pt>
                <c:pt idx="61">
                  <c:v>82</c:v>
                </c:pt>
                <c:pt idx="62">
                  <c:v>83</c:v>
                </c:pt>
                <c:pt idx="63">
                  <c:v>90</c:v>
                </c:pt>
                <c:pt idx="64">
                  <c:v>97</c:v>
                </c:pt>
                <c:pt idx="65">
                  <c:v>99</c:v>
                </c:pt>
                <c:pt idx="66">
                  <c:v>102</c:v>
                </c:pt>
                <c:pt idx="67">
                  <c:v>105</c:v>
                </c:pt>
                <c:pt idx="68">
                  <c:v>104</c:v>
                </c:pt>
                <c:pt idx="69">
                  <c:v>107</c:v>
                </c:pt>
                <c:pt idx="70">
                  <c:v>112</c:v>
                </c:pt>
                <c:pt idx="71">
                  <c:v>113</c:v>
                </c:pt>
                <c:pt idx="72">
                  <c:v>118</c:v>
                </c:pt>
                <c:pt idx="73">
                  <c:v>121</c:v>
                </c:pt>
                <c:pt idx="74">
                  <c:v>123</c:v>
                </c:pt>
                <c:pt idx="75">
                  <c:v>125</c:v>
                </c:pt>
                <c:pt idx="76">
                  <c:v>127</c:v>
                </c:pt>
                <c:pt idx="77">
                  <c:v>129</c:v>
                </c:pt>
                <c:pt idx="78">
                  <c:v>138</c:v>
                </c:pt>
                <c:pt idx="79">
                  <c:v>144</c:v>
                </c:pt>
                <c:pt idx="80">
                  <c:v>149</c:v>
                </c:pt>
                <c:pt idx="81">
                  <c:v>154</c:v>
                </c:pt>
                <c:pt idx="82">
                  <c:v>156</c:v>
                </c:pt>
                <c:pt idx="83">
                  <c:v>165</c:v>
                </c:pt>
                <c:pt idx="84">
                  <c:v>194</c:v>
                </c:pt>
                <c:pt idx="85">
                  <c:v>200</c:v>
                </c:pt>
                <c:pt idx="86">
                  <c:v>208</c:v>
                </c:pt>
                <c:pt idx="87">
                  <c:v>212</c:v>
                </c:pt>
                <c:pt idx="88">
                  <c:v>218</c:v>
                </c:pt>
                <c:pt idx="89">
                  <c:v>222</c:v>
                </c:pt>
                <c:pt idx="90">
                  <c:v>249</c:v>
                </c:pt>
                <c:pt idx="91">
                  <c:v>289</c:v>
                </c:pt>
                <c:pt idx="92">
                  <c:v>326</c:v>
                </c:pt>
                <c:pt idx="93">
                  <c:v>365</c:v>
                </c:pt>
                <c:pt idx="94">
                  <c:v>396</c:v>
                </c:pt>
                <c:pt idx="95">
                  <c:v>419</c:v>
                </c:pt>
                <c:pt idx="96">
                  <c:v>432</c:v>
                </c:pt>
                <c:pt idx="97">
                  <c:v>480</c:v>
                </c:pt>
                <c:pt idx="98">
                  <c:v>534</c:v>
                </c:pt>
                <c:pt idx="99">
                  <c:v>583</c:v>
                </c:pt>
                <c:pt idx="100">
                  <c:v>606</c:v>
                </c:pt>
                <c:pt idx="101">
                  <c:v>671</c:v>
                </c:pt>
                <c:pt idx="102">
                  <c:v>715</c:v>
                </c:pt>
                <c:pt idx="103">
                  <c:v>744</c:v>
                </c:pt>
                <c:pt idx="104">
                  <c:v>817</c:v>
                </c:pt>
                <c:pt idx="105">
                  <c:v>890</c:v>
                </c:pt>
                <c:pt idx="106">
                  <c:v>951</c:v>
                </c:pt>
                <c:pt idx="107">
                  <c:v>1005</c:v>
                </c:pt>
                <c:pt idx="108">
                  <c:v>1092</c:v>
                </c:pt>
                <c:pt idx="109">
                  <c:v>1120</c:v>
                </c:pt>
                <c:pt idx="110">
                  <c:v>1122</c:v>
                </c:pt>
                <c:pt idx="111">
                  <c:v>1155</c:v>
                </c:pt>
                <c:pt idx="112">
                  <c:v>1227</c:v>
                </c:pt>
                <c:pt idx="113">
                  <c:v>1303</c:v>
                </c:pt>
                <c:pt idx="114">
                  <c:v>1389</c:v>
                </c:pt>
                <c:pt idx="115">
                  <c:v>1451</c:v>
                </c:pt>
                <c:pt idx="116">
                  <c:v>1498</c:v>
                </c:pt>
                <c:pt idx="117">
                  <c:v>1508</c:v>
                </c:pt>
                <c:pt idx="118">
                  <c:v>1495</c:v>
                </c:pt>
                <c:pt idx="119">
                  <c:v>1567</c:v>
                </c:pt>
                <c:pt idx="120">
                  <c:v>1619</c:v>
                </c:pt>
                <c:pt idx="121">
                  <c:v>1665</c:v>
                </c:pt>
                <c:pt idx="122">
                  <c:v>1796</c:v>
                </c:pt>
                <c:pt idx="123">
                  <c:v>1876</c:v>
                </c:pt>
                <c:pt idx="124">
                  <c:v>1923</c:v>
                </c:pt>
                <c:pt idx="125">
                  <c:v>1957</c:v>
                </c:pt>
                <c:pt idx="126">
                  <c:v>2007</c:v>
                </c:pt>
                <c:pt idx="127">
                  <c:v>2049</c:v>
                </c:pt>
                <c:pt idx="128">
                  <c:v>2166</c:v>
                </c:pt>
                <c:pt idx="129">
                  <c:v>2151</c:v>
                </c:pt>
                <c:pt idx="130">
                  <c:v>2199</c:v>
                </c:pt>
                <c:pt idx="131">
                  <c:v>2221</c:v>
                </c:pt>
                <c:pt idx="132">
                  <c:v>2191</c:v>
                </c:pt>
                <c:pt idx="133">
                  <c:v>2175</c:v>
                </c:pt>
                <c:pt idx="134">
                  <c:v>2263</c:v>
                </c:pt>
                <c:pt idx="135">
                  <c:v>2165</c:v>
                </c:pt>
                <c:pt idx="136">
                  <c:v>2100</c:v>
                </c:pt>
                <c:pt idx="137">
                  <c:v>2103</c:v>
                </c:pt>
                <c:pt idx="138">
                  <c:v>2080</c:v>
                </c:pt>
                <c:pt idx="139">
                  <c:v>1998</c:v>
                </c:pt>
                <c:pt idx="140">
                  <c:v>1956</c:v>
                </c:pt>
                <c:pt idx="141">
                  <c:v>1897</c:v>
                </c:pt>
                <c:pt idx="142">
                  <c:v>1831</c:v>
                </c:pt>
                <c:pt idx="143">
                  <c:v>1764</c:v>
                </c:pt>
                <c:pt idx="144">
                  <c:v>1765</c:v>
                </c:pt>
                <c:pt idx="145">
                  <c:v>1740</c:v>
                </c:pt>
                <c:pt idx="146">
                  <c:v>1617</c:v>
                </c:pt>
                <c:pt idx="147">
                  <c:v>1608</c:v>
                </c:pt>
                <c:pt idx="148">
                  <c:v>1573</c:v>
                </c:pt>
                <c:pt idx="149">
                  <c:v>1509</c:v>
                </c:pt>
                <c:pt idx="150">
                  <c:v>1460</c:v>
                </c:pt>
                <c:pt idx="151">
                  <c:v>1457</c:v>
                </c:pt>
                <c:pt idx="152">
                  <c:v>1427</c:v>
                </c:pt>
                <c:pt idx="153">
                  <c:v>1304</c:v>
                </c:pt>
                <c:pt idx="154">
                  <c:v>1243</c:v>
                </c:pt>
                <c:pt idx="155">
                  <c:v>1173</c:v>
                </c:pt>
                <c:pt idx="156">
                  <c:v>1151</c:v>
                </c:pt>
                <c:pt idx="157">
                  <c:v>1067</c:v>
                </c:pt>
                <c:pt idx="158">
                  <c:v>1030</c:v>
                </c:pt>
                <c:pt idx="159">
                  <c:v>993</c:v>
                </c:pt>
                <c:pt idx="160">
                  <c:v>866</c:v>
                </c:pt>
                <c:pt idx="161">
                  <c:v>862</c:v>
                </c:pt>
                <c:pt idx="162">
                  <c:v>825</c:v>
                </c:pt>
                <c:pt idx="163">
                  <c:v>798</c:v>
                </c:pt>
                <c:pt idx="164">
                  <c:v>784</c:v>
                </c:pt>
                <c:pt idx="165">
                  <c:v>755</c:v>
                </c:pt>
                <c:pt idx="166">
                  <c:v>726</c:v>
                </c:pt>
                <c:pt idx="167">
                  <c:v>692</c:v>
                </c:pt>
                <c:pt idx="168">
                  <c:v>718</c:v>
                </c:pt>
                <c:pt idx="169">
                  <c:v>721</c:v>
                </c:pt>
                <c:pt idx="170">
                  <c:v>751</c:v>
                </c:pt>
                <c:pt idx="171">
                  <c:v>803</c:v>
                </c:pt>
                <c:pt idx="172">
                  <c:v>815</c:v>
                </c:pt>
                <c:pt idx="173">
                  <c:v>810</c:v>
                </c:pt>
                <c:pt idx="174">
                  <c:v>796</c:v>
                </c:pt>
                <c:pt idx="175">
                  <c:v>821</c:v>
                </c:pt>
                <c:pt idx="176">
                  <c:v>852</c:v>
                </c:pt>
                <c:pt idx="177">
                  <c:v>861</c:v>
                </c:pt>
                <c:pt idx="178">
                  <c:v>903</c:v>
                </c:pt>
                <c:pt idx="179">
                  <c:v>959</c:v>
                </c:pt>
                <c:pt idx="180">
                  <c:v>1014</c:v>
                </c:pt>
                <c:pt idx="181">
                  <c:v>1188</c:v>
                </c:pt>
                <c:pt idx="182">
                  <c:v>1363</c:v>
                </c:pt>
              </c:numCache>
            </c:numRef>
          </c:val>
          <c:smooth val="0"/>
          <c:extLst>
            <c:ext xmlns:c16="http://schemas.microsoft.com/office/drawing/2014/chart" uri="{C3380CC4-5D6E-409C-BE32-E72D297353CC}">
              <c16:uniqueId val="{00000008-37CD-4BA3-857E-B86804E5EE02}"/>
            </c:ext>
          </c:extLst>
        </c:ser>
        <c:dLbls>
          <c:showLegendKey val="0"/>
          <c:showVal val="0"/>
          <c:showCatName val="0"/>
          <c:showSerName val="0"/>
          <c:showPercent val="0"/>
          <c:showBubbleSize val="0"/>
        </c:dLbls>
        <c:smooth val="0"/>
        <c:axId val="604314152"/>
        <c:axId val="604312192"/>
      </c:lineChart>
      <c:catAx>
        <c:axId val="604314152"/>
        <c:scaling>
          <c:orientation val="minMax"/>
        </c:scaling>
        <c:delete val="0"/>
        <c:axPos val="b"/>
        <c:numFmt formatCode="dd/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604312192"/>
        <c:crosses val="autoZero"/>
        <c:auto val="1"/>
        <c:lblAlgn val="ctr"/>
        <c:lblOffset val="100"/>
        <c:tickLblSkip val="7"/>
        <c:noMultiLvlLbl val="0"/>
      </c:catAx>
      <c:valAx>
        <c:axId val="604312192"/>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604314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Calibri" panose="020F0502020204030204" pitchFamily="34" charset="0"/>
          <a:cs typeface="Calibri" panose="020F0502020204030204" pitchFamily="34" charset="0"/>
        </a:defRPr>
      </a:pPr>
      <a:endParaRPr lang="cs-CZ"/>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Incidence</c:v>
                </c:pt>
              </c:strCache>
            </c:strRef>
          </c:tx>
          <c:spPr>
            <a:solidFill>
              <a:srgbClr val="99CCF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5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rgbClr val="002060"/>
                </a:solidFill>
                <a:prstDash val="solid"/>
              </a:ln>
              <a:effectLst/>
            </c:spPr>
            <c:trendlineType val="movingAvg"/>
            <c:period val="7"/>
            <c:dispRSqr val="0"/>
            <c:dispEq val="0"/>
          </c:trendline>
          <c:cat>
            <c:numRef>
              <c:f>Sheet1!$A$2:$A$184</c:f>
              <c:numCache>
                <c:formatCode>m/d/yyyy</c:formatCode>
                <c:ptCount val="183"/>
                <c:pt idx="0">
                  <c:v>44397</c:v>
                </c:pt>
                <c:pt idx="1">
                  <c:v>44398</c:v>
                </c:pt>
                <c:pt idx="2">
                  <c:v>44399</c:v>
                </c:pt>
                <c:pt idx="3">
                  <c:v>44400</c:v>
                </c:pt>
                <c:pt idx="4">
                  <c:v>44401</c:v>
                </c:pt>
                <c:pt idx="5">
                  <c:v>44402</c:v>
                </c:pt>
                <c:pt idx="6">
                  <c:v>44403</c:v>
                </c:pt>
                <c:pt idx="7">
                  <c:v>44404</c:v>
                </c:pt>
                <c:pt idx="8">
                  <c:v>44405</c:v>
                </c:pt>
                <c:pt idx="9">
                  <c:v>44406</c:v>
                </c:pt>
                <c:pt idx="10">
                  <c:v>44407</c:v>
                </c:pt>
                <c:pt idx="11">
                  <c:v>44408</c:v>
                </c:pt>
                <c:pt idx="12">
                  <c:v>44409</c:v>
                </c:pt>
                <c:pt idx="13">
                  <c:v>44410</c:v>
                </c:pt>
                <c:pt idx="14">
                  <c:v>44411</c:v>
                </c:pt>
                <c:pt idx="15">
                  <c:v>44412</c:v>
                </c:pt>
                <c:pt idx="16">
                  <c:v>44413</c:v>
                </c:pt>
                <c:pt idx="17">
                  <c:v>44414</c:v>
                </c:pt>
                <c:pt idx="18">
                  <c:v>44415</c:v>
                </c:pt>
                <c:pt idx="19">
                  <c:v>44416</c:v>
                </c:pt>
                <c:pt idx="20">
                  <c:v>44417</c:v>
                </c:pt>
                <c:pt idx="21">
                  <c:v>44418</c:v>
                </c:pt>
                <c:pt idx="22">
                  <c:v>44419</c:v>
                </c:pt>
                <c:pt idx="23">
                  <c:v>44420</c:v>
                </c:pt>
                <c:pt idx="24">
                  <c:v>44421</c:v>
                </c:pt>
                <c:pt idx="25">
                  <c:v>44422</c:v>
                </c:pt>
                <c:pt idx="26">
                  <c:v>44423</c:v>
                </c:pt>
                <c:pt idx="27">
                  <c:v>44424</c:v>
                </c:pt>
                <c:pt idx="28">
                  <c:v>44425</c:v>
                </c:pt>
                <c:pt idx="29">
                  <c:v>44426</c:v>
                </c:pt>
                <c:pt idx="30">
                  <c:v>44427</c:v>
                </c:pt>
                <c:pt idx="31">
                  <c:v>44428</c:v>
                </c:pt>
                <c:pt idx="32">
                  <c:v>44429</c:v>
                </c:pt>
                <c:pt idx="33">
                  <c:v>44430</c:v>
                </c:pt>
                <c:pt idx="34">
                  <c:v>44431</c:v>
                </c:pt>
                <c:pt idx="35">
                  <c:v>44432</c:v>
                </c:pt>
                <c:pt idx="36">
                  <c:v>44433</c:v>
                </c:pt>
                <c:pt idx="37">
                  <c:v>44434</c:v>
                </c:pt>
                <c:pt idx="38">
                  <c:v>44435</c:v>
                </c:pt>
                <c:pt idx="39">
                  <c:v>44436</c:v>
                </c:pt>
                <c:pt idx="40">
                  <c:v>44437</c:v>
                </c:pt>
                <c:pt idx="41">
                  <c:v>44438</c:v>
                </c:pt>
                <c:pt idx="42">
                  <c:v>44439</c:v>
                </c:pt>
                <c:pt idx="43">
                  <c:v>44440</c:v>
                </c:pt>
                <c:pt idx="44">
                  <c:v>44441</c:v>
                </c:pt>
                <c:pt idx="45">
                  <c:v>44442</c:v>
                </c:pt>
                <c:pt idx="46">
                  <c:v>44443</c:v>
                </c:pt>
                <c:pt idx="47">
                  <c:v>44444</c:v>
                </c:pt>
                <c:pt idx="48">
                  <c:v>44445</c:v>
                </c:pt>
                <c:pt idx="49">
                  <c:v>44446</c:v>
                </c:pt>
                <c:pt idx="50">
                  <c:v>44447</c:v>
                </c:pt>
                <c:pt idx="51">
                  <c:v>44448</c:v>
                </c:pt>
                <c:pt idx="52">
                  <c:v>44449</c:v>
                </c:pt>
                <c:pt idx="53">
                  <c:v>44450</c:v>
                </c:pt>
                <c:pt idx="54">
                  <c:v>44451</c:v>
                </c:pt>
                <c:pt idx="55">
                  <c:v>44452</c:v>
                </c:pt>
                <c:pt idx="56">
                  <c:v>44453</c:v>
                </c:pt>
                <c:pt idx="57">
                  <c:v>44454</c:v>
                </c:pt>
                <c:pt idx="58">
                  <c:v>44455</c:v>
                </c:pt>
                <c:pt idx="59">
                  <c:v>44456</c:v>
                </c:pt>
                <c:pt idx="60">
                  <c:v>44457</c:v>
                </c:pt>
                <c:pt idx="61">
                  <c:v>44458</c:v>
                </c:pt>
                <c:pt idx="62">
                  <c:v>44459</c:v>
                </c:pt>
                <c:pt idx="63">
                  <c:v>44460</c:v>
                </c:pt>
                <c:pt idx="64">
                  <c:v>44461</c:v>
                </c:pt>
                <c:pt idx="65">
                  <c:v>44462</c:v>
                </c:pt>
                <c:pt idx="66">
                  <c:v>44463</c:v>
                </c:pt>
                <c:pt idx="67">
                  <c:v>44464</c:v>
                </c:pt>
                <c:pt idx="68">
                  <c:v>44465</c:v>
                </c:pt>
                <c:pt idx="69">
                  <c:v>44466</c:v>
                </c:pt>
                <c:pt idx="70">
                  <c:v>44467</c:v>
                </c:pt>
                <c:pt idx="71">
                  <c:v>44468</c:v>
                </c:pt>
                <c:pt idx="72">
                  <c:v>44469</c:v>
                </c:pt>
                <c:pt idx="73">
                  <c:v>44470</c:v>
                </c:pt>
                <c:pt idx="74">
                  <c:v>44471</c:v>
                </c:pt>
                <c:pt idx="75">
                  <c:v>44472</c:v>
                </c:pt>
                <c:pt idx="76">
                  <c:v>44473</c:v>
                </c:pt>
                <c:pt idx="77">
                  <c:v>44474</c:v>
                </c:pt>
                <c:pt idx="78">
                  <c:v>44475</c:v>
                </c:pt>
                <c:pt idx="79">
                  <c:v>44476</c:v>
                </c:pt>
                <c:pt idx="80">
                  <c:v>44477</c:v>
                </c:pt>
                <c:pt idx="81">
                  <c:v>44478</c:v>
                </c:pt>
                <c:pt idx="82">
                  <c:v>44479</c:v>
                </c:pt>
                <c:pt idx="83">
                  <c:v>44480</c:v>
                </c:pt>
                <c:pt idx="84">
                  <c:v>44481</c:v>
                </c:pt>
                <c:pt idx="85">
                  <c:v>44482</c:v>
                </c:pt>
                <c:pt idx="86">
                  <c:v>44483</c:v>
                </c:pt>
                <c:pt idx="87">
                  <c:v>44484</c:v>
                </c:pt>
                <c:pt idx="88">
                  <c:v>44485</c:v>
                </c:pt>
                <c:pt idx="89">
                  <c:v>44486</c:v>
                </c:pt>
                <c:pt idx="90">
                  <c:v>44487</c:v>
                </c:pt>
                <c:pt idx="91">
                  <c:v>44488</c:v>
                </c:pt>
                <c:pt idx="92">
                  <c:v>44489</c:v>
                </c:pt>
                <c:pt idx="93">
                  <c:v>44490</c:v>
                </c:pt>
                <c:pt idx="94">
                  <c:v>44491</c:v>
                </c:pt>
                <c:pt idx="95">
                  <c:v>44492</c:v>
                </c:pt>
                <c:pt idx="96">
                  <c:v>44493</c:v>
                </c:pt>
                <c:pt idx="97">
                  <c:v>44494</c:v>
                </c:pt>
                <c:pt idx="98">
                  <c:v>44495</c:v>
                </c:pt>
                <c:pt idx="99">
                  <c:v>44496</c:v>
                </c:pt>
                <c:pt idx="100">
                  <c:v>44497</c:v>
                </c:pt>
                <c:pt idx="101">
                  <c:v>44498</c:v>
                </c:pt>
                <c:pt idx="102">
                  <c:v>44499</c:v>
                </c:pt>
                <c:pt idx="103">
                  <c:v>44500</c:v>
                </c:pt>
                <c:pt idx="104">
                  <c:v>44501</c:v>
                </c:pt>
                <c:pt idx="105">
                  <c:v>44502</c:v>
                </c:pt>
                <c:pt idx="106">
                  <c:v>44503</c:v>
                </c:pt>
                <c:pt idx="107">
                  <c:v>44504</c:v>
                </c:pt>
                <c:pt idx="108">
                  <c:v>44505</c:v>
                </c:pt>
                <c:pt idx="109">
                  <c:v>44506</c:v>
                </c:pt>
                <c:pt idx="110">
                  <c:v>44507</c:v>
                </c:pt>
                <c:pt idx="111">
                  <c:v>44508</c:v>
                </c:pt>
                <c:pt idx="112">
                  <c:v>44509</c:v>
                </c:pt>
                <c:pt idx="113">
                  <c:v>44510</c:v>
                </c:pt>
                <c:pt idx="114">
                  <c:v>44511</c:v>
                </c:pt>
                <c:pt idx="115">
                  <c:v>44512</c:v>
                </c:pt>
                <c:pt idx="116">
                  <c:v>44513</c:v>
                </c:pt>
                <c:pt idx="117">
                  <c:v>44514</c:v>
                </c:pt>
                <c:pt idx="118">
                  <c:v>44515</c:v>
                </c:pt>
                <c:pt idx="119">
                  <c:v>44516</c:v>
                </c:pt>
                <c:pt idx="120">
                  <c:v>44517</c:v>
                </c:pt>
                <c:pt idx="121">
                  <c:v>44518</c:v>
                </c:pt>
                <c:pt idx="122">
                  <c:v>44519</c:v>
                </c:pt>
                <c:pt idx="123">
                  <c:v>44520</c:v>
                </c:pt>
                <c:pt idx="124">
                  <c:v>44521</c:v>
                </c:pt>
                <c:pt idx="125">
                  <c:v>44522</c:v>
                </c:pt>
                <c:pt idx="126">
                  <c:v>44523</c:v>
                </c:pt>
                <c:pt idx="127">
                  <c:v>44524</c:v>
                </c:pt>
                <c:pt idx="128">
                  <c:v>44525</c:v>
                </c:pt>
                <c:pt idx="129">
                  <c:v>44526</c:v>
                </c:pt>
                <c:pt idx="130">
                  <c:v>44527</c:v>
                </c:pt>
                <c:pt idx="131">
                  <c:v>44528</c:v>
                </c:pt>
                <c:pt idx="132">
                  <c:v>44529</c:v>
                </c:pt>
                <c:pt idx="133">
                  <c:v>44530</c:v>
                </c:pt>
                <c:pt idx="134">
                  <c:v>44531</c:v>
                </c:pt>
                <c:pt idx="135">
                  <c:v>44532</c:v>
                </c:pt>
                <c:pt idx="136">
                  <c:v>44533</c:v>
                </c:pt>
                <c:pt idx="137">
                  <c:v>44534</c:v>
                </c:pt>
                <c:pt idx="138">
                  <c:v>44535</c:v>
                </c:pt>
                <c:pt idx="139">
                  <c:v>44536</c:v>
                </c:pt>
                <c:pt idx="140">
                  <c:v>44537</c:v>
                </c:pt>
                <c:pt idx="141">
                  <c:v>44538</c:v>
                </c:pt>
                <c:pt idx="142">
                  <c:v>44539</c:v>
                </c:pt>
                <c:pt idx="143">
                  <c:v>44540</c:v>
                </c:pt>
                <c:pt idx="144">
                  <c:v>44541</c:v>
                </c:pt>
                <c:pt idx="145">
                  <c:v>44542</c:v>
                </c:pt>
                <c:pt idx="146">
                  <c:v>44543</c:v>
                </c:pt>
                <c:pt idx="147">
                  <c:v>44544</c:v>
                </c:pt>
                <c:pt idx="148">
                  <c:v>44545</c:v>
                </c:pt>
                <c:pt idx="149">
                  <c:v>44546</c:v>
                </c:pt>
                <c:pt idx="150">
                  <c:v>44547</c:v>
                </c:pt>
                <c:pt idx="151">
                  <c:v>44548</c:v>
                </c:pt>
                <c:pt idx="152">
                  <c:v>44549</c:v>
                </c:pt>
                <c:pt idx="153">
                  <c:v>44550</c:v>
                </c:pt>
                <c:pt idx="154">
                  <c:v>44551</c:v>
                </c:pt>
                <c:pt idx="155">
                  <c:v>44552</c:v>
                </c:pt>
                <c:pt idx="156">
                  <c:v>44553</c:v>
                </c:pt>
                <c:pt idx="157">
                  <c:v>44554</c:v>
                </c:pt>
                <c:pt idx="158">
                  <c:v>44555</c:v>
                </c:pt>
                <c:pt idx="159">
                  <c:v>44556</c:v>
                </c:pt>
                <c:pt idx="160">
                  <c:v>44557</c:v>
                </c:pt>
                <c:pt idx="161">
                  <c:v>44558</c:v>
                </c:pt>
                <c:pt idx="162">
                  <c:v>44559</c:v>
                </c:pt>
                <c:pt idx="163">
                  <c:v>44560</c:v>
                </c:pt>
                <c:pt idx="164">
                  <c:v>44561</c:v>
                </c:pt>
                <c:pt idx="165">
                  <c:v>44562</c:v>
                </c:pt>
                <c:pt idx="166">
                  <c:v>44563</c:v>
                </c:pt>
                <c:pt idx="167">
                  <c:v>44564</c:v>
                </c:pt>
                <c:pt idx="168">
                  <c:v>44565</c:v>
                </c:pt>
                <c:pt idx="169">
                  <c:v>44566</c:v>
                </c:pt>
                <c:pt idx="170">
                  <c:v>44567</c:v>
                </c:pt>
                <c:pt idx="171">
                  <c:v>44568</c:v>
                </c:pt>
                <c:pt idx="172">
                  <c:v>44569</c:v>
                </c:pt>
                <c:pt idx="173">
                  <c:v>44570</c:v>
                </c:pt>
                <c:pt idx="174">
                  <c:v>44571</c:v>
                </c:pt>
                <c:pt idx="175">
                  <c:v>44572</c:v>
                </c:pt>
                <c:pt idx="176">
                  <c:v>44573</c:v>
                </c:pt>
                <c:pt idx="177">
                  <c:v>44574</c:v>
                </c:pt>
                <c:pt idx="178">
                  <c:v>44575</c:v>
                </c:pt>
                <c:pt idx="179">
                  <c:v>44576</c:v>
                </c:pt>
                <c:pt idx="180">
                  <c:v>44577</c:v>
                </c:pt>
                <c:pt idx="181">
                  <c:v>44578</c:v>
                </c:pt>
                <c:pt idx="182">
                  <c:v>44579</c:v>
                </c:pt>
              </c:numCache>
            </c:numRef>
          </c:cat>
          <c:val>
            <c:numRef>
              <c:f>Sheet1!$B$2:$B$184</c:f>
              <c:numCache>
                <c:formatCode>#\ ##0_ ;\-#\ ##0\ </c:formatCode>
                <c:ptCount val="183"/>
                <c:pt idx="0">
                  <c:v>0</c:v>
                </c:pt>
                <c:pt idx="1">
                  <c:v>1</c:v>
                </c:pt>
                <c:pt idx="2">
                  <c:v>0</c:v>
                </c:pt>
                <c:pt idx="3">
                  <c:v>0</c:v>
                </c:pt>
                <c:pt idx="4">
                  <c:v>0</c:v>
                </c:pt>
                <c:pt idx="5">
                  <c:v>0</c:v>
                </c:pt>
                <c:pt idx="6">
                  <c:v>0</c:v>
                </c:pt>
                <c:pt idx="7">
                  <c:v>1</c:v>
                </c:pt>
                <c:pt idx="8">
                  <c:v>2</c:v>
                </c:pt>
                <c:pt idx="9">
                  <c:v>0</c:v>
                </c:pt>
                <c:pt idx="10">
                  <c:v>0</c:v>
                </c:pt>
                <c:pt idx="11">
                  <c:v>0</c:v>
                </c:pt>
                <c:pt idx="12">
                  <c:v>0</c:v>
                </c:pt>
                <c:pt idx="13">
                  <c:v>0</c:v>
                </c:pt>
                <c:pt idx="14">
                  <c:v>0</c:v>
                </c:pt>
                <c:pt idx="15">
                  <c:v>0</c:v>
                </c:pt>
                <c:pt idx="16">
                  <c:v>0</c:v>
                </c:pt>
                <c:pt idx="17">
                  <c:v>0</c:v>
                </c:pt>
                <c:pt idx="18">
                  <c:v>0</c:v>
                </c:pt>
                <c:pt idx="19">
                  <c:v>1</c:v>
                </c:pt>
                <c:pt idx="20">
                  <c:v>0</c:v>
                </c:pt>
                <c:pt idx="21">
                  <c:v>0</c:v>
                </c:pt>
                <c:pt idx="22">
                  <c:v>1</c:v>
                </c:pt>
                <c:pt idx="23">
                  <c:v>0</c:v>
                </c:pt>
                <c:pt idx="24">
                  <c:v>0</c:v>
                </c:pt>
                <c:pt idx="25">
                  <c:v>0</c:v>
                </c:pt>
                <c:pt idx="26">
                  <c:v>0</c:v>
                </c:pt>
                <c:pt idx="27">
                  <c:v>0</c:v>
                </c:pt>
                <c:pt idx="28">
                  <c:v>0</c:v>
                </c:pt>
                <c:pt idx="29">
                  <c:v>0</c:v>
                </c:pt>
                <c:pt idx="30">
                  <c:v>0</c:v>
                </c:pt>
                <c:pt idx="31">
                  <c:v>0</c:v>
                </c:pt>
                <c:pt idx="32">
                  <c:v>0</c:v>
                </c:pt>
                <c:pt idx="33">
                  <c:v>0</c:v>
                </c:pt>
                <c:pt idx="34">
                  <c:v>1</c:v>
                </c:pt>
                <c:pt idx="35">
                  <c:v>0</c:v>
                </c:pt>
                <c:pt idx="36">
                  <c:v>0</c:v>
                </c:pt>
                <c:pt idx="37">
                  <c:v>1</c:v>
                </c:pt>
                <c:pt idx="38">
                  <c:v>1</c:v>
                </c:pt>
                <c:pt idx="39">
                  <c:v>1</c:v>
                </c:pt>
                <c:pt idx="40">
                  <c:v>0</c:v>
                </c:pt>
                <c:pt idx="41">
                  <c:v>0</c:v>
                </c:pt>
                <c:pt idx="42">
                  <c:v>0</c:v>
                </c:pt>
                <c:pt idx="43">
                  <c:v>3</c:v>
                </c:pt>
                <c:pt idx="44">
                  <c:v>1</c:v>
                </c:pt>
                <c:pt idx="45">
                  <c:v>1</c:v>
                </c:pt>
                <c:pt idx="46">
                  <c:v>0</c:v>
                </c:pt>
                <c:pt idx="47">
                  <c:v>0</c:v>
                </c:pt>
                <c:pt idx="48">
                  <c:v>1</c:v>
                </c:pt>
                <c:pt idx="49">
                  <c:v>2</c:v>
                </c:pt>
                <c:pt idx="50">
                  <c:v>1</c:v>
                </c:pt>
                <c:pt idx="51">
                  <c:v>1</c:v>
                </c:pt>
                <c:pt idx="52">
                  <c:v>0</c:v>
                </c:pt>
                <c:pt idx="53">
                  <c:v>0</c:v>
                </c:pt>
                <c:pt idx="54">
                  <c:v>1</c:v>
                </c:pt>
                <c:pt idx="55">
                  <c:v>0</c:v>
                </c:pt>
                <c:pt idx="56">
                  <c:v>1</c:v>
                </c:pt>
                <c:pt idx="57">
                  <c:v>0</c:v>
                </c:pt>
                <c:pt idx="58">
                  <c:v>0</c:v>
                </c:pt>
                <c:pt idx="59">
                  <c:v>0</c:v>
                </c:pt>
                <c:pt idx="60">
                  <c:v>1</c:v>
                </c:pt>
                <c:pt idx="61">
                  <c:v>0</c:v>
                </c:pt>
                <c:pt idx="62">
                  <c:v>4</c:v>
                </c:pt>
                <c:pt idx="63">
                  <c:v>4</c:v>
                </c:pt>
                <c:pt idx="64">
                  <c:v>2</c:v>
                </c:pt>
                <c:pt idx="65">
                  <c:v>0</c:v>
                </c:pt>
                <c:pt idx="66">
                  <c:v>0</c:v>
                </c:pt>
                <c:pt idx="67">
                  <c:v>1</c:v>
                </c:pt>
                <c:pt idx="68">
                  <c:v>1</c:v>
                </c:pt>
                <c:pt idx="69">
                  <c:v>5</c:v>
                </c:pt>
                <c:pt idx="70">
                  <c:v>2</c:v>
                </c:pt>
                <c:pt idx="71">
                  <c:v>7</c:v>
                </c:pt>
                <c:pt idx="72">
                  <c:v>3</c:v>
                </c:pt>
                <c:pt idx="73">
                  <c:v>2</c:v>
                </c:pt>
                <c:pt idx="74">
                  <c:v>0</c:v>
                </c:pt>
                <c:pt idx="75">
                  <c:v>0</c:v>
                </c:pt>
                <c:pt idx="76">
                  <c:v>3</c:v>
                </c:pt>
                <c:pt idx="77">
                  <c:v>5</c:v>
                </c:pt>
                <c:pt idx="78">
                  <c:v>2</c:v>
                </c:pt>
                <c:pt idx="79">
                  <c:v>1</c:v>
                </c:pt>
                <c:pt idx="80">
                  <c:v>2</c:v>
                </c:pt>
                <c:pt idx="81">
                  <c:v>1</c:v>
                </c:pt>
                <c:pt idx="82">
                  <c:v>0</c:v>
                </c:pt>
                <c:pt idx="83">
                  <c:v>2</c:v>
                </c:pt>
                <c:pt idx="84">
                  <c:v>3</c:v>
                </c:pt>
                <c:pt idx="85">
                  <c:v>1</c:v>
                </c:pt>
                <c:pt idx="86">
                  <c:v>3</c:v>
                </c:pt>
                <c:pt idx="87">
                  <c:v>6</c:v>
                </c:pt>
                <c:pt idx="88">
                  <c:v>2</c:v>
                </c:pt>
                <c:pt idx="89">
                  <c:v>1</c:v>
                </c:pt>
                <c:pt idx="90">
                  <c:v>12</c:v>
                </c:pt>
                <c:pt idx="91">
                  <c:v>8</c:v>
                </c:pt>
                <c:pt idx="92">
                  <c:v>9</c:v>
                </c:pt>
                <c:pt idx="93">
                  <c:v>7</c:v>
                </c:pt>
                <c:pt idx="94">
                  <c:v>10</c:v>
                </c:pt>
                <c:pt idx="95">
                  <c:v>0</c:v>
                </c:pt>
                <c:pt idx="96">
                  <c:v>3</c:v>
                </c:pt>
                <c:pt idx="97">
                  <c:v>19</c:v>
                </c:pt>
                <c:pt idx="98">
                  <c:v>5</c:v>
                </c:pt>
                <c:pt idx="99">
                  <c:v>17</c:v>
                </c:pt>
                <c:pt idx="100">
                  <c:v>3</c:v>
                </c:pt>
                <c:pt idx="101">
                  <c:v>8</c:v>
                </c:pt>
                <c:pt idx="102">
                  <c:v>5</c:v>
                </c:pt>
                <c:pt idx="103">
                  <c:v>4</c:v>
                </c:pt>
                <c:pt idx="104">
                  <c:v>41</c:v>
                </c:pt>
                <c:pt idx="105">
                  <c:v>25</c:v>
                </c:pt>
                <c:pt idx="106">
                  <c:v>19</c:v>
                </c:pt>
                <c:pt idx="107">
                  <c:v>24</c:v>
                </c:pt>
                <c:pt idx="108">
                  <c:v>27</c:v>
                </c:pt>
                <c:pt idx="109">
                  <c:v>13</c:v>
                </c:pt>
                <c:pt idx="110">
                  <c:v>5</c:v>
                </c:pt>
                <c:pt idx="111">
                  <c:v>51</c:v>
                </c:pt>
                <c:pt idx="112">
                  <c:v>25</c:v>
                </c:pt>
                <c:pt idx="113">
                  <c:v>29</c:v>
                </c:pt>
                <c:pt idx="114">
                  <c:v>36</c:v>
                </c:pt>
                <c:pt idx="115">
                  <c:v>34</c:v>
                </c:pt>
                <c:pt idx="116">
                  <c:v>20</c:v>
                </c:pt>
                <c:pt idx="117">
                  <c:v>14</c:v>
                </c:pt>
                <c:pt idx="118">
                  <c:v>55</c:v>
                </c:pt>
                <c:pt idx="119">
                  <c:v>33</c:v>
                </c:pt>
                <c:pt idx="120">
                  <c:v>13</c:v>
                </c:pt>
                <c:pt idx="121">
                  <c:v>42</c:v>
                </c:pt>
                <c:pt idx="122">
                  <c:v>52</c:v>
                </c:pt>
                <c:pt idx="123">
                  <c:v>11</c:v>
                </c:pt>
                <c:pt idx="124">
                  <c:v>7</c:v>
                </c:pt>
                <c:pt idx="125">
                  <c:v>68</c:v>
                </c:pt>
                <c:pt idx="126">
                  <c:v>44</c:v>
                </c:pt>
                <c:pt idx="127">
                  <c:v>45</c:v>
                </c:pt>
                <c:pt idx="128">
                  <c:v>49</c:v>
                </c:pt>
                <c:pt idx="129">
                  <c:v>48</c:v>
                </c:pt>
                <c:pt idx="130">
                  <c:v>22</c:v>
                </c:pt>
                <c:pt idx="131">
                  <c:v>8</c:v>
                </c:pt>
                <c:pt idx="132">
                  <c:v>43</c:v>
                </c:pt>
                <c:pt idx="133">
                  <c:v>48</c:v>
                </c:pt>
                <c:pt idx="134">
                  <c:v>40</c:v>
                </c:pt>
                <c:pt idx="135">
                  <c:v>32</c:v>
                </c:pt>
                <c:pt idx="136">
                  <c:v>28</c:v>
                </c:pt>
                <c:pt idx="137">
                  <c:v>21</c:v>
                </c:pt>
                <c:pt idx="138">
                  <c:v>9</c:v>
                </c:pt>
                <c:pt idx="139">
                  <c:v>48</c:v>
                </c:pt>
                <c:pt idx="140">
                  <c:v>35</c:v>
                </c:pt>
                <c:pt idx="141">
                  <c:v>34</c:v>
                </c:pt>
                <c:pt idx="142">
                  <c:v>25</c:v>
                </c:pt>
                <c:pt idx="143">
                  <c:v>18</c:v>
                </c:pt>
                <c:pt idx="144">
                  <c:v>13</c:v>
                </c:pt>
                <c:pt idx="145">
                  <c:v>7</c:v>
                </c:pt>
                <c:pt idx="146">
                  <c:v>30</c:v>
                </c:pt>
                <c:pt idx="147">
                  <c:v>36</c:v>
                </c:pt>
                <c:pt idx="148">
                  <c:v>28</c:v>
                </c:pt>
                <c:pt idx="149">
                  <c:v>17</c:v>
                </c:pt>
                <c:pt idx="150">
                  <c:v>14</c:v>
                </c:pt>
                <c:pt idx="151">
                  <c:v>8</c:v>
                </c:pt>
                <c:pt idx="152">
                  <c:v>10</c:v>
                </c:pt>
                <c:pt idx="153">
                  <c:v>25</c:v>
                </c:pt>
                <c:pt idx="154">
                  <c:v>12</c:v>
                </c:pt>
                <c:pt idx="155">
                  <c:v>8</c:v>
                </c:pt>
                <c:pt idx="156">
                  <c:v>4</c:v>
                </c:pt>
                <c:pt idx="157">
                  <c:v>7</c:v>
                </c:pt>
                <c:pt idx="158">
                  <c:v>3</c:v>
                </c:pt>
                <c:pt idx="159">
                  <c:v>4</c:v>
                </c:pt>
                <c:pt idx="160" formatCode="General">
                  <c:v>9</c:v>
                </c:pt>
                <c:pt idx="161" formatCode="General">
                  <c:v>17</c:v>
                </c:pt>
                <c:pt idx="162" formatCode="General">
                  <c:v>8</c:v>
                </c:pt>
                <c:pt idx="163" formatCode="General">
                  <c:v>9</c:v>
                </c:pt>
                <c:pt idx="164" formatCode="General">
                  <c:v>5</c:v>
                </c:pt>
                <c:pt idx="165" formatCode="General">
                  <c:v>0</c:v>
                </c:pt>
                <c:pt idx="166" formatCode="General">
                  <c:v>1</c:v>
                </c:pt>
                <c:pt idx="167" formatCode="General">
                  <c:v>14</c:v>
                </c:pt>
                <c:pt idx="168" formatCode="General">
                  <c:v>18</c:v>
                </c:pt>
                <c:pt idx="169" formatCode="General">
                  <c:v>8</c:v>
                </c:pt>
                <c:pt idx="170" formatCode="General">
                  <c:v>9</c:v>
                </c:pt>
                <c:pt idx="171" formatCode="General">
                  <c:v>7</c:v>
                </c:pt>
                <c:pt idx="172" formatCode="General">
                  <c:v>5</c:v>
                </c:pt>
                <c:pt idx="173" formatCode="General">
                  <c:v>2</c:v>
                </c:pt>
                <c:pt idx="174" formatCode="General">
                  <c:v>13</c:v>
                </c:pt>
                <c:pt idx="175" formatCode="General">
                  <c:v>15</c:v>
                </c:pt>
                <c:pt idx="176" formatCode="General">
                  <c:v>12</c:v>
                </c:pt>
                <c:pt idx="177" formatCode="General">
                  <c:v>20</c:v>
                </c:pt>
                <c:pt idx="178" formatCode="General">
                  <c:v>17</c:v>
                </c:pt>
                <c:pt idx="179" formatCode="General">
                  <c:v>9</c:v>
                </c:pt>
                <c:pt idx="180" formatCode="General">
                  <c:v>6</c:v>
                </c:pt>
                <c:pt idx="181" formatCode="General">
                  <c:v>29</c:v>
                </c:pt>
                <c:pt idx="182" formatCode="General">
                  <c:v>22</c:v>
                </c:pt>
              </c:numCache>
            </c:numRef>
          </c:val>
          <c:extLst>
            <c:ext xmlns:c16="http://schemas.microsoft.com/office/drawing/2014/chart" uri="{C3380CC4-5D6E-409C-BE32-E72D297353CC}">
              <c16:uniqueId val="{00000001-D32B-4678-9FFD-46841F3CB3BA}"/>
            </c:ext>
          </c:extLst>
        </c:ser>
        <c:dLbls>
          <c:showLegendKey val="0"/>
          <c:showVal val="0"/>
          <c:showCatName val="0"/>
          <c:showSerName val="0"/>
          <c:showPercent val="0"/>
          <c:showBubbleSize val="0"/>
        </c:dLbls>
        <c:gapWidth val="20"/>
        <c:overlap val="-27"/>
        <c:axId val="529925759"/>
        <c:axId val="533925071"/>
      </c:barChart>
      <c:dateAx>
        <c:axId val="529925759"/>
        <c:scaling>
          <c:orientation val="minMax"/>
        </c:scaling>
        <c:delete val="0"/>
        <c:axPos val="b"/>
        <c:numFmt formatCode="dd/mm/yy;@" sourceLinked="0"/>
        <c:majorTickMark val="none"/>
        <c:minorTickMark val="none"/>
        <c:tickLblPos val="nextTo"/>
        <c:spPr>
          <a:noFill/>
          <a:ln w="9525" cap="flat" cmpd="sng" algn="ctr">
            <a:solidFill>
              <a:schemeClr val="tx1"/>
            </a:solidFill>
            <a:round/>
          </a:ln>
          <a:effectLst/>
        </c:spPr>
        <c:txPr>
          <a:bodyPr rot="-3600000" spcFirstLastPara="1" vertOverflow="ellipsis" wrap="square" anchor="ctr" anchorCtr="1"/>
          <a:lstStyle/>
          <a:p>
            <a:pPr>
              <a:defRPr sz="10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533925071"/>
        <c:crosses val="autoZero"/>
        <c:auto val="1"/>
        <c:lblOffset val="100"/>
        <c:baseTimeUnit val="days"/>
        <c:majorUnit val="7"/>
        <c:majorTimeUnit val="days"/>
      </c:dateAx>
      <c:valAx>
        <c:axId val="533925071"/>
        <c:scaling>
          <c:orientation val="minMax"/>
        </c:scaling>
        <c:delete val="0"/>
        <c:axPos val="l"/>
        <c:majorGridlines>
          <c:spPr>
            <a:ln w="9525" cap="flat" cmpd="sng" algn="ctr">
              <a:solidFill>
                <a:schemeClr val="bg1">
                  <a:lumMod val="85000"/>
                </a:schemeClr>
              </a:solidFill>
              <a:round/>
            </a:ln>
            <a:effectLst/>
          </c:spPr>
        </c:majorGridlines>
        <c:numFmt formatCode="#\ ##0_ ;\-#\ ##0\ "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529925759"/>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530977652557951"/>
          <c:w val="0.91692139603581668"/>
          <c:h val="0.71344666460445894"/>
        </c:manualLayout>
      </c:layout>
      <c:barChart>
        <c:barDir val="col"/>
        <c:grouping val="clustered"/>
        <c:varyColors val="0"/>
        <c:ser>
          <c:idx val="0"/>
          <c:order val="0"/>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62:$A$171</c:f>
              <c:numCache>
                <c:formatCode>m/d/yyyy</c:formatCode>
                <c:ptCount val="110"/>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pt idx="96">
                  <c:v>44566</c:v>
                </c:pt>
                <c:pt idx="97">
                  <c:v>44567</c:v>
                </c:pt>
                <c:pt idx="98">
                  <c:v>44568</c:v>
                </c:pt>
                <c:pt idx="99">
                  <c:v>44569</c:v>
                </c:pt>
                <c:pt idx="100">
                  <c:v>44570</c:v>
                </c:pt>
                <c:pt idx="101">
                  <c:v>44571</c:v>
                </c:pt>
                <c:pt idx="102">
                  <c:v>44572</c:v>
                </c:pt>
                <c:pt idx="103">
                  <c:v>44573</c:v>
                </c:pt>
                <c:pt idx="104">
                  <c:v>44574</c:v>
                </c:pt>
                <c:pt idx="105">
                  <c:v>44575</c:v>
                </c:pt>
                <c:pt idx="106">
                  <c:v>44576</c:v>
                </c:pt>
                <c:pt idx="107">
                  <c:v>44577</c:v>
                </c:pt>
                <c:pt idx="108">
                  <c:v>44578</c:v>
                </c:pt>
                <c:pt idx="109">
                  <c:v>44579</c:v>
                </c:pt>
              </c:numCache>
            </c:numRef>
          </c:cat>
          <c:val>
            <c:numRef>
              <c:f>Sheet1!$B$62:$B$171</c:f>
              <c:numCache>
                <c:formatCode>General</c:formatCode>
                <c:ptCount val="110"/>
                <c:pt idx="0">
                  <c:v>829</c:v>
                </c:pt>
                <c:pt idx="1">
                  <c:v>552</c:v>
                </c:pt>
                <c:pt idx="2">
                  <c:v>318</c:v>
                </c:pt>
                <c:pt idx="3">
                  <c:v>812</c:v>
                </c:pt>
                <c:pt idx="4">
                  <c:v>1119</c:v>
                </c:pt>
                <c:pt idx="5">
                  <c:v>1048</c:v>
                </c:pt>
                <c:pt idx="6">
                  <c:v>992</c:v>
                </c:pt>
                <c:pt idx="7">
                  <c:v>1018</c:v>
                </c:pt>
                <c:pt idx="8">
                  <c:v>667</c:v>
                </c:pt>
                <c:pt idx="9">
                  <c:v>336</c:v>
                </c:pt>
                <c:pt idx="10">
                  <c:v>1344</c:v>
                </c:pt>
                <c:pt idx="11">
                  <c:v>1507</c:v>
                </c:pt>
                <c:pt idx="12">
                  <c:v>1500</c:v>
                </c:pt>
                <c:pt idx="13">
                  <c:v>1540</c:v>
                </c:pt>
                <c:pt idx="14">
                  <c:v>1781</c:v>
                </c:pt>
                <c:pt idx="15">
                  <c:v>1158</c:v>
                </c:pt>
                <c:pt idx="16">
                  <c:v>796</c:v>
                </c:pt>
                <c:pt idx="17">
                  <c:v>2538</c:v>
                </c:pt>
                <c:pt idx="18">
                  <c:v>3249</c:v>
                </c:pt>
                <c:pt idx="19">
                  <c:v>3278</c:v>
                </c:pt>
                <c:pt idx="20">
                  <c:v>3644</c:v>
                </c:pt>
                <c:pt idx="21">
                  <c:v>4238</c:v>
                </c:pt>
                <c:pt idx="22">
                  <c:v>2756</c:v>
                </c:pt>
                <c:pt idx="23">
                  <c:v>1839</c:v>
                </c:pt>
                <c:pt idx="24">
                  <c:v>4287</c:v>
                </c:pt>
                <c:pt idx="25">
                  <c:v>6290</c:v>
                </c:pt>
                <c:pt idx="26">
                  <c:v>5865</c:v>
                </c:pt>
                <c:pt idx="27">
                  <c:v>4357</c:v>
                </c:pt>
                <c:pt idx="28">
                  <c:v>5757</c:v>
                </c:pt>
                <c:pt idx="29">
                  <c:v>5059</c:v>
                </c:pt>
                <c:pt idx="30">
                  <c:v>2792</c:v>
                </c:pt>
                <c:pt idx="31">
                  <c:v>7615</c:v>
                </c:pt>
                <c:pt idx="32">
                  <c:v>9940</c:v>
                </c:pt>
                <c:pt idx="33">
                  <c:v>9483</c:v>
                </c:pt>
                <c:pt idx="34">
                  <c:v>8493</c:v>
                </c:pt>
                <c:pt idx="35">
                  <c:v>9255</c:v>
                </c:pt>
                <c:pt idx="36">
                  <c:v>5744</c:v>
                </c:pt>
                <c:pt idx="37">
                  <c:v>3011</c:v>
                </c:pt>
                <c:pt idx="38">
                  <c:v>9287</c:v>
                </c:pt>
                <c:pt idx="39">
                  <c:v>14583</c:v>
                </c:pt>
                <c:pt idx="40">
                  <c:v>13568</c:v>
                </c:pt>
                <c:pt idx="41">
                  <c:v>10451</c:v>
                </c:pt>
                <c:pt idx="42">
                  <c:v>14259</c:v>
                </c:pt>
                <c:pt idx="43">
                  <c:v>9180</c:v>
                </c:pt>
                <c:pt idx="44">
                  <c:v>5696</c:v>
                </c:pt>
                <c:pt idx="45">
                  <c:v>11562</c:v>
                </c:pt>
                <c:pt idx="46">
                  <c:v>22536</c:v>
                </c:pt>
                <c:pt idx="47">
                  <c:v>14188</c:v>
                </c:pt>
                <c:pt idx="48">
                  <c:v>13513</c:v>
                </c:pt>
                <c:pt idx="49">
                  <c:v>22970</c:v>
                </c:pt>
                <c:pt idx="50">
                  <c:v>14414</c:v>
                </c:pt>
                <c:pt idx="51">
                  <c:v>8277</c:v>
                </c:pt>
                <c:pt idx="52">
                  <c:v>14515</c:v>
                </c:pt>
                <c:pt idx="53">
                  <c:v>25911</c:v>
                </c:pt>
                <c:pt idx="54">
                  <c:v>18044</c:v>
                </c:pt>
                <c:pt idx="55">
                  <c:v>27937</c:v>
                </c:pt>
                <c:pt idx="56">
                  <c:v>20378</c:v>
                </c:pt>
                <c:pt idx="57">
                  <c:v>12528</c:v>
                </c:pt>
                <c:pt idx="58">
                  <c:v>9305</c:v>
                </c:pt>
                <c:pt idx="59">
                  <c:v>17614</c:v>
                </c:pt>
                <c:pt idx="60">
                  <c:v>22020</c:v>
                </c:pt>
                <c:pt idx="61">
                  <c:v>21153</c:v>
                </c:pt>
                <c:pt idx="62">
                  <c:v>18618</c:v>
                </c:pt>
                <c:pt idx="63">
                  <c:v>17684</c:v>
                </c:pt>
                <c:pt idx="64">
                  <c:v>10982</c:v>
                </c:pt>
                <c:pt idx="65">
                  <c:v>6334</c:v>
                </c:pt>
                <c:pt idx="66">
                  <c:v>15572</c:v>
                </c:pt>
                <c:pt idx="67">
                  <c:v>19529</c:v>
                </c:pt>
                <c:pt idx="68">
                  <c:v>16203</c:v>
                </c:pt>
                <c:pt idx="69">
                  <c:v>14264</c:v>
                </c:pt>
                <c:pt idx="70">
                  <c:v>12399</c:v>
                </c:pt>
                <c:pt idx="71">
                  <c:v>9085</c:v>
                </c:pt>
                <c:pt idx="72">
                  <c:v>4125</c:v>
                </c:pt>
                <c:pt idx="73">
                  <c:v>11903</c:v>
                </c:pt>
                <c:pt idx="74">
                  <c:v>16704</c:v>
                </c:pt>
                <c:pt idx="75">
                  <c:v>11617</c:v>
                </c:pt>
                <c:pt idx="76">
                  <c:v>9498</c:v>
                </c:pt>
                <c:pt idx="77">
                  <c:v>8961</c:v>
                </c:pt>
                <c:pt idx="78">
                  <c:v>5984</c:v>
                </c:pt>
                <c:pt idx="79">
                  <c:v>3742</c:v>
                </c:pt>
                <c:pt idx="80">
                  <c:v>8598</c:v>
                </c:pt>
                <c:pt idx="81">
                  <c:v>11841</c:v>
                </c:pt>
                <c:pt idx="82">
                  <c:v>7693</c:v>
                </c:pt>
                <c:pt idx="83">
                  <c:v>7359</c:v>
                </c:pt>
                <c:pt idx="84">
                  <c:v>2045</c:v>
                </c:pt>
                <c:pt idx="85">
                  <c:v>1089</c:v>
                </c:pt>
                <c:pt idx="86">
                  <c:v>2014</c:v>
                </c:pt>
                <c:pt idx="87">
                  <c:v>6859</c:v>
                </c:pt>
                <c:pt idx="88">
                  <c:v>9079</c:v>
                </c:pt>
                <c:pt idx="89">
                  <c:v>6155</c:v>
                </c:pt>
                <c:pt idx="90">
                  <c:v>5755</c:v>
                </c:pt>
                <c:pt idx="91">
                  <c:v>4995</c:v>
                </c:pt>
                <c:pt idx="92">
                  <c:v>1090</c:v>
                </c:pt>
                <c:pt idx="93">
                  <c:v>1926</c:v>
                </c:pt>
                <c:pt idx="94">
                  <c:v>9342</c:v>
                </c:pt>
                <c:pt idx="95">
                  <c:v>10174</c:v>
                </c:pt>
                <c:pt idx="96">
                  <c:v>7381</c:v>
                </c:pt>
                <c:pt idx="97">
                  <c:v>6636</c:v>
                </c:pt>
                <c:pt idx="98">
                  <c:v>6666</c:v>
                </c:pt>
                <c:pt idx="99">
                  <c:v>3960</c:v>
                </c:pt>
                <c:pt idx="100">
                  <c:v>2762</c:v>
                </c:pt>
                <c:pt idx="101">
                  <c:v>7342</c:v>
                </c:pt>
                <c:pt idx="102">
                  <c:v>12371</c:v>
                </c:pt>
                <c:pt idx="103">
                  <c:v>11453</c:v>
                </c:pt>
                <c:pt idx="104">
                  <c:v>11682</c:v>
                </c:pt>
                <c:pt idx="105">
                  <c:v>13217</c:v>
                </c:pt>
                <c:pt idx="106">
                  <c:v>9290</c:v>
                </c:pt>
                <c:pt idx="107">
                  <c:v>7244</c:v>
                </c:pt>
                <c:pt idx="108">
                  <c:v>20291</c:v>
                </c:pt>
                <c:pt idx="109">
                  <c:v>28469</c:v>
                </c:pt>
              </c:numCache>
            </c:numRef>
          </c:val>
          <c:extLst>
            <c:ext xmlns:c16="http://schemas.microsoft.com/office/drawing/2014/chart" uri="{C3380CC4-5D6E-409C-BE32-E72D297353CC}">
              <c16:uniqueId val="{00000000-898E-4EA0-96EE-517E285EEC5E}"/>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8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1"/>
        <c:majorTimeUnit val="days"/>
      </c:dateAx>
      <c:valAx>
        <c:axId val="419321824"/>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cs-CZ"/>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19856463840257E-2"/>
          <c:y val="2.8049443959542598E-2"/>
          <c:w val="0.80334957098880577"/>
          <c:h val="0.7587762916834988"/>
        </c:manualLayout>
      </c:layout>
      <c:lineChart>
        <c:grouping val="standard"/>
        <c:varyColors val="0"/>
        <c:ser>
          <c:idx val="0"/>
          <c:order val="0"/>
          <c:tx>
            <c:strRef>
              <c:f>List1!$A$2</c:f>
              <c:strCache>
                <c:ptCount val="1"/>
                <c:pt idx="0">
                  <c:v>20-34 let</c:v>
                </c:pt>
              </c:strCache>
            </c:strRef>
          </c:tx>
          <c:spPr>
            <a:ln w="28575" cap="rnd">
              <a:solidFill>
                <a:srgbClr val="00B0F0"/>
              </a:solidFill>
              <a:round/>
            </a:ln>
            <a:effectLst/>
          </c:spPr>
          <c:marker>
            <c:symbol val="none"/>
          </c:marker>
          <c:cat>
            <c:strRef>
              <c:f>List1!$B$1:$R$1</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8.01</c:v>
                </c:pt>
              </c:strCache>
            </c:strRef>
          </c:cat>
          <c:val>
            <c:numRef>
              <c:f>List1!$B$2:$R$2</c:f>
              <c:numCache>
                <c:formatCode>General</c:formatCode>
                <c:ptCount val="17"/>
                <c:pt idx="0">
                  <c:v>41.039385707511002</c:v>
                </c:pt>
                <c:pt idx="1">
                  <c:v>60.788902421983003</c:v>
                </c:pt>
                <c:pt idx="2">
                  <c:v>70.031016093380003</c:v>
                </c:pt>
                <c:pt idx="3">
                  <c:v>111.785565358797</c:v>
                </c:pt>
                <c:pt idx="4">
                  <c:v>230.722766296652</c:v>
                </c:pt>
                <c:pt idx="5">
                  <c:v>370.34469783239399</c:v>
                </c:pt>
                <c:pt idx="6">
                  <c:v>577.19200381127098</c:v>
                </c:pt>
                <c:pt idx="7">
                  <c:v>765.72012019148701</c:v>
                </c:pt>
                <c:pt idx="8">
                  <c:v>968.33145740430803</c:v>
                </c:pt>
                <c:pt idx="9">
                  <c:v>1141.8411390685001</c:v>
                </c:pt>
                <c:pt idx="10">
                  <c:v>932.68330467177805</c:v>
                </c:pt>
                <c:pt idx="11">
                  <c:v>718.84940085797598</c:v>
                </c:pt>
                <c:pt idx="12">
                  <c:v>544.01941724072196</c:v>
                </c:pt>
                <c:pt idx="13">
                  <c:v>382.99759154918701</c:v>
                </c:pt>
                <c:pt idx="14">
                  <c:v>519.31876820228695</c:v>
                </c:pt>
                <c:pt idx="15">
                  <c:v>652.66926546101001</c:v>
                </c:pt>
                <c:pt idx="16">
                  <c:v>1156.3644605521199</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35-49 let</c:v>
                </c:pt>
              </c:strCache>
            </c:strRef>
          </c:tx>
          <c:spPr>
            <a:ln w="28575" cap="rnd">
              <a:solidFill>
                <a:srgbClr val="00B050"/>
              </a:solidFill>
              <a:round/>
            </a:ln>
            <a:effectLst/>
          </c:spPr>
          <c:marker>
            <c:symbol val="none"/>
          </c:marker>
          <c:cat>
            <c:strRef>
              <c:f>List1!$B$1:$R$1</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8.01</c:v>
                </c:pt>
              </c:strCache>
            </c:strRef>
          </c:cat>
          <c:val>
            <c:numRef>
              <c:f>List1!$B$3:$R$3</c:f>
              <c:numCache>
                <c:formatCode>General</c:formatCode>
                <c:ptCount val="17"/>
                <c:pt idx="0">
                  <c:v>34.595687123722001</c:v>
                </c:pt>
                <c:pt idx="1">
                  <c:v>54.127423625572</c:v>
                </c:pt>
                <c:pt idx="2">
                  <c:v>70.772891373099995</c:v>
                </c:pt>
                <c:pt idx="3">
                  <c:v>128.57734231582299</c:v>
                </c:pt>
                <c:pt idx="4">
                  <c:v>269.64866992432798</c:v>
                </c:pt>
                <c:pt idx="5">
                  <c:v>449.42762918326099</c:v>
                </c:pt>
                <c:pt idx="6">
                  <c:v>617.89874099375402</c:v>
                </c:pt>
                <c:pt idx="7">
                  <c:v>887.34972127737501</c:v>
                </c:pt>
                <c:pt idx="8">
                  <c:v>1215.0005317851301</c:v>
                </c:pt>
                <c:pt idx="9">
                  <c:v>1356.0718593936299</c:v>
                </c:pt>
                <c:pt idx="10">
                  <c:v>1182.8561962061699</c:v>
                </c:pt>
                <c:pt idx="11">
                  <c:v>911.50739537176901</c:v>
                </c:pt>
                <c:pt idx="12">
                  <c:v>666.92577188908604</c:v>
                </c:pt>
                <c:pt idx="13">
                  <c:v>439.50360921977</c:v>
                </c:pt>
                <c:pt idx="14">
                  <c:v>458.44227679949898</c:v>
                </c:pt>
                <c:pt idx="15">
                  <c:v>473.268999852523</c:v>
                </c:pt>
                <c:pt idx="16">
                  <c:v>1042.41747544793</c:v>
                </c:pt>
              </c:numCache>
            </c:numRef>
          </c:val>
          <c:smooth val="0"/>
          <c:extLst>
            <c:ext xmlns:c16="http://schemas.microsoft.com/office/drawing/2014/chart" uri="{C3380CC4-5D6E-409C-BE32-E72D297353CC}">
              <c16:uniqueId val="{00000001-E230-405E-9EEC-CAC00A93CD09}"/>
            </c:ext>
          </c:extLst>
        </c:ser>
        <c:ser>
          <c:idx val="2"/>
          <c:order val="2"/>
          <c:tx>
            <c:strRef>
              <c:f>List1!$A$4</c:f>
              <c:strCache>
                <c:ptCount val="1"/>
                <c:pt idx="0">
                  <c:v>50-64 let</c:v>
                </c:pt>
              </c:strCache>
            </c:strRef>
          </c:tx>
          <c:spPr>
            <a:ln w="28575" cap="rnd">
              <a:solidFill>
                <a:srgbClr val="C00000"/>
              </a:solidFill>
              <a:round/>
            </a:ln>
            <a:effectLst/>
          </c:spPr>
          <c:marker>
            <c:symbol val="none"/>
          </c:marker>
          <c:cat>
            <c:strRef>
              <c:f>List1!$B$1:$R$1</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8.01</c:v>
                </c:pt>
              </c:strCache>
            </c:strRef>
          </c:cat>
          <c:val>
            <c:numRef>
              <c:f>List1!$B$4:$R$4</c:f>
              <c:numCache>
                <c:formatCode>General</c:formatCode>
                <c:ptCount val="17"/>
                <c:pt idx="0">
                  <c:v>18.426395862418001</c:v>
                </c:pt>
                <c:pt idx="1">
                  <c:v>31.969293367856</c:v>
                </c:pt>
                <c:pt idx="2">
                  <c:v>42.843887647316002</c:v>
                </c:pt>
                <c:pt idx="3">
                  <c:v>80.804276937653</c:v>
                </c:pt>
                <c:pt idx="4">
                  <c:v>165.38445466678601</c:v>
                </c:pt>
                <c:pt idx="5">
                  <c:v>280.17183872775303</c:v>
                </c:pt>
                <c:pt idx="6">
                  <c:v>420.43396679523102</c:v>
                </c:pt>
                <c:pt idx="7">
                  <c:v>571.36930776662496</c:v>
                </c:pt>
                <c:pt idx="8">
                  <c:v>733.58200576856905</c:v>
                </c:pt>
                <c:pt idx="9">
                  <c:v>883.40974917446204</c:v>
                </c:pt>
                <c:pt idx="10">
                  <c:v>810.96279932194795</c:v>
                </c:pt>
                <c:pt idx="11">
                  <c:v>625.79262450781096</c:v>
                </c:pt>
                <c:pt idx="12">
                  <c:v>446.71423630392599</c:v>
                </c:pt>
                <c:pt idx="13">
                  <c:v>284.55188364586797</c:v>
                </c:pt>
                <c:pt idx="14">
                  <c:v>319.69293367856801</c:v>
                </c:pt>
                <c:pt idx="15">
                  <c:v>316.26945029429299</c:v>
                </c:pt>
                <c:pt idx="16">
                  <c:v>566.88857216073598</c:v>
                </c:pt>
              </c:numCache>
            </c:numRef>
          </c:val>
          <c:smooth val="0"/>
          <c:extLst>
            <c:ext xmlns:c16="http://schemas.microsoft.com/office/drawing/2014/chart" uri="{C3380CC4-5D6E-409C-BE32-E72D297353CC}">
              <c16:uniqueId val="{00000002-E230-405E-9EEC-CAC00A93CD09}"/>
            </c:ext>
          </c:extLst>
        </c:ser>
        <c:ser>
          <c:idx val="3"/>
          <c:order val="3"/>
          <c:tx>
            <c:strRef>
              <c:f>List1!$A$5</c:f>
              <c:strCache>
                <c:ptCount val="1"/>
                <c:pt idx="0">
                  <c:v>65-74 let</c:v>
                </c:pt>
              </c:strCache>
            </c:strRef>
          </c:tx>
          <c:spPr>
            <a:ln w="28575" cap="rnd">
              <a:solidFill>
                <a:srgbClr val="FFC000"/>
              </a:solidFill>
              <a:round/>
            </a:ln>
            <a:effectLst/>
          </c:spPr>
          <c:marker>
            <c:symbol val="none"/>
          </c:marker>
          <c:cat>
            <c:strRef>
              <c:f>List1!$B$1:$R$1</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8.01</c:v>
                </c:pt>
              </c:strCache>
            </c:strRef>
          </c:cat>
          <c:val>
            <c:numRef>
              <c:f>List1!$B$5:$R$5</c:f>
              <c:numCache>
                <c:formatCode>General</c:formatCode>
                <c:ptCount val="17"/>
                <c:pt idx="0">
                  <c:v>10.977160548703001</c:v>
                </c:pt>
                <c:pt idx="1">
                  <c:v>21.258585569672</c:v>
                </c:pt>
                <c:pt idx="2">
                  <c:v>23.655007942979999</c:v>
                </c:pt>
                <c:pt idx="3">
                  <c:v>46.150456673070003</c:v>
                </c:pt>
                <c:pt idx="4">
                  <c:v>99.490180466064999</c:v>
                </c:pt>
                <c:pt idx="5">
                  <c:v>170.532508242533</c:v>
                </c:pt>
                <c:pt idx="6">
                  <c:v>279.917593991937</c:v>
                </c:pt>
                <c:pt idx="7">
                  <c:v>374.92414550148999</c:v>
                </c:pt>
                <c:pt idx="8">
                  <c:v>472.481727279403</c:v>
                </c:pt>
                <c:pt idx="9">
                  <c:v>578.31083144260697</c:v>
                </c:pt>
                <c:pt idx="10">
                  <c:v>522.96120501393398</c:v>
                </c:pt>
                <c:pt idx="11">
                  <c:v>405.53650872181697</c:v>
                </c:pt>
                <c:pt idx="12">
                  <c:v>279.917593991937</c:v>
                </c:pt>
                <c:pt idx="13">
                  <c:v>164.96662402065499</c:v>
                </c:pt>
                <c:pt idx="14">
                  <c:v>179.42246220803199</c:v>
                </c:pt>
                <c:pt idx="15">
                  <c:v>145.09950950645199</c:v>
                </c:pt>
                <c:pt idx="16">
                  <c:v>191.79109381220499</c:v>
                </c:pt>
              </c:numCache>
            </c:numRef>
          </c:val>
          <c:smooth val="0"/>
          <c:extLst>
            <c:ext xmlns:c16="http://schemas.microsoft.com/office/drawing/2014/chart" uri="{C3380CC4-5D6E-409C-BE32-E72D297353CC}">
              <c16:uniqueId val="{00000003-E230-405E-9EEC-CAC00A93CD09}"/>
            </c:ext>
          </c:extLst>
        </c:ser>
        <c:ser>
          <c:idx val="4"/>
          <c:order val="4"/>
          <c:tx>
            <c:strRef>
              <c:f>List1!$A$6</c:f>
              <c:strCache>
                <c:ptCount val="1"/>
                <c:pt idx="0">
                  <c:v>75+ let</c:v>
                </c:pt>
              </c:strCache>
            </c:strRef>
          </c:tx>
          <c:spPr>
            <a:ln w="28575" cap="rnd">
              <a:solidFill>
                <a:schemeClr val="bg1">
                  <a:lumMod val="65000"/>
                </a:schemeClr>
              </a:solidFill>
              <a:round/>
            </a:ln>
            <a:effectLst/>
          </c:spPr>
          <c:marker>
            <c:symbol val="none"/>
          </c:marker>
          <c:cat>
            <c:strRef>
              <c:f>List1!$B$1:$R$1</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8.01</c:v>
                </c:pt>
              </c:strCache>
            </c:strRef>
          </c:cat>
          <c:val>
            <c:numRef>
              <c:f>List1!$B$6:$R$6</c:f>
              <c:numCache>
                <c:formatCode>General</c:formatCode>
                <c:ptCount val="17"/>
                <c:pt idx="0">
                  <c:v>10.986126257187999</c:v>
                </c:pt>
                <c:pt idx="1">
                  <c:v>22.319182817234999</c:v>
                </c:pt>
                <c:pt idx="2">
                  <c:v>33.883526245855002</c:v>
                </c:pt>
                <c:pt idx="3">
                  <c:v>59.903298960249003</c:v>
                </c:pt>
                <c:pt idx="4">
                  <c:v>120.26917165764399</c:v>
                </c:pt>
                <c:pt idx="5">
                  <c:v>195.321760509386</c:v>
                </c:pt>
                <c:pt idx="6">
                  <c:v>313.50935034987901</c:v>
                </c:pt>
                <c:pt idx="7">
                  <c:v>392.37817253306503</c:v>
                </c:pt>
                <c:pt idx="8">
                  <c:v>443.60821392184999</c:v>
                </c:pt>
                <c:pt idx="9">
                  <c:v>477.26045329913302</c:v>
                </c:pt>
                <c:pt idx="10">
                  <c:v>426.72427251606501</c:v>
                </c:pt>
                <c:pt idx="11">
                  <c:v>340.22298366999001</c:v>
                </c:pt>
                <c:pt idx="12">
                  <c:v>240.07576957814399</c:v>
                </c:pt>
                <c:pt idx="13">
                  <c:v>147.79230901775901</c:v>
                </c:pt>
                <c:pt idx="14">
                  <c:v>168.83941405784699</c:v>
                </c:pt>
                <c:pt idx="15">
                  <c:v>139.581625183439</c:v>
                </c:pt>
                <c:pt idx="16">
                  <c:v>148.02359588633101</c:v>
                </c:pt>
              </c:numCache>
            </c:numRef>
          </c:val>
          <c:smooth val="0"/>
          <c:extLst>
            <c:ext xmlns:c16="http://schemas.microsoft.com/office/drawing/2014/chart" uri="{C3380CC4-5D6E-409C-BE32-E72D297353CC}">
              <c16:uniqueId val="{00000004-E230-405E-9EEC-CAC00A93CD09}"/>
            </c:ext>
          </c:extLst>
        </c:ser>
        <c:ser>
          <c:idx val="5"/>
          <c:order val="5"/>
          <c:tx>
            <c:strRef>
              <c:f>List1!$A$7</c:f>
              <c:strCache>
                <c:ptCount val="1"/>
                <c:pt idx="0">
                  <c:v>Celá populace ČR</c:v>
                </c:pt>
              </c:strCache>
            </c:strRef>
          </c:tx>
          <c:spPr>
            <a:ln w="28575" cap="rnd">
              <a:solidFill>
                <a:schemeClr val="tx1"/>
              </a:solidFill>
              <a:prstDash val="sysDash"/>
              <a:round/>
            </a:ln>
            <a:effectLst/>
          </c:spPr>
          <c:marker>
            <c:symbol val="none"/>
          </c:marker>
          <c:cat>
            <c:strRef>
              <c:f>List1!$B$1:$R$1</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8.01</c:v>
                </c:pt>
              </c:strCache>
            </c:strRef>
          </c:cat>
          <c:val>
            <c:numRef>
              <c:f>List1!$B$7:$R$7</c:f>
              <c:numCache>
                <c:formatCode>General</c:formatCode>
                <c:ptCount val="17"/>
                <c:pt idx="0">
                  <c:v>30.938787081808002</c:v>
                </c:pt>
                <c:pt idx="1">
                  <c:v>49.057273385532</c:v>
                </c:pt>
                <c:pt idx="2">
                  <c:v>64.503306320061995</c:v>
                </c:pt>
                <c:pt idx="3">
                  <c:v>117.298276725444</c:v>
                </c:pt>
                <c:pt idx="4">
                  <c:v>245.940463906134</c:v>
                </c:pt>
                <c:pt idx="5">
                  <c:v>386.05738093776301</c:v>
                </c:pt>
                <c:pt idx="6">
                  <c:v>558.75767173993597</c:v>
                </c:pt>
                <c:pt idx="7">
                  <c:v>814.66844244651998</c:v>
                </c:pt>
                <c:pt idx="8">
                  <c:v>1062.63660698592</c:v>
                </c:pt>
                <c:pt idx="9">
                  <c:v>1194.2502632973899</c:v>
                </c:pt>
                <c:pt idx="10">
                  <c:v>1026.3809458933699</c:v>
                </c:pt>
                <c:pt idx="11">
                  <c:v>791.11160697891501</c:v>
                </c:pt>
                <c:pt idx="12">
                  <c:v>562.89717118941996</c:v>
                </c:pt>
                <c:pt idx="13">
                  <c:v>337.68223725835401</c:v>
                </c:pt>
                <c:pt idx="14">
                  <c:v>368.50889342956702</c:v>
                </c:pt>
                <c:pt idx="15">
                  <c:v>440.28202045323798</c:v>
                </c:pt>
                <c:pt idx="16">
                  <c:v>949.80487819919995</c:v>
                </c:pt>
              </c:numCache>
            </c:numRef>
          </c:val>
          <c:smooth val="0"/>
          <c:extLst>
            <c:ext xmlns:c16="http://schemas.microsoft.com/office/drawing/2014/chart" uri="{C3380CC4-5D6E-409C-BE32-E72D297353CC}">
              <c16:uniqueId val="{00000000-1EBB-4442-9D6E-7DAB86DA9ED4}"/>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0.85809610965008587"/>
          <c:y val="0.27545860500728103"/>
          <c:w val="0.14190389034991419"/>
          <c:h val="0.49447910824779834"/>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566975803339063E-2"/>
          <c:y val="2.4439798581526975E-2"/>
          <c:w val="0.79539090943282509"/>
          <c:h val="0.7587762916834988"/>
        </c:manualLayout>
      </c:layout>
      <c:lineChart>
        <c:grouping val="standard"/>
        <c:varyColors val="0"/>
        <c:ser>
          <c:idx val="0"/>
          <c:order val="0"/>
          <c:tx>
            <c:strRef>
              <c:f>List1!$A$2</c:f>
              <c:strCache>
                <c:ptCount val="1"/>
                <c:pt idx="0">
                  <c:v>0–4 roky</c:v>
                </c:pt>
              </c:strCache>
            </c:strRef>
          </c:tx>
          <c:spPr>
            <a:ln w="28575" cap="rnd">
              <a:solidFill>
                <a:srgbClr val="00B0F0"/>
              </a:solidFill>
              <a:round/>
            </a:ln>
            <a:effectLst/>
          </c:spPr>
          <c:marker>
            <c:symbol val="none"/>
          </c:marker>
          <c:cat>
            <c:strRef>
              <c:f>List1!$B$1:$R$1</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8.01</c:v>
                </c:pt>
              </c:strCache>
            </c:strRef>
          </c:cat>
          <c:val>
            <c:numRef>
              <c:f>List1!$B$2:$R$2</c:f>
              <c:numCache>
                <c:formatCode>General</c:formatCode>
                <c:ptCount val="17"/>
                <c:pt idx="0">
                  <c:v>15.336828484897</c:v>
                </c:pt>
                <c:pt idx="1">
                  <c:v>22.917100034903999</c:v>
                </c:pt>
                <c:pt idx="2">
                  <c:v>32.436510818633998</c:v>
                </c:pt>
                <c:pt idx="3">
                  <c:v>50.417620076788999</c:v>
                </c:pt>
                <c:pt idx="4">
                  <c:v>89.729260905895003</c:v>
                </c:pt>
                <c:pt idx="5">
                  <c:v>126.74919173151</c:v>
                </c:pt>
                <c:pt idx="6">
                  <c:v>244.33154344905799</c:v>
                </c:pt>
                <c:pt idx="7">
                  <c:v>373.19615979917501</c:v>
                </c:pt>
                <c:pt idx="8">
                  <c:v>519.68931463768001</c:v>
                </c:pt>
                <c:pt idx="9">
                  <c:v>671.29474563781798</c:v>
                </c:pt>
                <c:pt idx="10">
                  <c:v>658.60219792617795</c:v>
                </c:pt>
                <c:pt idx="11">
                  <c:v>561.64523624004403</c:v>
                </c:pt>
                <c:pt idx="12">
                  <c:v>448.99887529924399</c:v>
                </c:pt>
                <c:pt idx="13">
                  <c:v>272.360919645595</c:v>
                </c:pt>
                <c:pt idx="14">
                  <c:v>220.88558725950199</c:v>
                </c:pt>
                <c:pt idx="15">
                  <c:v>223.00101187810901</c:v>
                </c:pt>
                <c:pt idx="16">
                  <c:v>410.21609062479001</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5–11 let</c:v>
                </c:pt>
              </c:strCache>
            </c:strRef>
          </c:tx>
          <c:spPr>
            <a:ln w="28575" cap="rnd">
              <a:solidFill>
                <a:srgbClr val="00B050"/>
              </a:solidFill>
              <a:round/>
            </a:ln>
            <a:effectLst/>
          </c:spPr>
          <c:marker>
            <c:symbol val="none"/>
          </c:marker>
          <c:cat>
            <c:strRef>
              <c:f>List1!$B$1:$R$1</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8.01</c:v>
                </c:pt>
              </c:strCache>
            </c:strRef>
          </c:cat>
          <c:val>
            <c:numRef>
              <c:f>List1!$B$3:$R$3</c:f>
              <c:numCache>
                <c:formatCode>General</c:formatCode>
                <c:ptCount val="17"/>
                <c:pt idx="0">
                  <c:v>60.261826383427</c:v>
                </c:pt>
                <c:pt idx="1">
                  <c:v>87.017077101381005</c:v>
                </c:pt>
                <c:pt idx="2">
                  <c:v>125.149560601267</c:v>
                </c:pt>
                <c:pt idx="3">
                  <c:v>241.42237914190599</c:v>
                </c:pt>
                <c:pt idx="4">
                  <c:v>502.47361044604997</c:v>
                </c:pt>
                <c:pt idx="5">
                  <c:v>699.76232835693997</c:v>
                </c:pt>
                <c:pt idx="6">
                  <c:v>981.44260811184097</c:v>
                </c:pt>
                <c:pt idx="7">
                  <c:v>1815.4812882028</c:v>
                </c:pt>
                <c:pt idx="8">
                  <c:v>2472.73527429758</c:v>
                </c:pt>
                <c:pt idx="9">
                  <c:v>2580.2563753136501</c:v>
                </c:pt>
                <c:pt idx="10">
                  <c:v>2250.1916001015102</c:v>
                </c:pt>
                <c:pt idx="11">
                  <c:v>1801.9786383077601</c:v>
                </c:pt>
                <c:pt idx="12">
                  <c:v>1170.72975571455</c:v>
                </c:pt>
                <c:pt idx="13">
                  <c:v>521.72738900009097</c:v>
                </c:pt>
                <c:pt idx="14">
                  <c:v>396.452803862758</c:v>
                </c:pt>
                <c:pt idx="15">
                  <c:v>592.61630094906104</c:v>
                </c:pt>
                <c:pt idx="16">
                  <c:v>1667.9523356458701</c:v>
                </c:pt>
              </c:numCache>
            </c:numRef>
          </c:val>
          <c:smooth val="0"/>
          <c:extLst>
            <c:ext xmlns:c16="http://schemas.microsoft.com/office/drawing/2014/chart" uri="{C3380CC4-5D6E-409C-BE32-E72D297353CC}">
              <c16:uniqueId val="{00000001-E230-405E-9EEC-CAC00A93CD09}"/>
            </c:ext>
          </c:extLst>
        </c:ser>
        <c:ser>
          <c:idx val="2"/>
          <c:order val="2"/>
          <c:tx>
            <c:strRef>
              <c:f>List1!$A$4</c:f>
              <c:strCache>
                <c:ptCount val="1"/>
                <c:pt idx="0">
                  <c:v>12–19 let</c:v>
                </c:pt>
              </c:strCache>
            </c:strRef>
          </c:tx>
          <c:spPr>
            <a:ln w="28575" cap="rnd">
              <a:solidFill>
                <a:srgbClr val="C00000"/>
              </a:solidFill>
              <a:round/>
            </a:ln>
            <a:effectLst/>
          </c:spPr>
          <c:marker>
            <c:symbol val="none"/>
          </c:marker>
          <c:cat>
            <c:strRef>
              <c:f>List1!$B$1:$R$1</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8.01</c:v>
                </c:pt>
              </c:strCache>
            </c:strRef>
          </c:cat>
          <c:val>
            <c:numRef>
              <c:f>List1!$B$4:$R$4</c:f>
              <c:numCache>
                <c:formatCode>General</c:formatCode>
                <c:ptCount val="17"/>
                <c:pt idx="0">
                  <c:v>61.440944340196999</c:v>
                </c:pt>
                <c:pt idx="1">
                  <c:v>100.227023103218</c:v>
                </c:pt>
                <c:pt idx="2">
                  <c:v>142.80868143937801</c:v>
                </c:pt>
                <c:pt idx="3">
                  <c:v>276.00980208424699</c:v>
                </c:pt>
                <c:pt idx="4">
                  <c:v>612.51165361540802</c:v>
                </c:pt>
                <c:pt idx="5">
                  <c:v>882.23502703164297</c:v>
                </c:pt>
                <c:pt idx="6">
                  <c:v>1156.7028749143001</c:v>
                </c:pt>
                <c:pt idx="7">
                  <c:v>1728.76788370344</c:v>
                </c:pt>
                <c:pt idx="8">
                  <c:v>2150.6702756302402</c:v>
                </c:pt>
                <c:pt idx="9">
                  <c:v>2268.3332423975698</c:v>
                </c:pt>
                <c:pt idx="10">
                  <c:v>1738.73128008293</c:v>
                </c:pt>
                <c:pt idx="11">
                  <c:v>1222.7696818592599</c:v>
                </c:pt>
                <c:pt idx="12">
                  <c:v>829.57136045433003</c:v>
                </c:pt>
                <c:pt idx="13">
                  <c:v>387.97939949186599</c:v>
                </c:pt>
                <c:pt idx="14">
                  <c:v>455.94399622339802</c:v>
                </c:pt>
                <c:pt idx="15">
                  <c:v>938.10121387379195</c:v>
                </c:pt>
                <c:pt idx="16">
                  <c:v>2790.93710487423</c:v>
                </c:pt>
              </c:numCache>
            </c:numRef>
          </c:val>
          <c:smooth val="0"/>
          <c:extLst>
            <c:ext xmlns:c16="http://schemas.microsoft.com/office/drawing/2014/chart" uri="{C3380CC4-5D6E-409C-BE32-E72D297353CC}">
              <c16:uniqueId val="{00000002-E230-405E-9EEC-CAC00A93CD09}"/>
            </c:ext>
          </c:extLst>
        </c:ser>
        <c:ser>
          <c:idx val="3"/>
          <c:order val="3"/>
          <c:tx>
            <c:strRef>
              <c:f>List1!$A$5</c:f>
              <c:strCache>
                <c:ptCount val="1"/>
                <c:pt idx="0">
                  <c:v>0–19 let</c:v>
                </c:pt>
              </c:strCache>
            </c:strRef>
          </c:tx>
          <c:spPr>
            <a:ln w="28575" cap="rnd">
              <a:solidFill>
                <a:srgbClr val="FFC000"/>
              </a:solidFill>
              <a:round/>
            </a:ln>
            <a:effectLst/>
          </c:spPr>
          <c:marker>
            <c:symbol val="none"/>
          </c:marker>
          <c:cat>
            <c:strRef>
              <c:f>List1!$B$1:$R$1</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8.01</c:v>
                </c:pt>
              </c:strCache>
            </c:strRef>
          </c:cat>
          <c:val>
            <c:numRef>
              <c:f>List1!$B$5:$R$5</c:f>
              <c:numCache>
                <c:formatCode>General</c:formatCode>
                <c:ptCount val="17"/>
                <c:pt idx="0">
                  <c:v>49.181269854052999</c:v>
                </c:pt>
                <c:pt idx="1">
                  <c:v>75.604325599009002</c:v>
                </c:pt>
                <c:pt idx="2">
                  <c:v>108.09020577859501</c:v>
                </c:pt>
                <c:pt idx="3">
                  <c:v>205.593091275821</c:v>
                </c:pt>
                <c:pt idx="4">
                  <c:v>438.51413746594699</c:v>
                </c:pt>
                <c:pt idx="5">
                  <c:v>622.29915876048699</c:v>
                </c:pt>
                <c:pt idx="6">
                  <c:v>859.11127137880806</c:v>
                </c:pt>
                <c:pt idx="7">
                  <c:v>1412.2308886426499</c:v>
                </c:pt>
                <c:pt idx="8">
                  <c:v>1848.61851306063</c:v>
                </c:pt>
                <c:pt idx="9">
                  <c:v>1971.32284042419</c:v>
                </c:pt>
                <c:pt idx="10">
                  <c:v>1646.5997735037299</c:v>
                </c:pt>
                <c:pt idx="11">
                  <c:v>1262.69630090793</c:v>
                </c:pt>
                <c:pt idx="12">
                  <c:v>855.35593982601495</c:v>
                </c:pt>
                <c:pt idx="13">
                  <c:v>406.70693166337202</c:v>
                </c:pt>
                <c:pt idx="14">
                  <c:v>374.08531660838298</c:v>
                </c:pt>
                <c:pt idx="15">
                  <c:v>629.53835211526905</c:v>
                </c:pt>
                <c:pt idx="16">
                  <c:v>1773.5118820047601</c:v>
                </c:pt>
              </c:numCache>
            </c:numRef>
          </c:val>
          <c:smooth val="0"/>
          <c:extLst>
            <c:ext xmlns:c16="http://schemas.microsoft.com/office/drawing/2014/chart" uri="{C3380CC4-5D6E-409C-BE32-E72D297353CC}">
              <c16:uniqueId val="{00000003-E230-405E-9EEC-CAC00A93CD09}"/>
            </c:ext>
          </c:extLst>
        </c:ser>
        <c:ser>
          <c:idx val="4"/>
          <c:order val="4"/>
          <c:tx>
            <c:strRef>
              <c:f>List1!$A$6</c:f>
              <c:strCache>
                <c:ptCount val="1"/>
                <c:pt idx="0">
                  <c:v>Celá populace ČR</c:v>
                </c:pt>
              </c:strCache>
            </c:strRef>
          </c:tx>
          <c:spPr>
            <a:ln w="28575" cap="rnd">
              <a:solidFill>
                <a:schemeClr val="tx1"/>
              </a:solidFill>
              <a:prstDash val="sysDash"/>
              <a:round/>
            </a:ln>
            <a:effectLst/>
          </c:spPr>
          <c:marker>
            <c:symbol val="none"/>
          </c:marker>
          <c:cat>
            <c:strRef>
              <c:f>List1!$B$1:$R$1</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8.01</c:v>
                </c:pt>
              </c:strCache>
            </c:strRef>
          </c:cat>
          <c:val>
            <c:numRef>
              <c:f>List1!$B$6:$R$6</c:f>
              <c:numCache>
                <c:formatCode>General</c:formatCode>
                <c:ptCount val="17"/>
                <c:pt idx="0">
                  <c:v>30.938787081808002</c:v>
                </c:pt>
                <c:pt idx="1">
                  <c:v>49.057273385532</c:v>
                </c:pt>
                <c:pt idx="2">
                  <c:v>64.503306320061995</c:v>
                </c:pt>
                <c:pt idx="3">
                  <c:v>117.298276725444</c:v>
                </c:pt>
                <c:pt idx="4">
                  <c:v>245.940463906134</c:v>
                </c:pt>
                <c:pt idx="5">
                  <c:v>386.05738093776301</c:v>
                </c:pt>
                <c:pt idx="6">
                  <c:v>558.75767173993597</c:v>
                </c:pt>
                <c:pt idx="7">
                  <c:v>814.66844244651998</c:v>
                </c:pt>
                <c:pt idx="8">
                  <c:v>1062.63660698592</c:v>
                </c:pt>
                <c:pt idx="9">
                  <c:v>1194.2502632973899</c:v>
                </c:pt>
                <c:pt idx="10">
                  <c:v>1026.3809458933699</c:v>
                </c:pt>
                <c:pt idx="11">
                  <c:v>791.11160697891501</c:v>
                </c:pt>
                <c:pt idx="12">
                  <c:v>562.89717118941996</c:v>
                </c:pt>
                <c:pt idx="13">
                  <c:v>337.68223725835401</c:v>
                </c:pt>
                <c:pt idx="14">
                  <c:v>368.50889342956702</c:v>
                </c:pt>
                <c:pt idx="15">
                  <c:v>440.28202045323798</c:v>
                </c:pt>
                <c:pt idx="16">
                  <c:v>949.80487819919995</c:v>
                </c:pt>
              </c:numCache>
            </c:numRef>
          </c:val>
          <c:smooth val="0"/>
          <c:extLst>
            <c:ext xmlns:c16="http://schemas.microsoft.com/office/drawing/2014/chart" uri="{C3380CC4-5D6E-409C-BE32-E72D297353CC}">
              <c16:uniqueId val="{00000004-E230-405E-9EEC-CAC00A93CD09}"/>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0.84380214565155387"/>
          <c:y val="0.25415522984813471"/>
          <c:w val="0.14190389034991419"/>
          <c:h val="0.50280252143989945"/>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725665694869669E-2"/>
          <c:y val="5.7465907031175496E-2"/>
          <c:w val="0.93069323165507978"/>
          <c:h val="0.69416840186662676"/>
        </c:manualLayout>
      </c:layout>
      <c:lineChart>
        <c:grouping val="standard"/>
        <c:varyColors val="0"/>
        <c:ser>
          <c:idx val="0"/>
          <c:order val="0"/>
          <c:spPr>
            <a:ln w="19050" cap="rnd">
              <a:solidFill>
                <a:schemeClr val="tx1"/>
              </a:solidFill>
              <a:round/>
            </a:ln>
            <a:effectLst/>
          </c:spPr>
          <c:marker>
            <c:symbol val="circle"/>
            <c:size val="5"/>
            <c:spPr>
              <a:solidFill>
                <a:schemeClr val="tx1"/>
              </a:solidFill>
              <a:ln w="19050">
                <a:solidFill>
                  <a:schemeClr val="tx1"/>
                </a:solidFill>
              </a:ln>
              <a:effectLst/>
            </c:spPr>
          </c:marker>
          <c:trendline>
            <c:spPr>
              <a:ln w="25400" cap="rnd">
                <a:solidFill>
                  <a:srgbClr val="FF0000"/>
                </a:solidFill>
                <a:prstDash val="solid"/>
              </a:ln>
              <a:effectLst/>
            </c:spPr>
            <c:trendlineType val="movingAvg"/>
            <c:period val="7"/>
            <c:dispRSqr val="0"/>
            <c:dispEq val="0"/>
          </c:trendline>
          <c:cat>
            <c:strRef>
              <c:f>Sheet1!$A$1:$A$685</c:f>
              <c:strCache>
                <c:ptCount val="685"/>
                <c:pt idx="0">
                  <c:v>01.03.2020</c:v>
                </c:pt>
                <c:pt idx="1">
                  <c:v>03.03.2020</c:v>
                </c:pt>
                <c:pt idx="2">
                  <c:v>04.03.2020</c:v>
                </c:pt>
                <c:pt idx="3">
                  <c:v>05.03.2020</c:v>
                </c:pt>
                <c:pt idx="4">
                  <c:v>06.03.2020</c:v>
                </c:pt>
                <c:pt idx="5">
                  <c:v>07.03.2020</c:v>
                </c:pt>
                <c:pt idx="6">
                  <c:v>08.03.2020</c:v>
                </c:pt>
                <c:pt idx="7">
                  <c:v>09.03.2020</c:v>
                </c:pt>
                <c:pt idx="8">
                  <c:v>10.03.2020</c:v>
                </c:pt>
                <c:pt idx="9">
                  <c:v>11.03.2020</c:v>
                </c:pt>
                <c:pt idx="10">
                  <c:v>12.03.2020</c:v>
                </c:pt>
                <c:pt idx="11">
                  <c:v>13.03.2020</c:v>
                </c:pt>
                <c:pt idx="12">
                  <c:v>14.03.2020</c:v>
                </c:pt>
                <c:pt idx="13">
                  <c:v>15.03.2020</c:v>
                </c:pt>
                <c:pt idx="14">
                  <c:v>16.03.2020</c:v>
                </c:pt>
                <c:pt idx="15">
                  <c:v>17.03.2020</c:v>
                </c:pt>
                <c:pt idx="16">
                  <c:v>18.03.2020</c:v>
                </c:pt>
                <c:pt idx="17">
                  <c:v>19.03.2020</c:v>
                </c:pt>
                <c:pt idx="18">
                  <c:v>20.03.2020</c:v>
                </c:pt>
                <c:pt idx="19">
                  <c:v>21.03.2020</c:v>
                </c:pt>
                <c:pt idx="20">
                  <c:v>22.03.2020</c:v>
                </c:pt>
                <c:pt idx="21">
                  <c:v>23.03.2020</c:v>
                </c:pt>
                <c:pt idx="22">
                  <c:v>24.03.2020</c:v>
                </c:pt>
                <c:pt idx="23">
                  <c:v>25.03.2020</c:v>
                </c:pt>
                <c:pt idx="24">
                  <c:v>26.03.2020</c:v>
                </c:pt>
                <c:pt idx="25">
                  <c:v>27.03.2020</c:v>
                </c:pt>
                <c:pt idx="26">
                  <c:v>28.03.2020</c:v>
                </c:pt>
                <c:pt idx="27">
                  <c:v>29.03.2020</c:v>
                </c:pt>
                <c:pt idx="28">
                  <c:v>30.03.2020</c:v>
                </c:pt>
                <c:pt idx="29">
                  <c:v>31.03.2020</c:v>
                </c:pt>
                <c:pt idx="30">
                  <c:v>01.04.2020</c:v>
                </c:pt>
                <c:pt idx="31">
                  <c:v>02.04.2020</c:v>
                </c:pt>
                <c:pt idx="32">
                  <c:v>03.04.2020</c:v>
                </c:pt>
                <c:pt idx="33">
                  <c:v>04.04.2020</c:v>
                </c:pt>
                <c:pt idx="34">
                  <c:v>05.04.2020</c:v>
                </c:pt>
                <c:pt idx="35">
                  <c:v>06.04.2020</c:v>
                </c:pt>
                <c:pt idx="36">
                  <c:v>07.04.2020</c:v>
                </c:pt>
                <c:pt idx="37">
                  <c:v>08.04.2020</c:v>
                </c:pt>
                <c:pt idx="38">
                  <c:v>09.04.2020</c:v>
                </c:pt>
                <c:pt idx="39">
                  <c:v>10.04.2020</c:v>
                </c:pt>
                <c:pt idx="40">
                  <c:v>11.04.2020</c:v>
                </c:pt>
                <c:pt idx="41">
                  <c:v>12.04.2020</c:v>
                </c:pt>
                <c:pt idx="42">
                  <c:v>13.04.2020</c:v>
                </c:pt>
                <c:pt idx="43">
                  <c:v>14.04.2020</c:v>
                </c:pt>
                <c:pt idx="44">
                  <c:v>15.04.2020</c:v>
                </c:pt>
                <c:pt idx="45">
                  <c:v>16.04.2020</c:v>
                </c:pt>
                <c:pt idx="46">
                  <c:v>17.04.2020</c:v>
                </c:pt>
                <c:pt idx="47">
                  <c:v>18.04.2020</c:v>
                </c:pt>
                <c:pt idx="48">
                  <c:v>19.04.2020</c:v>
                </c:pt>
                <c:pt idx="49">
                  <c:v>20.04.2020</c:v>
                </c:pt>
                <c:pt idx="50">
                  <c:v>21.04.2020</c:v>
                </c:pt>
                <c:pt idx="51">
                  <c:v>22.04.2020</c:v>
                </c:pt>
                <c:pt idx="52">
                  <c:v>23.04.2020</c:v>
                </c:pt>
                <c:pt idx="53">
                  <c:v>24.04.2020</c:v>
                </c:pt>
                <c:pt idx="54">
                  <c:v>25.04.2020</c:v>
                </c:pt>
                <c:pt idx="55">
                  <c:v>26.04.2020</c:v>
                </c:pt>
                <c:pt idx="56">
                  <c:v>27.04.2020</c:v>
                </c:pt>
                <c:pt idx="57">
                  <c:v>28.04.2020</c:v>
                </c:pt>
                <c:pt idx="58">
                  <c:v>29.04.2020</c:v>
                </c:pt>
                <c:pt idx="59">
                  <c:v>30.04.2020</c:v>
                </c:pt>
                <c:pt idx="60">
                  <c:v>01.05.2020</c:v>
                </c:pt>
                <c:pt idx="61">
                  <c:v>02.05.2020</c:v>
                </c:pt>
                <c:pt idx="62">
                  <c:v>03.05.2020</c:v>
                </c:pt>
                <c:pt idx="63">
                  <c:v>04.05.2020</c:v>
                </c:pt>
                <c:pt idx="64">
                  <c:v>05.05.2020</c:v>
                </c:pt>
                <c:pt idx="65">
                  <c:v>06.05.2020</c:v>
                </c:pt>
                <c:pt idx="66">
                  <c:v>07.05.2020</c:v>
                </c:pt>
                <c:pt idx="67">
                  <c:v>08.05.2020</c:v>
                </c:pt>
                <c:pt idx="68">
                  <c:v>09.05.2020</c:v>
                </c:pt>
                <c:pt idx="69">
                  <c:v>10.05.2020</c:v>
                </c:pt>
                <c:pt idx="70">
                  <c:v>11.05.2020</c:v>
                </c:pt>
                <c:pt idx="71">
                  <c:v>12.05.2020</c:v>
                </c:pt>
                <c:pt idx="72">
                  <c:v>13.05.2020</c:v>
                </c:pt>
                <c:pt idx="73">
                  <c:v>14.05.2020</c:v>
                </c:pt>
                <c:pt idx="74">
                  <c:v>15.05.2020</c:v>
                </c:pt>
                <c:pt idx="75">
                  <c:v>16.05.2020</c:v>
                </c:pt>
                <c:pt idx="76">
                  <c:v>17.05.2020</c:v>
                </c:pt>
                <c:pt idx="77">
                  <c:v>18.05.2020</c:v>
                </c:pt>
                <c:pt idx="78">
                  <c:v>19.05.2020</c:v>
                </c:pt>
                <c:pt idx="79">
                  <c:v>20.05.2020</c:v>
                </c:pt>
                <c:pt idx="80">
                  <c:v>21.05.2020</c:v>
                </c:pt>
                <c:pt idx="81">
                  <c:v>22.05.2020</c:v>
                </c:pt>
                <c:pt idx="82">
                  <c:v>23.05.2020</c:v>
                </c:pt>
                <c:pt idx="83">
                  <c:v>24.05.2020</c:v>
                </c:pt>
                <c:pt idx="84">
                  <c:v>25.05.2020</c:v>
                </c:pt>
                <c:pt idx="85">
                  <c:v>26.05.2020</c:v>
                </c:pt>
                <c:pt idx="86">
                  <c:v>27.05.2020</c:v>
                </c:pt>
                <c:pt idx="87">
                  <c:v>28.05.2020</c:v>
                </c:pt>
                <c:pt idx="88">
                  <c:v>29.05.2020</c:v>
                </c:pt>
                <c:pt idx="89">
                  <c:v>30.05.2020</c:v>
                </c:pt>
                <c:pt idx="90">
                  <c:v>31.05.2020</c:v>
                </c:pt>
                <c:pt idx="91">
                  <c:v>01.06.2020</c:v>
                </c:pt>
                <c:pt idx="92">
                  <c:v>02.06.2020</c:v>
                </c:pt>
                <c:pt idx="93">
                  <c:v>03.06.2020</c:v>
                </c:pt>
                <c:pt idx="94">
                  <c:v>04.06.2020</c:v>
                </c:pt>
                <c:pt idx="95">
                  <c:v>05.06.2020</c:v>
                </c:pt>
                <c:pt idx="96">
                  <c:v>06.06.2020</c:v>
                </c:pt>
                <c:pt idx="97">
                  <c:v>07.06.2020</c:v>
                </c:pt>
                <c:pt idx="98">
                  <c:v>08.06.2020</c:v>
                </c:pt>
                <c:pt idx="99">
                  <c:v>09.06.2020</c:v>
                </c:pt>
                <c:pt idx="100">
                  <c:v>10.06.2020</c:v>
                </c:pt>
                <c:pt idx="101">
                  <c:v>11.06.2020</c:v>
                </c:pt>
                <c:pt idx="102">
                  <c:v>12.06.2020</c:v>
                </c:pt>
                <c:pt idx="103">
                  <c:v>13.06.2020</c:v>
                </c:pt>
                <c:pt idx="104">
                  <c:v>14.06.2020</c:v>
                </c:pt>
                <c:pt idx="105">
                  <c:v>15.06.2020</c:v>
                </c:pt>
                <c:pt idx="106">
                  <c:v>16.06.2020</c:v>
                </c:pt>
                <c:pt idx="107">
                  <c:v>17.06.2020</c:v>
                </c:pt>
                <c:pt idx="108">
                  <c:v>18.06.2020</c:v>
                </c:pt>
                <c:pt idx="109">
                  <c:v>19.06.2020</c:v>
                </c:pt>
                <c:pt idx="110">
                  <c:v>20.06.2020</c:v>
                </c:pt>
                <c:pt idx="111">
                  <c:v>21.06.2020</c:v>
                </c:pt>
                <c:pt idx="112">
                  <c:v>22.06.2020</c:v>
                </c:pt>
                <c:pt idx="113">
                  <c:v>23.06.2020</c:v>
                </c:pt>
                <c:pt idx="114">
                  <c:v>24.06.2020</c:v>
                </c:pt>
                <c:pt idx="115">
                  <c:v>25.06.2020</c:v>
                </c:pt>
                <c:pt idx="116">
                  <c:v>26.06.2020</c:v>
                </c:pt>
                <c:pt idx="117">
                  <c:v>27.06.2020</c:v>
                </c:pt>
                <c:pt idx="118">
                  <c:v>28.06.2020</c:v>
                </c:pt>
                <c:pt idx="119">
                  <c:v>29.06.2020</c:v>
                </c:pt>
                <c:pt idx="120">
                  <c:v>30.06.2020</c:v>
                </c:pt>
                <c:pt idx="121">
                  <c:v>01.07.2020</c:v>
                </c:pt>
                <c:pt idx="122">
                  <c:v>02.07.2020</c:v>
                </c:pt>
                <c:pt idx="123">
                  <c:v>03.07.2020</c:v>
                </c:pt>
                <c:pt idx="124">
                  <c:v>04.07.2020</c:v>
                </c:pt>
                <c:pt idx="125">
                  <c:v>05.07.2020</c:v>
                </c:pt>
                <c:pt idx="126">
                  <c:v>06.07.2020</c:v>
                </c:pt>
                <c:pt idx="127">
                  <c:v>07.07.2020</c:v>
                </c:pt>
                <c:pt idx="128">
                  <c:v>08.07.2020</c:v>
                </c:pt>
                <c:pt idx="129">
                  <c:v>09.07.2020</c:v>
                </c:pt>
                <c:pt idx="130">
                  <c:v>10.07.2020</c:v>
                </c:pt>
                <c:pt idx="131">
                  <c:v>11.07.2020</c:v>
                </c:pt>
                <c:pt idx="132">
                  <c:v>12.07.2020</c:v>
                </c:pt>
                <c:pt idx="133">
                  <c:v>13.07.2020</c:v>
                </c:pt>
                <c:pt idx="134">
                  <c:v>14.07.2020</c:v>
                </c:pt>
                <c:pt idx="135">
                  <c:v>15.07.2020</c:v>
                </c:pt>
                <c:pt idx="136">
                  <c:v>16.07.2020</c:v>
                </c:pt>
                <c:pt idx="137">
                  <c:v>17.07.2020</c:v>
                </c:pt>
                <c:pt idx="138">
                  <c:v>18.07.2020</c:v>
                </c:pt>
                <c:pt idx="139">
                  <c:v>19.07.2020</c:v>
                </c:pt>
                <c:pt idx="140">
                  <c:v>20.07.2020</c:v>
                </c:pt>
                <c:pt idx="141">
                  <c:v>21.07.2020</c:v>
                </c:pt>
                <c:pt idx="142">
                  <c:v>22.07.2020</c:v>
                </c:pt>
                <c:pt idx="143">
                  <c:v>23.07.2020</c:v>
                </c:pt>
                <c:pt idx="144">
                  <c:v>24.07.2020</c:v>
                </c:pt>
                <c:pt idx="145">
                  <c:v>25.07.2020</c:v>
                </c:pt>
                <c:pt idx="146">
                  <c:v>26.07.2020</c:v>
                </c:pt>
                <c:pt idx="147">
                  <c:v>27.07.2020</c:v>
                </c:pt>
                <c:pt idx="148">
                  <c:v>28.07.2020</c:v>
                </c:pt>
                <c:pt idx="149">
                  <c:v>29.07.2020</c:v>
                </c:pt>
                <c:pt idx="150">
                  <c:v>30.07.2020</c:v>
                </c:pt>
                <c:pt idx="151">
                  <c:v>31.07.2020</c:v>
                </c:pt>
                <c:pt idx="152">
                  <c:v>01.08.2020</c:v>
                </c:pt>
                <c:pt idx="153">
                  <c:v>02.08.2020</c:v>
                </c:pt>
                <c:pt idx="154">
                  <c:v>03.08.2020</c:v>
                </c:pt>
                <c:pt idx="155">
                  <c:v>04.08.2020</c:v>
                </c:pt>
                <c:pt idx="156">
                  <c:v>05.08.2020</c:v>
                </c:pt>
                <c:pt idx="157">
                  <c:v>06.08.2020</c:v>
                </c:pt>
                <c:pt idx="158">
                  <c:v>07.08.2020</c:v>
                </c:pt>
                <c:pt idx="159">
                  <c:v>08.08.2020</c:v>
                </c:pt>
                <c:pt idx="160">
                  <c:v>09.08.2020</c:v>
                </c:pt>
                <c:pt idx="161">
                  <c:v>10.08.2020</c:v>
                </c:pt>
                <c:pt idx="162">
                  <c:v>11.08.2020</c:v>
                </c:pt>
                <c:pt idx="163">
                  <c:v>12.08.2020</c:v>
                </c:pt>
                <c:pt idx="164">
                  <c:v>13.08.2020</c:v>
                </c:pt>
                <c:pt idx="165">
                  <c:v>14.08.2020</c:v>
                </c:pt>
                <c:pt idx="166">
                  <c:v>15.08.2020</c:v>
                </c:pt>
                <c:pt idx="167">
                  <c:v>16.08.2020</c:v>
                </c:pt>
                <c:pt idx="168">
                  <c:v>17.08.2020</c:v>
                </c:pt>
                <c:pt idx="169">
                  <c:v>18.08.2020</c:v>
                </c:pt>
                <c:pt idx="170">
                  <c:v>19.08.2020</c:v>
                </c:pt>
                <c:pt idx="171">
                  <c:v>20.08.2020</c:v>
                </c:pt>
                <c:pt idx="172">
                  <c:v>21.08.2020</c:v>
                </c:pt>
                <c:pt idx="173">
                  <c:v>22.08.2020</c:v>
                </c:pt>
                <c:pt idx="174">
                  <c:v>23.08.2020</c:v>
                </c:pt>
                <c:pt idx="175">
                  <c:v>24.08.2020</c:v>
                </c:pt>
                <c:pt idx="176">
                  <c:v>25.08.2020</c:v>
                </c:pt>
                <c:pt idx="177">
                  <c:v>26.08.2020</c:v>
                </c:pt>
                <c:pt idx="178">
                  <c:v>27.08.2020</c:v>
                </c:pt>
                <c:pt idx="179">
                  <c:v>28.08.2020</c:v>
                </c:pt>
                <c:pt idx="180">
                  <c:v>29.08.2020</c:v>
                </c:pt>
                <c:pt idx="181">
                  <c:v>30.08.2020</c:v>
                </c:pt>
                <c:pt idx="182">
                  <c:v>31.08.2020</c:v>
                </c:pt>
                <c:pt idx="183">
                  <c:v>01.09.2020</c:v>
                </c:pt>
                <c:pt idx="184">
                  <c:v>02.09.2020</c:v>
                </c:pt>
                <c:pt idx="185">
                  <c:v>03.09.2020</c:v>
                </c:pt>
                <c:pt idx="186">
                  <c:v>04.09.2020</c:v>
                </c:pt>
                <c:pt idx="187">
                  <c:v>05.09.2020</c:v>
                </c:pt>
                <c:pt idx="188">
                  <c:v>06.09.2020</c:v>
                </c:pt>
                <c:pt idx="189">
                  <c:v>07.09.2020</c:v>
                </c:pt>
                <c:pt idx="190">
                  <c:v>08.09.2020</c:v>
                </c:pt>
                <c:pt idx="191">
                  <c:v>09.09.2020</c:v>
                </c:pt>
                <c:pt idx="192">
                  <c:v>10.09.2020</c:v>
                </c:pt>
                <c:pt idx="193">
                  <c:v>11.09.2020</c:v>
                </c:pt>
                <c:pt idx="194">
                  <c:v>12.09.2020</c:v>
                </c:pt>
                <c:pt idx="195">
                  <c:v>13.09.2020</c:v>
                </c:pt>
                <c:pt idx="196">
                  <c:v>14.09.2020</c:v>
                </c:pt>
                <c:pt idx="197">
                  <c:v>15.09.2020</c:v>
                </c:pt>
                <c:pt idx="198">
                  <c:v>16.09.2020</c:v>
                </c:pt>
                <c:pt idx="199">
                  <c:v>17.09.2020</c:v>
                </c:pt>
                <c:pt idx="200">
                  <c:v>18.09.2020</c:v>
                </c:pt>
                <c:pt idx="201">
                  <c:v>19.09.2020</c:v>
                </c:pt>
                <c:pt idx="202">
                  <c:v>20.09.2020</c:v>
                </c:pt>
                <c:pt idx="203">
                  <c:v>21.09.2020</c:v>
                </c:pt>
                <c:pt idx="204">
                  <c:v>22.09.2020</c:v>
                </c:pt>
                <c:pt idx="205">
                  <c:v>23.09.2020</c:v>
                </c:pt>
                <c:pt idx="206">
                  <c:v>24.09.2020</c:v>
                </c:pt>
                <c:pt idx="207">
                  <c:v>25.09.2020</c:v>
                </c:pt>
                <c:pt idx="208">
                  <c:v>26.09.2020</c:v>
                </c:pt>
                <c:pt idx="209">
                  <c:v>27.09.2020</c:v>
                </c:pt>
                <c:pt idx="210">
                  <c:v>28.09.2020</c:v>
                </c:pt>
                <c:pt idx="211">
                  <c:v>29.09.2020</c:v>
                </c:pt>
                <c:pt idx="212">
                  <c:v>30.09.2020</c:v>
                </c:pt>
                <c:pt idx="213">
                  <c:v>01.10.2020</c:v>
                </c:pt>
                <c:pt idx="214">
                  <c:v>02.10.2020</c:v>
                </c:pt>
                <c:pt idx="215">
                  <c:v>03.10.2020</c:v>
                </c:pt>
                <c:pt idx="216">
                  <c:v>04.10.2020</c:v>
                </c:pt>
                <c:pt idx="217">
                  <c:v>05.10.2020</c:v>
                </c:pt>
                <c:pt idx="218">
                  <c:v>06.10.2020</c:v>
                </c:pt>
                <c:pt idx="219">
                  <c:v>07.10.2020</c:v>
                </c:pt>
                <c:pt idx="220">
                  <c:v>08.10.2020</c:v>
                </c:pt>
                <c:pt idx="221">
                  <c:v>09.10.2020</c:v>
                </c:pt>
                <c:pt idx="222">
                  <c:v>10.10.2020</c:v>
                </c:pt>
                <c:pt idx="223">
                  <c:v>11.10.2020</c:v>
                </c:pt>
                <c:pt idx="224">
                  <c:v>12.10.2020</c:v>
                </c:pt>
                <c:pt idx="225">
                  <c:v>13.10.2020</c:v>
                </c:pt>
                <c:pt idx="226">
                  <c:v>14.10.2020</c:v>
                </c:pt>
                <c:pt idx="227">
                  <c:v>15.10.2020</c:v>
                </c:pt>
                <c:pt idx="228">
                  <c:v>16.10.2020</c:v>
                </c:pt>
                <c:pt idx="229">
                  <c:v>17.10.2020</c:v>
                </c:pt>
                <c:pt idx="230">
                  <c:v>18.10.2020</c:v>
                </c:pt>
                <c:pt idx="231">
                  <c:v>19.10.2020</c:v>
                </c:pt>
                <c:pt idx="232">
                  <c:v>20.10.2020</c:v>
                </c:pt>
                <c:pt idx="233">
                  <c:v>21.10.2020</c:v>
                </c:pt>
                <c:pt idx="234">
                  <c:v>22.10.2020</c:v>
                </c:pt>
                <c:pt idx="235">
                  <c:v>23.10.2020</c:v>
                </c:pt>
                <c:pt idx="236">
                  <c:v>24.10.2020</c:v>
                </c:pt>
                <c:pt idx="237">
                  <c:v>25.10.2020</c:v>
                </c:pt>
                <c:pt idx="238">
                  <c:v>26.10.2020</c:v>
                </c:pt>
                <c:pt idx="239">
                  <c:v>27.10.2020</c:v>
                </c:pt>
                <c:pt idx="240">
                  <c:v>28.10.2020</c:v>
                </c:pt>
                <c:pt idx="241">
                  <c:v>29.10.2020</c:v>
                </c:pt>
                <c:pt idx="242">
                  <c:v>30.10.2020</c:v>
                </c:pt>
                <c:pt idx="243">
                  <c:v>31.10.2020</c:v>
                </c:pt>
                <c:pt idx="244">
                  <c:v>01.11.2020</c:v>
                </c:pt>
                <c:pt idx="245">
                  <c:v>02.11.2020</c:v>
                </c:pt>
                <c:pt idx="246">
                  <c:v>03.11.2020</c:v>
                </c:pt>
                <c:pt idx="247">
                  <c:v>04.11.2020</c:v>
                </c:pt>
                <c:pt idx="248">
                  <c:v>05.11.2020</c:v>
                </c:pt>
                <c:pt idx="249">
                  <c:v>06.11.2020</c:v>
                </c:pt>
                <c:pt idx="250">
                  <c:v>07.11.2020</c:v>
                </c:pt>
                <c:pt idx="251">
                  <c:v>08.11.2020</c:v>
                </c:pt>
                <c:pt idx="252">
                  <c:v>09.11.2020</c:v>
                </c:pt>
                <c:pt idx="253">
                  <c:v>10.11.2020</c:v>
                </c:pt>
                <c:pt idx="254">
                  <c:v>11.11.2020</c:v>
                </c:pt>
                <c:pt idx="255">
                  <c:v>12.11.2020</c:v>
                </c:pt>
                <c:pt idx="256">
                  <c:v>13.11.2020</c:v>
                </c:pt>
                <c:pt idx="257">
                  <c:v>14.11.2020</c:v>
                </c:pt>
                <c:pt idx="258">
                  <c:v>15.11.2020</c:v>
                </c:pt>
                <c:pt idx="259">
                  <c:v>16.11.2020</c:v>
                </c:pt>
                <c:pt idx="260">
                  <c:v>17.11.2020</c:v>
                </c:pt>
                <c:pt idx="261">
                  <c:v>18.11.2020</c:v>
                </c:pt>
                <c:pt idx="262">
                  <c:v>19.11.2020</c:v>
                </c:pt>
                <c:pt idx="263">
                  <c:v>20.11.2020</c:v>
                </c:pt>
                <c:pt idx="264">
                  <c:v>21.11.2020</c:v>
                </c:pt>
                <c:pt idx="265">
                  <c:v>22.11.2020</c:v>
                </c:pt>
                <c:pt idx="266">
                  <c:v>23.11.2020</c:v>
                </c:pt>
                <c:pt idx="267">
                  <c:v>24.11.2020</c:v>
                </c:pt>
                <c:pt idx="268">
                  <c:v>25.11.2020</c:v>
                </c:pt>
                <c:pt idx="269">
                  <c:v>26.11.2020</c:v>
                </c:pt>
                <c:pt idx="270">
                  <c:v>27.11.2020</c:v>
                </c:pt>
                <c:pt idx="271">
                  <c:v>28.11.2020</c:v>
                </c:pt>
                <c:pt idx="272">
                  <c:v>29.11.2020</c:v>
                </c:pt>
                <c:pt idx="273">
                  <c:v>30.11.2020</c:v>
                </c:pt>
                <c:pt idx="274">
                  <c:v>01.12.2020</c:v>
                </c:pt>
                <c:pt idx="275">
                  <c:v>02.12.2020</c:v>
                </c:pt>
                <c:pt idx="276">
                  <c:v>03.12.2020</c:v>
                </c:pt>
                <c:pt idx="277">
                  <c:v>04.12.2020</c:v>
                </c:pt>
                <c:pt idx="278">
                  <c:v>05.12.2020</c:v>
                </c:pt>
                <c:pt idx="279">
                  <c:v>06.12.2020</c:v>
                </c:pt>
                <c:pt idx="280">
                  <c:v>07.12.2020</c:v>
                </c:pt>
                <c:pt idx="281">
                  <c:v>08.12.2020</c:v>
                </c:pt>
                <c:pt idx="282">
                  <c:v>09.12.2020</c:v>
                </c:pt>
                <c:pt idx="283">
                  <c:v>10.12.2020</c:v>
                </c:pt>
                <c:pt idx="284">
                  <c:v>11.12.2020</c:v>
                </c:pt>
                <c:pt idx="285">
                  <c:v>12.12.2020</c:v>
                </c:pt>
                <c:pt idx="286">
                  <c:v>13.12.2020</c:v>
                </c:pt>
                <c:pt idx="287">
                  <c:v>14.12.2020</c:v>
                </c:pt>
                <c:pt idx="288">
                  <c:v>15.12.2020</c:v>
                </c:pt>
                <c:pt idx="289">
                  <c:v>16.12.2020</c:v>
                </c:pt>
                <c:pt idx="290">
                  <c:v>17.12.2020</c:v>
                </c:pt>
                <c:pt idx="291">
                  <c:v>18.12.2020</c:v>
                </c:pt>
                <c:pt idx="292">
                  <c:v>19.12.2020</c:v>
                </c:pt>
                <c:pt idx="293">
                  <c:v>20.12.2020</c:v>
                </c:pt>
                <c:pt idx="294">
                  <c:v>21.12.2020</c:v>
                </c:pt>
                <c:pt idx="295">
                  <c:v>22.12.2020</c:v>
                </c:pt>
                <c:pt idx="296">
                  <c:v>23.12.2020</c:v>
                </c:pt>
                <c:pt idx="297">
                  <c:v>24.12.2020</c:v>
                </c:pt>
                <c:pt idx="298">
                  <c:v>25.12.2020</c:v>
                </c:pt>
                <c:pt idx="299">
                  <c:v>26.12.2020</c:v>
                </c:pt>
                <c:pt idx="300">
                  <c:v>27.12.2020</c:v>
                </c:pt>
                <c:pt idx="301">
                  <c:v>28.12.2020</c:v>
                </c:pt>
                <c:pt idx="302">
                  <c:v>29.12.2020</c:v>
                </c:pt>
                <c:pt idx="303">
                  <c:v>30.12.2020</c:v>
                </c:pt>
                <c:pt idx="304">
                  <c:v>31.12.2020</c:v>
                </c:pt>
                <c:pt idx="305">
                  <c:v>01.01.2021</c:v>
                </c:pt>
                <c:pt idx="306">
                  <c:v>02.01.2021</c:v>
                </c:pt>
                <c:pt idx="307">
                  <c:v>03.01.2021</c:v>
                </c:pt>
                <c:pt idx="308">
                  <c:v>04.01.2021</c:v>
                </c:pt>
                <c:pt idx="309">
                  <c:v>05.01.2021</c:v>
                </c:pt>
                <c:pt idx="310">
                  <c:v>06.01.2021</c:v>
                </c:pt>
                <c:pt idx="311">
                  <c:v>07.01.2021</c:v>
                </c:pt>
                <c:pt idx="312">
                  <c:v>08.01.2021</c:v>
                </c:pt>
                <c:pt idx="313">
                  <c:v>09.01.2021</c:v>
                </c:pt>
                <c:pt idx="314">
                  <c:v>10.01.2021</c:v>
                </c:pt>
                <c:pt idx="315">
                  <c:v>11.01.2021</c:v>
                </c:pt>
                <c:pt idx="316">
                  <c:v>12.01.2021</c:v>
                </c:pt>
                <c:pt idx="317">
                  <c:v>13.01.2021</c:v>
                </c:pt>
                <c:pt idx="318">
                  <c:v>14.01.2021</c:v>
                </c:pt>
                <c:pt idx="319">
                  <c:v>15.01.2021</c:v>
                </c:pt>
                <c:pt idx="320">
                  <c:v>16.01.2021</c:v>
                </c:pt>
                <c:pt idx="321">
                  <c:v>17.01.2021</c:v>
                </c:pt>
                <c:pt idx="322">
                  <c:v>18.01.2021</c:v>
                </c:pt>
                <c:pt idx="323">
                  <c:v>19.01.2021</c:v>
                </c:pt>
                <c:pt idx="324">
                  <c:v>20.01.2021</c:v>
                </c:pt>
                <c:pt idx="325">
                  <c:v>21.01.2021</c:v>
                </c:pt>
                <c:pt idx="326">
                  <c:v>22.01.2021</c:v>
                </c:pt>
                <c:pt idx="327">
                  <c:v>23.01.2021</c:v>
                </c:pt>
                <c:pt idx="328">
                  <c:v>24.01.2021</c:v>
                </c:pt>
                <c:pt idx="329">
                  <c:v>25.01.2021</c:v>
                </c:pt>
                <c:pt idx="330">
                  <c:v>26.01.2021</c:v>
                </c:pt>
                <c:pt idx="331">
                  <c:v>27.01.2021</c:v>
                </c:pt>
                <c:pt idx="332">
                  <c:v>28.01.2021</c:v>
                </c:pt>
                <c:pt idx="333">
                  <c:v>29.01.2021</c:v>
                </c:pt>
                <c:pt idx="334">
                  <c:v>30.01.2021</c:v>
                </c:pt>
                <c:pt idx="335">
                  <c:v>31.01.2021</c:v>
                </c:pt>
                <c:pt idx="336">
                  <c:v>01.02.2021</c:v>
                </c:pt>
                <c:pt idx="337">
                  <c:v>02.02.2021</c:v>
                </c:pt>
                <c:pt idx="338">
                  <c:v>03.02.2021</c:v>
                </c:pt>
                <c:pt idx="339">
                  <c:v>04.02.2021</c:v>
                </c:pt>
                <c:pt idx="340">
                  <c:v>05.02.2021</c:v>
                </c:pt>
                <c:pt idx="341">
                  <c:v>06.02.2021</c:v>
                </c:pt>
                <c:pt idx="342">
                  <c:v>07.02.2021</c:v>
                </c:pt>
                <c:pt idx="343">
                  <c:v>08.02.2021</c:v>
                </c:pt>
                <c:pt idx="344">
                  <c:v>09.02.2021</c:v>
                </c:pt>
                <c:pt idx="345">
                  <c:v>10.02.2021</c:v>
                </c:pt>
                <c:pt idx="346">
                  <c:v>11.02.2021</c:v>
                </c:pt>
                <c:pt idx="347">
                  <c:v>12.02.2021</c:v>
                </c:pt>
                <c:pt idx="348">
                  <c:v>13.02.2021</c:v>
                </c:pt>
                <c:pt idx="349">
                  <c:v>14.02.2021</c:v>
                </c:pt>
                <c:pt idx="350">
                  <c:v>15.02.2021</c:v>
                </c:pt>
                <c:pt idx="351">
                  <c:v>16.02.2021</c:v>
                </c:pt>
                <c:pt idx="352">
                  <c:v>17.02.2021</c:v>
                </c:pt>
                <c:pt idx="353">
                  <c:v>18.02.2021</c:v>
                </c:pt>
                <c:pt idx="354">
                  <c:v>19.02.2021</c:v>
                </c:pt>
                <c:pt idx="355">
                  <c:v>20.02.2021</c:v>
                </c:pt>
                <c:pt idx="356">
                  <c:v>21.02.2021</c:v>
                </c:pt>
                <c:pt idx="357">
                  <c:v>22.02.2021</c:v>
                </c:pt>
                <c:pt idx="358">
                  <c:v>23.02.2021</c:v>
                </c:pt>
                <c:pt idx="359">
                  <c:v>24.02.2021</c:v>
                </c:pt>
                <c:pt idx="360">
                  <c:v>25.02.2021</c:v>
                </c:pt>
                <c:pt idx="361">
                  <c:v>26.02.2021</c:v>
                </c:pt>
                <c:pt idx="362">
                  <c:v>27.02.2021</c:v>
                </c:pt>
                <c:pt idx="363">
                  <c:v>28.02.2021</c:v>
                </c:pt>
                <c:pt idx="364">
                  <c:v>01.03.2021</c:v>
                </c:pt>
                <c:pt idx="365">
                  <c:v>02.03.2021</c:v>
                </c:pt>
                <c:pt idx="366">
                  <c:v>03.03.2021</c:v>
                </c:pt>
                <c:pt idx="367">
                  <c:v>04.03.2021</c:v>
                </c:pt>
                <c:pt idx="368">
                  <c:v>05.03.2021</c:v>
                </c:pt>
                <c:pt idx="369">
                  <c:v>06.03.2021</c:v>
                </c:pt>
                <c:pt idx="370">
                  <c:v>07.03.2021</c:v>
                </c:pt>
                <c:pt idx="371">
                  <c:v>08.03.2021</c:v>
                </c:pt>
                <c:pt idx="372">
                  <c:v>09.03.2021</c:v>
                </c:pt>
                <c:pt idx="373">
                  <c:v>10.03.2021</c:v>
                </c:pt>
                <c:pt idx="374">
                  <c:v>11.03.2021</c:v>
                </c:pt>
                <c:pt idx="375">
                  <c:v>12.03.2021</c:v>
                </c:pt>
                <c:pt idx="376">
                  <c:v>13.03.2021</c:v>
                </c:pt>
                <c:pt idx="377">
                  <c:v>14.03.2021</c:v>
                </c:pt>
                <c:pt idx="378">
                  <c:v>15.03.2021</c:v>
                </c:pt>
                <c:pt idx="379">
                  <c:v>16.03.2021</c:v>
                </c:pt>
                <c:pt idx="380">
                  <c:v>17.03.2021</c:v>
                </c:pt>
                <c:pt idx="381">
                  <c:v>18.03.2021</c:v>
                </c:pt>
                <c:pt idx="382">
                  <c:v>19.03.2021</c:v>
                </c:pt>
                <c:pt idx="383">
                  <c:v>20.03.2021</c:v>
                </c:pt>
                <c:pt idx="384">
                  <c:v>21.03.2021</c:v>
                </c:pt>
                <c:pt idx="385">
                  <c:v>22.03.2021</c:v>
                </c:pt>
                <c:pt idx="386">
                  <c:v>23.03.2021</c:v>
                </c:pt>
                <c:pt idx="387">
                  <c:v>24.03.2021</c:v>
                </c:pt>
                <c:pt idx="388">
                  <c:v>25.03.2021</c:v>
                </c:pt>
                <c:pt idx="389">
                  <c:v>26.03.2021</c:v>
                </c:pt>
                <c:pt idx="390">
                  <c:v>27.03.2021</c:v>
                </c:pt>
                <c:pt idx="391">
                  <c:v>28.03.2021</c:v>
                </c:pt>
                <c:pt idx="392">
                  <c:v>29.03.2021</c:v>
                </c:pt>
                <c:pt idx="393">
                  <c:v>30.03.2021</c:v>
                </c:pt>
                <c:pt idx="394">
                  <c:v>31.03.2021</c:v>
                </c:pt>
                <c:pt idx="395">
                  <c:v>01.04.2021</c:v>
                </c:pt>
                <c:pt idx="396">
                  <c:v>02.04.2021</c:v>
                </c:pt>
                <c:pt idx="397">
                  <c:v>03.04.2021</c:v>
                </c:pt>
                <c:pt idx="398">
                  <c:v>04.04.2021</c:v>
                </c:pt>
                <c:pt idx="399">
                  <c:v>05.04.2021</c:v>
                </c:pt>
                <c:pt idx="400">
                  <c:v>06.04.2021</c:v>
                </c:pt>
                <c:pt idx="401">
                  <c:v>07.04.2021</c:v>
                </c:pt>
                <c:pt idx="402">
                  <c:v>08.04.2021</c:v>
                </c:pt>
                <c:pt idx="403">
                  <c:v>09.04.2021</c:v>
                </c:pt>
                <c:pt idx="404">
                  <c:v>10.04.2021</c:v>
                </c:pt>
                <c:pt idx="405">
                  <c:v>11.04.2021</c:v>
                </c:pt>
                <c:pt idx="406">
                  <c:v>12.04.2021</c:v>
                </c:pt>
                <c:pt idx="407">
                  <c:v>13.04.2021</c:v>
                </c:pt>
                <c:pt idx="408">
                  <c:v>14.04.2021</c:v>
                </c:pt>
                <c:pt idx="409">
                  <c:v>15.04.2021</c:v>
                </c:pt>
                <c:pt idx="410">
                  <c:v>16.04.2021</c:v>
                </c:pt>
                <c:pt idx="411">
                  <c:v>17.04.2021</c:v>
                </c:pt>
                <c:pt idx="412">
                  <c:v>18.04.2021</c:v>
                </c:pt>
                <c:pt idx="413">
                  <c:v>19.04.2021</c:v>
                </c:pt>
                <c:pt idx="414">
                  <c:v>20.04.2021</c:v>
                </c:pt>
                <c:pt idx="415">
                  <c:v>21.04.2021</c:v>
                </c:pt>
                <c:pt idx="416">
                  <c:v>22.04.2021</c:v>
                </c:pt>
                <c:pt idx="417">
                  <c:v>23.04.2021</c:v>
                </c:pt>
                <c:pt idx="418">
                  <c:v>24.04.2021</c:v>
                </c:pt>
                <c:pt idx="419">
                  <c:v>25.04.2021</c:v>
                </c:pt>
                <c:pt idx="420">
                  <c:v>26.04.2021</c:v>
                </c:pt>
                <c:pt idx="421">
                  <c:v>27.04.2021</c:v>
                </c:pt>
                <c:pt idx="422">
                  <c:v>28.04.2021</c:v>
                </c:pt>
                <c:pt idx="423">
                  <c:v>29.04.2021</c:v>
                </c:pt>
                <c:pt idx="424">
                  <c:v>30.04.2021</c:v>
                </c:pt>
                <c:pt idx="425">
                  <c:v>01.05.2021</c:v>
                </c:pt>
                <c:pt idx="426">
                  <c:v>02.05.2021</c:v>
                </c:pt>
                <c:pt idx="427">
                  <c:v>03.05.2021</c:v>
                </c:pt>
                <c:pt idx="428">
                  <c:v>04.05.2021</c:v>
                </c:pt>
                <c:pt idx="429">
                  <c:v>05.05.2021</c:v>
                </c:pt>
                <c:pt idx="430">
                  <c:v>06.05.2021</c:v>
                </c:pt>
                <c:pt idx="431">
                  <c:v>07.05.2021</c:v>
                </c:pt>
                <c:pt idx="432">
                  <c:v>08.05.2021</c:v>
                </c:pt>
                <c:pt idx="433">
                  <c:v>09.05.2021</c:v>
                </c:pt>
                <c:pt idx="434">
                  <c:v>10.05.2021</c:v>
                </c:pt>
                <c:pt idx="435">
                  <c:v>11.05.2021</c:v>
                </c:pt>
                <c:pt idx="436">
                  <c:v>12.05.2021</c:v>
                </c:pt>
                <c:pt idx="437">
                  <c:v>13.05.2021</c:v>
                </c:pt>
                <c:pt idx="438">
                  <c:v>14.05.2021</c:v>
                </c:pt>
                <c:pt idx="439">
                  <c:v>15.05.2021</c:v>
                </c:pt>
                <c:pt idx="440">
                  <c:v>16.05.2021</c:v>
                </c:pt>
                <c:pt idx="441">
                  <c:v>17.05.2021</c:v>
                </c:pt>
                <c:pt idx="442">
                  <c:v>18.05.2021</c:v>
                </c:pt>
                <c:pt idx="443">
                  <c:v>19.05.2021</c:v>
                </c:pt>
                <c:pt idx="444">
                  <c:v>20.05.2021</c:v>
                </c:pt>
                <c:pt idx="445">
                  <c:v>21.05.2021</c:v>
                </c:pt>
                <c:pt idx="446">
                  <c:v>22.05.2021</c:v>
                </c:pt>
                <c:pt idx="447">
                  <c:v>23.05.2021</c:v>
                </c:pt>
                <c:pt idx="448">
                  <c:v>24.05.2021</c:v>
                </c:pt>
                <c:pt idx="449">
                  <c:v>25.05.2021</c:v>
                </c:pt>
                <c:pt idx="450">
                  <c:v>26.05.2021</c:v>
                </c:pt>
                <c:pt idx="451">
                  <c:v>27.05.2021</c:v>
                </c:pt>
                <c:pt idx="452">
                  <c:v>28.05.2021</c:v>
                </c:pt>
                <c:pt idx="453">
                  <c:v>29.05.2021</c:v>
                </c:pt>
                <c:pt idx="454">
                  <c:v>30.05.2021</c:v>
                </c:pt>
                <c:pt idx="455">
                  <c:v>31.05.2021</c:v>
                </c:pt>
                <c:pt idx="456">
                  <c:v>01.06.2021</c:v>
                </c:pt>
                <c:pt idx="457">
                  <c:v>02.06.2021</c:v>
                </c:pt>
                <c:pt idx="458">
                  <c:v>03.06.2021</c:v>
                </c:pt>
                <c:pt idx="459">
                  <c:v>04.06.2021</c:v>
                </c:pt>
                <c:pt idx="460">
                  <c:v>05.06.2021</c:v>
                </c:pt>
                <c:pt idx="461">
                  <c:v>06.06.2021</c:v>
                </c:pt>
                <c:pt idx="462">
                  <c:v>07.06.2021</c:v>
                </c:pt>
                <c:pt idx="463">
                  <c:v>08.06.2021</c:v>
                </c:pt>
                <c:pt idx="464">
                  <c:v>09.06.2021</c:v>
                </c:pt>
                <c:pt idx="465">
                  <c:v>10.06.2021</c:v>
                </c:pt>
                <c:pt idx="466">
                  <c:v>11.06.2021</c:v>
                </c:pt>
                <c:pt idx="467">
                  <c:v>12.06.2021</c:v>
                </c:pt>
                <c:pt idx="468">
                  <c:v>13.06.2021</c:v>
                </c:pt>
                <c:pt idx="469">
                  <c:v>14.06.2021</c:v>
                </c:pt>
                <c:pt idx="470">
                  <c:v>15.06.2021</c:v>
                </c:pt>
                <c:pt idx="471">
                  <c:v>16.06.2021</c:v>
                </c:pt>
                <c:pt idx="472">
                  <c:v>17.06.2021</c:v>
                </c:pt>
                <c:pt idx="473">
                  <c:v>18.06.2021</c:v>
                </c:pt>
                <c:pt idx="474">
                  <c:v>19.06.2021</c:v>
                </c:pt>
                <c:pt idx="475">
                  <c:v>20.06.2021</c:v>
                </c:pt>
                <c:pt idx="476">
                  <c:v>21.06.2021</c:v>
                </c:pt>
                <c:pt idx="477">
                  <c:v>22.06.2021</c:v>
                </c:pt>
                <c:pt idx="478">
                  <c:v>23.06.2021</c:v>
                </c:pt>
                <c:pt idx="479">
                  <c:v>24.06.2021</c:v>
                </c:pt>
                <c:pt idx="480">
                  <c:v>25.06.2021</c:v>
                </c:pt>
                <c:pt idx="481">
                  <c:v>26.06.2021</c:v>
                </c:pt>
                <c:pt idx="482">
                  <c:v>27.06.2021</c:v>
                </c:pt>
                <c:pt idx="483">
                  <c:v>28.06.2021</c:v>
                </c:pt>
                <c:pt idx="484">
                  <c:v>29.06.2021</c:v>
                </c:pt>
                <c:pt idx="485">
                  <c:v>30.06.2021</c:v>
                </c:pt>
                <c:pt idx="486">
                  <c:v>01.07.2021</c:v>
                </c:pt>
                <c:pt idx="487">
                  <c:v>02.07.2021</c:v>
                </c:pt>
                <c:pt idx="488">
                  <c:v>03.07.2021</c:v>
                </c:pt>
                <c:pt idx="489">
                  <c:v>04.07.2021</c:v>
                </c:pt>
                <c:pt idx="490">
                  <c:v>05.07.2021</c:v>
                </c:pt>
                <c:pt idx="491">
                  <c:v>06.07.2021</c:v>
                </c:pt>
                <c:pt idx="492">
                  <c:v>07.07.2021</c:v>
                </c:pt>
                <c:pt idx="493">
                  <c:v>08.07.2021</c:v>
                </c:pt>
                <c:pt idx="494">
                  <c:v>09.07.2021</c:v>
                </c:pt>
                <c:pt idx="495">
                  <c:v>10.07.2021</c:v>
                </c:pt>
                <c:pt idx="496">
                  <c:v>11.07.2021</c:v>
                </c:pt>
                <c:pt idx="497">
                  <c:v>12.07.2021</c:v>
                </c:pt>
                <c:pt idx="498">
                  <c:v>13.07.2021</c:v>
                </c:pt>
                <c:pt idx="499">
                  <c:v>14.07.2021</c:v>
                </c:pt>
                <c:pt idx="500">
                  <c:v>15.07.2021</c:v>
                </c:pt>
                <c:pt idx="501">
                  <c:v>16.07.2021</c:v>
                </c:pt>
                <c:pt idx="502">
                  <c:v>17.07.2021</c:v>
                </c:pt>
                <c:pt idx="503">
                  <c:v>18.07.2021</c:v>
                </c:pt>
                <c:pt idx="504">
                  <c:v>19.07.2021</c:v>
                </c:pt>
                <c:pt idx="505">
                  <c:v>20.07.2021</c:v>
                </c:pt>
                <c:pt idx="506">
                  <c:v>21.07.2021</c:v>
                </c:pt>
                <c:pt idx="507">
                  <c:v>22.07.2021</c:v>
                </c:pt>
                <c:pt idx="508">
                  <c:v>23.07.2021</c:v>
                </c:pt>
                <c:pt idx="509">
                  <c:v>24.07.2021</c:v>
                </c:pt>
                <c:pt idx="510">
                  <c:v>25.07.2021</c:v>
                </c:pt>
                <c:pt idx="511">
                  <c:v>26.07.2021</c:v>
                </c:pt>
                <c:pt idx="512">
                  <c:v>27.07.2021</c:v>
                </c:pt>
                <c:pt idx="513">
                  <c:v>28.07.2021</c:v>
                </c:pt>
                <c:pt idx="514">
                  <c:v>29.07.2021</c:v>
                </c:pt>
                <c:pt idx="515">
                  <c:v>30.07.2021</c:v>
                </c:pt>
                <c:pt idx="516">
                  <c:v>31.07.2021</c:v>
                </c:pt>
                <c:pt idx="517">
                  <c:v>01.08.2021</c:v>
                </c:pt>
                <c:pt idx="518">
                  <c:v>02.08.2021</c:v>
                </c:pt>
                <c:pt idx="519">
                  <c:v>03.08.2021</c:v>
                </c:pt>
                <c:pt idx="520">
                  <c:v>04.08.2021</c:v>
                </c:pt>
                <c:pt idx="521">
                  <c:v>05.08.2021</c:v>
                </c:pt>
                <c:pt idx="522">
                  <c:v>06.08.2021</c:v>
                </c:pt>
                <c:pt idx="523">
                  <c:v>07.08.2021</c:v>
                </c:pt>
                <c:pt idx="524">
                  <c:v>08.08.2021</c:v>
                </c:pt>
                <c:pt idx="525">
                  <c:v>09.08.2021</c:v>
                </c:pt>
                <c:pt idx="526">
                  <c:v>10.08.2021</c:v>
                </c:pt>
                <c:pt idx="527">
                  <c:v>11.08.2021</c:v>
                </c:pt>
                <c:pt idx="528">
                  <c:v>12.08.2021</c:v>
                </c:pt>
                <c:pt idx="529">
                  <c:v>13.08.2021</c:v>
                </c:pt>
                <c:pt idx="530">
                  <c:v>14.08.2021</c:v>
                </c:pt>
                <c:pt idx="531">
                  <c:v>15.08.2021</c:v>
                </c:pt>
                <c:pt idx="532">
                  <c:v>16.08.2021</c:v>
                </c:pt>
                <c:pt idx="533">
                  <c:v>17.08.2021</c:v>
                </c:pt>
                <c:pt idx="534">
                  <c:v>18.08.2021</c:v>
                </c:pt>
                <c:pt idx="535">
                  <c:v>19.08.2021</c:v>
                </c:pt>
                <c:pt idx="536">
                  <c:v>20.08.2021</c:v>
                </c:pt>
                <c:pt idx="537">
                  <c:v>21.08.2021</c:v>
                </c:pt>
                <c:pt idx="538">
                  <c:v>22.08.2021</c:v>
                </c:pt>
                <c:pt idx="539">
                  <c:v>23.08.2021</c:v>
                </c:pt>
                <c:pt idx="540">
                  <c:v>24.08.2021</c:v>
                </c:pt>
                <c:pt idx="541">
                  <c:v>25.08.2021</c:v>
                </c:pt>
                <c:pt idx="542">
                  <c:v>26.08.2021</c:v>
                </c:pt>
                <c:pt idx="543">
                  <c:v>27.08.2021</c:v>
                </c:pt>
                <c:pt idx="544">
                  <c:v>28.08.2021</c:v>
                </c:pt>
                <c:pt idx="545">
                  <c:v>29.08.2021</c:v>
                </c:pt>
                <c:pt idx="546">
                  <c:v>30.08.2021</c:v>
                </c:pt>
                <c:pt idx="547">
                  <c:v>31.08.2021</c:v>
                </c:pt>
                <c:pt idx="548">
                  <c:v>01.09.2021</c:v>
                </c:pt>
                <c:pt idx="549">
                  <c:v>02.09.2021</c:v>
                </c:pt>
                <c:pt idx="550">
                  <c:v>03.09.2021</c:v>
                </c:pt>
                <c:pt idx="551">
                  <c:v>04.09.2021</c:v>
                </c:pt>
                <c:pt idx="552">
                  <c:v>05.09.2021</c:v>
                </c:pt>
                <c:pt idx="553">
                  <c:v>06.09.2021</c:v>
                </c:pt>
                <c:pt idx="554">
                  <c:v>07.09.2021</c:v>
                </c:pt>
                <c:pt idx="555">
                  <c:v>08.09.2021</c:v>
                </c:pt>
                <c:pt idx="556">
                  <c:v>09.09.2021</c:v>
                </c:pt>
                <c:pt idx="557">
                  <c:v>10.09.2021</c:v>
                </c:pt>
                <c:pt idx="558">
                  <c:v>11.09.2021</c:v>
                </c:pt>
                <c:pt idx="559">
                  <c:v>12.09.2021</c:v>
                </c:pt>
                <c:pt idx="560">
                  <c:v>13.09.2021</c:v>
                </c:pt>
                <c:pt idx="561">
                  <c:v>14.09.2021</c:v>
                </c:pt>
                <c:pt idx="562">
                  <c:v>15.09.2021</c:v>
                </c:pt>
                <c:pt idx="563">
                  <c:v>16.09.2021</c:v>
                </c:pt>
                <c:pt idx="564">
                  <c:v>17.09.2021</c:v>
                </c:pt>
                <c:pt idx="565">
                  <c:v>18.09.2021</c:v>
                </c:pt>
                <c:pt idx="566">
                  <c:v>19.09.2021</c:v>
                </c:pt>
                <c:pt idx="567">
                  <c:v>20.09.2021</c:v>
                </c:pt>
                <c:pt idx="568">
                  <c:v>21.09.2021</c:v>
                </c:pt>
                <c:pt idx="569">
                  <c:v>22.09.2021</c:v>
                </c:pt>
                <c:pt idx="570">
                  <c:v>23.09.2021</c:v>
                </c:pt>
                <c:pt idx="571">
                  <c:v>24.09.2021</c:v>
                </c:pt>
                <c:pt idx="572">
                  <c:v>25.09.2021</c:v>
                </c:pt>
                <c:pt idx="573">
                  <c:v>26.09.2021</c:v>
                </c:pt>
                <c:pt idx="574">
                  <c:v>27.09.2021</c:v>
                </c:pt>
                <c:pt idx="575">
                  <c:v>28.09.2021</c:v>
                </c:pt>
                <c:pt idx="576">
                  <c:v>29.09.2021</c:v>
                </c:pt>
                <c:pt idx="577">
                  <c:v>30.09.2021</c:v>
                </c:pt>
                <c:pt idx="578">
                  <c:v>01.10.2021</c:v>
                </c:pt>
                <c:pt idx="579">
                  <c:v>02.10.2021</c:v>
                </c:pt>
                <c:pt idx="580">
                  <c:v>03.10.2021</c:v>
                </c:pt>
                <c:pt idx="581">
                  <c:v>04.10.2021</c:v>
                </c:pt>
                <c:pt idx="582">
                  <c:v>05.10.2021</c:v>
                </c:pt>
                <c:pt idx="583">
                  <c:v>06.10.2021</c:v>
                </c:pt>
                <c:pt idx="584">
                  <c:v>07.10.2021</c:v>
                </c:pt>
                <c:pt idx="585">
                  <c:v>08.10.2021</c:v>
                </c:pt>
                <c:pt idx="586">
                  <c:v>09.10.2021</c:v>
                </c:pt>
                <c:pt idx="587">
                  <c:v>10.10.2021</c:v>
                </c:pt>
                <c:pt idx="588">
                  <c:v>11.10.2021</c:v>
                </c:pt>
                <c:pt idx="589">
                  <c:v>12.10.2021</c:v>
                </c:pt>
                <c:pt idx="590">
                  <c:v>13.10.2021</c:v>
                </c:pt>
                <c:pt idx="591">
                  <c:v>14.10.2021</c:v>
                </c:pt>
                <c:pt idx="592">
                  <c:v>15.10.2021</c:v>
                </c:pt>
                <c:pt idx="593">
                  <c:v>16.10.2021</c:v>
                </c:pt>
                <c:pt idx="594">
                  <c:v>17.10.2021</c:v>
                </c:pt>
                <c:pt idx="595">
                  <c:v>18.10.2021</c:v>
                </c:pt>
                <c:pt idx="596">
                  <c:v>19.10.2021</c:v>
                </c:pt>
                <c:pt idx="597">
                  <c:v>20.10.2021</c:v>
                </c:pt>
                <c:pt idx="598">
                  <c:v>21.10.2021</c:v>
                </c:pt>
                <c:pt idx="599">
                  <c:v>22.10.2021</c:v>
                </c:pt>
                <c:pt idx="600">
                  <c:v>23.10.2021</c:v>
                </c:pt>
                <c:pt idx="601">
                  <c:v>24.10.2021</c:v>
                </c:pt>
                <c:pt idx="602">
                  <c:v>25.10.2021</c:v>
                </c:pt>
                <c:pt idx="603">
                  <c:v>26.10.2021</c:v>
                </c:pt>
                <c:pt idx="604">
                  <c:v>27.10.2021</c:v>
                </c:pt>
                <c:pt idx="605">
                  <c:v>28.10.2021</c:v>
                </c:pt>
                <c:pt idx="606">
                  <c:v>29.10.2021</c:v>
                </c:pt>
                <c:pt idx="607">
                  <c:v>30.10.2021</c:v>
                </c:pt>
                <c:pt idx="608">
                  <c:v>31.10.2021</c:v>
                </c:pt>
                <c:pt idx="609">
                  <c:v>01.11.2021</c:v>
                </c:pt>
                <c:pt idx="610">
                  <c:v>02.11.2021</c:v>
                </c:pt>
                <c:pt idx="611">
                  <c:v>03.11.2021</c:v>
                </c:pt>
                <c:pt idx="612">
                  <c:v>04.11.2021</c:v>
                </c:pt>
                <c:pt idx="613">
                  <c:v>05.11.2021</c:v>
                </c:pt>
                <c:pt idx="614">
                  <c:v>06.11.2021</c:v>
                </c:pt>
                <c:pt idx="615">
                  <c:v>07.11.2021</c:v>
                </c:pt>
                <c:pt idx="616">
                  <c:v>08.11.2021</c:v>
                </c:pt>
                <c:pt idx="617">
                  <c:v>09.11.2021</c:v>
                </c:pt>
                <c:pt idx="618">
                  <c:v>10.11.2021</c:v>
                </c:pt>
                <c:pt idx="619">
                  <c:v>11.11.2021</c:v>
                </c:pt>
                <c:pt idx="620">
                  <c:v>12.11.2021</c:v>
                </c:pt>
                <c:pt idx="621">
                  <c:v>13.11.2021</c:v>
                </c:pt>
                <c:pt idx="622">
                  <c:v>14.11.2021</c:v>
                </c:pt>
                <c:pt idx="623">
                  <c:v>15.11.2021</c:v>
                </c:pt>
                <c:pt idx="624">
                  <c:v>16.11.2021</c:v>
                </c:pt>
                <c:pt idx="625">
                  <c:v>17.11.2021</c:v>
                </c:pt>
                <c:pt idx="626">
                  <c:v>18.11.2021</c:v>
                </c:pt>
                <c:pt idx="627">
                  <c:v>19.11.2021</c:v>
                </c:pt>
                <c:pt idx="628">
                  <c:v>20.11.2021</c:v>
                </c:pt>
                <c:pt idx="629">
                  <c:v>21.11.2021</c:v>
                </c:pt>
                <c:pt idx="630">
                  <c:v>22.11.2021</c:v>
                </c:pt>
                <c:pt idx="631">
                  <c:v>23.11.2021</c:v>
                </c:pt>
                <c:pt idx="632">
                  <c:v>24.11.2021</c:v>
                </c:pt>
                <c:pt idx="633">
                  <c:v>25.11.2021</c:v>
                </c:pt>
                <c:pt idx="634">
                  <c:v>26.11.2021</c:v>
                </c:pt>
                <c:pt idx="635">
                  <c:v>27.11.2021</c:v>
                </c:pt>
                <c:pt idx="636">
                  <c:v>28.11.2021</c:v>
                </c:pt>
                <c:pt idx="637">
                  <c:v>29.11.2021</c:v>
                </c:pt>
                <c:pt idx="638">
                  <c:v>30.11.2021</c:v>
                </c:pt>
                <c:pt idx="639">
                  <c:v>01.12.2021</c:v>
                </c:pt>
                <c:pt idx="640">
                  <c:v>02.12.2021</c:v>
                </c:pt>
                <c:pt idx="641">
                  <c:v>03.12.2021</c:v>
                </c:pt>
                <c:pt idx="642">
                  <c:v>04.12.2021</c:v>
                </c:pt>
                <c:pt idx="643">
                  <c:v>05.12.2021</c:v>
                </c:pt>
                <c:pt idx="644">
                  <c:v>06.12.2021</c:v>
                </c:pt>
                <c:pt idx="645">
                  <c:v>07.12.2021</c:v>
                </c:pt>
                <c:pt idx="646">
                  <c:v>08.12.2021</c:v>
                </c:pt>
                <c:pt idx="647">
                  <c:v>09.12.2021</c:v>
                </c:pt>
                <c:pt idx="648">
                  <c:v>10.12.2021</c:v>
                </c:pt>
                <c:pt idx="649">
                  <c:v>11.12.2021</c:v>
                </c:pt>
                <c:pt idx="650">
                  <c:v>12.12.2021</c:v>
                </c:pt>
                <c:pt idx="651">
                  <c:v>13.12.2021</c:v>
                </c:pt>
                <c:pt idx="652">
                  <c:v>14.12.2021</c:v>
                </c:pt>
                <c:pt idx="653">
                  <c:v>15.12.2021</c:v>
                </c:pt>
                <c:pt idx="654">
                  <c:v>16.12.2021</c:v>
                </c:pt>
                <c:pt idx="655">
                  <c:v>17.12.2021</c:v>
                </c:pt>
                <c:pt idx="656">
                  <c:v>18.12.2021</c:v>
                </c:pt>
                <c:pt idx="657">
                  <c:v>19.12.2021</c:v>
                </c:pt>
                <c:pt idx="658">
                  <c:v>20.12.2021</c:v>
                </c:pt>
                <c:pt idx="659">
                  <c:v>21.12.2021</c:v>
                </c:pt>
                <c:pt idx="660">
                  <c:v>22.12.2021</c:v>
                </c:pt>
                <c:pt idx="661">
                  <c:v>23.12.2021</c:v>
                </c:pt>
                <c:pt idx="662">
                  <c:v>24.12.2021</c:v>
                </c:pt>
                <c:pt idx="663">
                  <c:v>25.12.2021</c:v>
                </c:pt>
                <c:pt idx="664">
                  <c:v>26.12.2021</c:v>
                </c:pt>
                <c:pt idx="665">
                  <c:v>27.12.2021</c:v>
                </c:pt>
                <c:pt idx="666">
                  <c:v>28.12.2021</c:v>
                </c:pt>
                <c:pt idx="667">
                  <c:v>29.12.2021</c:v>
                </c:pt>
                <c:pt idx="668">
                  <c:v>30.12.2021</c:v>
                </c:pt>
                <c:pt idx="669">
                  <c:v>31.12.2021</c:v>
                </c:pt>
                <c:pt idx="670">
                  <c:v>01.01.2022</c:v>
                </c:pt>
                <c:pt idx="671">
                  <c:v>02.01.2022</c:v>
                </c:pt>
                <c:pt idx="672">
                  <c:v>03.01.2022</c:v>
                </c:pt>
                <c:pt idx="673">
                  <c:v>04.01.2022</c:v>
                </c:pt>
                <c:pt idx="674">
                  <c:v>05.01.2022</c:v>
                </c:pt>
                <c:pt idx="675">
                  <c:v>06.01.2022</c:v>
                </c:pt>
                <c:pt idx="676">
                  <c:v>07.01.2022</c:v>
                </c:pt>
                <c:pt idx="677">
                  <c:v>08.01.2022</c:v>
                </c:pt>
                <c:pt idx="678">
                  <c:v>09.01.2022</c:v>
                </c:pt>
                <c:pt idx="679">
                  <c:v>10.01.2022</c:v>
                </c:pt>
                <c:pt idx="680">
                  <c:v>11.01.2022</c:v>
                </c:pt>
                <c:pt idx="681">
                  <c:v>12.01.2022</c:v>
                </c:pt>
                <c:pt idx="682">
                  <c:v>13.01.2022</c:v>
                </c:pt>
                <c:pt idx="683">
                  <c:v>14.01.2022</c:v>
                </c:pt>
                <c:pt idx="684">
                  <c:v>15.01.2022</c:v>
                </c:pt>
              </c:strCache>
            </c:strRef>
          </c:cat>
          <c:val>
            <c:numRef>
              <c:f>Sheet1!$B$1:$B$685</c:f>
              <c:numCache>
                <c:formatCode>General</c:formatCode>
                <c:ptCount val="68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1</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1</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1</c:v>
                </c:pt>
                <c:pt idx="185">
                  <c:v>0</c:v>
                </c:pt>
                <c:pt idx="186">
                  <c:v>0</c:v>
                </c:pt>
                <c:pt idx="187">
                  <c:v>0</c:v>
                </c:pt>
                <c:pt idx="188">
                  <c:v>0</c:v>
                </c:pt>
                <c:pt idx="189">
                  <c:v>1</c:v>
                </c:pt>
                <c:pt idx="190">
                  <c:v>0</c:v>
                </c:pt>
                <c:pt idx="191">
                  <c:v>0</c:v>
                </c:pt>
                <c:pt idx="192">
                  <c:v>1</c:v>
                </c:pt>
                <c:pt idx="193">
                  <c:v>0</c:v>
                </c:pt>
                <c:pt idx="194">
                  <c:v>0</c:v>
                </c:pt>
                <c:pt idx="195">
                  <c:v>0</c:v>
                </c:pt>
                <c:pt idx="196">
                  <c:v>0</c:v>
                </c:pt>
                <c:pt idx="197">
                  <c:v>0</c:v>
                </c:pt>
                <c:pt idx="198">
                  <c:v>0</c:v>
                </c:pt>
                <c:pt idx="199">
                  <c:v>1</c:v>
                </c:pt>
                <c:pt idx="200">
                  <c:v>1</c:v>
                </c:pt>
                <c:pt idx="201">
                  <c:v>0</c:v>
                </c:pt>
                <c:pt idx="202">
                  <c:v>0</c:v>
                </c:pt>
                <c:pt idx="203">
                  <c:v>0</c:v>
                </c:pt>
                <c:pt idx="204">
                  <c:v>1</c:v>
                </c:pt>
                <c:pt idx="205">
                  <c:v>0</c:v>
                </c:pt>
                <c:pt idx="206">
                  <c:v>0</c:v>
                </c:pt>
                <c:pt idx="207">
                  <c:v>2</c:v>
                </c:pt>
                <c:pt idx="208">
                  <c:v>1</c:v>
                </c:pt>
                <c:pt idx="209">
                  <c:v>0</c:v>
                </c:pt>
                <c:pt idx="210">
                  <c:v>0</c:v>
                </c:pt>
                <c:pt idx="211">
                  <c:v>1</c:v>
                </c:pt>
                <c:pt idx="212">
                  <c:v>0</c:v>
                </c:pt>
                <c:pt idx="213">
                  <c:v>0</c:v>
                </c:pt>
                <c:pt idx="214">
                  <c:v>1</c:v>
                </c:pt>
                <c:pt idx="215">
                  <c:v>1</c:v>
                </c:pt>
                <c:pt idx="216">
                  <c:v>0</c:v>
                </c:pt>
                <c:pt idx="217">
                  <c:v>0</c:v>
                </c:pt>
                <c:pt idx="218">
                  <c:v>0</c:v>
                </c:pt>
                <c:pt idx="219">
                  <c:v>1</c:v>
                </c:pt>
                <c:pt idx="220">
                  <c:v>0</c:v>
                </c:pt>
                <c:pt idx="221">
                  <c:v>0</c:v>
                </c:pt>
                <c:pt idx="222">
                  <c:v>1</c:v>
                </c:pt>
                <c:pt idx="223">
                  <c:v>0</c:v>
                </c:pt>
                <c:pt idx="224">
                  <c:v>0</c:v>
                </c:pt>
                <c:pt idx="225">
                  <c:v>0</c:v>
                </c:pt>
                <c:pt idx="226">
                  <c:v>3</c:v>
                </c:pt>
                <c:pt idx="227">
                  <c:v>1</c:v>
                </c:pt>
                <c:pt idx="228">
                  <c:v>2</c:v>
                </c:pt>
                <c:pt idx="229">
                  <c:v>1</c:v>
                </c:pt>
                <c:pt idx="230">
                  <c:v>3</c:v>
                </c:pt>
                <c:pt idx="231">
                  <c:v>1</c:v>
                </c:pt>
                <c:pt idx="232">
                  <c:v>0</c:v>
                </c:pt>
                <c:pt idx="233">
                  <c:v>4</c:v>
                </c:pt>
                <c:pt idx="234">
                  <c:v>2</c:v>
                </c:pt>
                <c:pt idx="235">
                  <c:v>4</c:v>
                </c:pt>
                <c:pt idx="236">
                  <c:v>2</c:v>
                </c:pt>
                <c:pt idx="237">
                  <c:v>3</c:v>
                </c:pt>
                <c:pt idx="238">
                  <c:v>2</c:v>
                </c:pt>
                <c:pt idx="239">
                  <c:v>2</c:v>
                </c:pt>
                <c:pt idx="240">
                  <c:v>3</c:v>
                </c:pt>
                <c:pt idx="241">
                  <c:v>7</c:v>
                </c:pt>
                <c:pt idx="242">
                  <c:v>4</c:v>
                </c:pt>
                <c:pt idx="243">
                  <c:v>4</c:v>
                </c:pt>
                <c:pt idx="244">
                  <c:v>8</c:v>
                </c:pt>
                <c:pt idx="245">
                  <c:v>1</c:v>
                </c:pt>
                <c:pt idx="246">
                  <c:v>1</c:v>
                </c:pt>
                <c:pt idx="247">
                  <c:v>3</c:v>
                </c:pt>
                <c:pt idx="248">
                  <c:v>8</c:v>
                </c:pt>
                <c:pt idx="249">
                  <c:v>2</c:v>
                </c:pt>
                <c:pt idx="250">
                  <c:v>4</c:v>
                </c:pt>
                <c:pt idx="251">
                  <c:v>1</c:v>
                </c:pt>
                <c:pt idx="252">
                  <c:v>3</c:v>
                </c:pt>
                <c:pt idx="253">
                  <c:v>1</c:v>
                </c:pt>
                <c:pt idx="254">
                  <c:v>1</c:v>
                </c:pt>
                <c:pt idx="255">
                  <c:v>1</c:v>
                </c:pt>
                <c:pt idx="256">
                  <c:v>1</c:v>
                </c:pt>
                <c:pt idx="257">
                  <c:v>1</c:v>
                </c:pt>
                <c:pt idx="258">
                  <c:v>2</c:v>
                </c:pt>
                <c:pt idx="259">
                  <c:v>5</c:v>
                </c:pt>
                <c:pt idx="260">
                  <c:v>2</c:v>
                </c:pt>
                <c:pt idx="261">
                  <c:v>3</c:v>
                </c:pt>
                <c:pt idx="262">
                  <c:v>4</c:v>
                </c:pt>
                <c:pt idx="263">
                  <c:v>1</c:v>
                </c:pt>
                <c:pt idx="264">
                  <c:v>2</c:v>
                </c:pt>
                <c:pt idx="265">
                  <c:v>1</c:v>
                </c:pt>
                <c:pt idx="266">
                  <c:v>4</c:v>
                </c:pt>
                <c:pt idx="267">
                  <c:v>1</c:v>
                </c:pt>
                <c:pt idx="268">
                  <c:v>3</c:v>
                </c:pt>
                <c:pt idx="269">
                  <c:v>2</c:v>
                </c:pt>
                <c:pt idx="270">
                  <c:v>3</c:v>
                </c:pt>
                <c:pt idx="271">
                  <c:v>0</c:v>
                </c:pt>
                <c:pt idx="272">
                  <c:v>0</c:v>
                </c:pt>
                <c:pt idx="273">
                  <c:v>0</c:v>
                </c:pt>
                <c:pt idx="274">
                  <c:v>1</c:v>
                </c:pt>
                <c:pt idx="275">
                  <c:v>2</c:v>
                </c:pt>
                <c:pt idx="276">
                  <c:v>6</c:v>
                </c:pt>
                <c:pt idx="277">
                  <c:v>4</c:v>
                </c:pt>
                <c:pt idx="278">
                  <c:v>0</c:v>
                </c:pt>
                <c:pt idx="279">
                  <c:v>1</c:v>
                </c:pt>
                <c:pt idx="280">
                  <c:v>5</c:v>
                </c:pt>
                <c:pt idx="281">
                  <c:v>4</c:v>
                </c:pt>
                <c:pt idx="282">
                  <c:v>5</c:v>
                </c:pt>
                <c:pt idx="283">
                  <c:v>4</c:v>
                </c:pt>
                <c:pt idx="284">
                  <c:v>4</c:v>
                </c:pt>
                <c:pt idx="285">
                  <c:v>3</c:v>
                </c:pt>
                <c:pt idx="286">
                  <c:v>0</c:v>
                </c:pt>
                <c:pt idx="287">
                  <c:v>2</c:v>
                </c:pt>
                <c:pt idx="288">
                  <c:v>2</c:v>
                </c:pt>
                <c:pt idx="289">
                  <c:v>5</c:v>
                </c:pt>
                <c:pt idx="290">
                  <c:v>4</c:v>
                </c:pt>
                <c:pt idx="291">
                  <c:v>8</c:v>
                </c:pt>
                <c:pt idx="292">
                  <c:v>5</c:v>
                </c:pt>
                <c:pt idx="293">
                  <c:v>2</c:v>
                </c:pt>
                <c:pt idx="294">
                  <c:v>7</c:v>
                </c:pt>
                <c:pt idx="295">
                  <c:v>2</c:v>
                </c:pt>
                <c:pt idx="296">
                  <c:v>9</c:v>
                </c:pt>
                <c:pt idx="297">
                  <c:v>4</c:v>
                </c:pt>
                <c:pt idx="298">
                  <c:v>3</c:v>
                </c:pt>
                <c:pt idx="299">
                  <c:v>4</c:v>
                </c:pt>
                <c:pt idx="300">
                  <c:v>3</c:v>
                </c:pt>
                <c:pt idx="301">
                  <c:v>3</c:v>
                </c:pt>
                <c:pt idx="302">
                  <c:v>10</c:v>
                </c:pt>
                <c:pt idx="303">
                  <c:v>13</c:v>
                </c:pt>
                <c:pt idx="304">
                  <c:v>9</c:v>
                </c:pt>
                <c:pt idx="305" formatCode="[$-10409]#\ ##0;\(#\ ##0\)">
                  <c:v>6</c:v>
                </c:pt>
                <c:pt idx="306" formatCode="[$-10409]#\ ##0;\(#\ ##0\)">
                  <c:v>2</c:v>
                </c:pt>
                <c:pt idx="307" formatCode="[$-10409]#\ ##0;\(#\ ##0\)">
                  <c:v>8</c:v>
                </c:pt>
                <c:pt idx="308" formatCode="[$-10409]#\ ##0;\(#\ ##0\)">
                  <c:v>12</c:v>
                </c:pt>
                <c:pt idx="309" formatCode="[$-10409]#\ ##0;\(#\ ##0\)">
                  <c:v>16</c:v>
                </c:pt>
                <c:pt idx="310" formatCode="[$-10409]#\ ##0;\(#\ ##0\)">
                  <c:v>8</c:v>
                </c:pt>
                <c:pt idx="311" formatCode="[$-10409]#\ ##0;\(#\ ##0\)">
                  <c:v>19</c:v>
                </c:pt>
                <c:pt idx="312" formatCode="[$-10409]#\ ##0;\(#\ ##0\)">
                  <c:v>8</c:v>
                </c:pt>
                <c:pt idx="313" formatCode="[$-10409]#\ ##0;\(#\ ##0\)">
                  <c:v>9</c:v>
                </c:pt>
                <c:pt idx="314" formatCode="[$-10409]#\ ##0;\(#\ ##0\)">
                  <c:v>5</c:v>
                </c:pt>
                <c:pt idx="315" formatCode="[$-10409]#\ ##0;\(#\ ##0\)">
                  <c:v>13</c:v>
                </c:pt>
                <c:pt idx="316" formatCode="[$-10409]#\ ##0;\(#\ ##0\)">
                  <c:v>15</c:v>
                </c:pt>
                <c:pt idx="317" formatCode="[$-10409]#\ ##0;\(#\ ##0\)">
                  <c:v>13</c:v>
                </c:pt>
                <c:pt idx="318" formatCode="[$-10409]#\ ##0;\(#\ ##0\)">
                  <c:v>12</c:v>
                </c:pt>
                <c:pt idx="319" formatCode="[$-10409]#\ ##0;\(#\ ##0\)">
                  <c:v>10</c:v>
                </c:pt>
                <c:pt idx="320" formatCode="[$-10409]#\ ##0;\(#\ ##0\)">
                  <c:v>7</c:v>
                </c:pt>
                <c:pt idx="321" formatCode="[$-10409]#\ ##0;\(#\ ##0\)">
                  <c:v>2</c:v>
                </c:pt>
                <c:pt idx="322" formatCode="[$-10409]#\ ##0;\(#\ ##0\)">
                  <c:v>17</c:v>
                </c:pt>
                <c:pt idx="323" formatCode="[$-10409]#\ ##0;\(#\ ##0\)">
                  <c:v>18</c:v>
                </c:pt>
                <c:pt idx="324" formatCode="[$-10409]#\ ##0;\(#\ ##0\)">
                  <c:v>9</c:v>
                </c:pt>
                <c:pt idx="325" formatCode="[$-10409]#\ ##0;\(#\ ##0\)">
                  <c:v>8</c:v>
                </c:pt>
                <c:pt idx="326" formatCode="[$-10409]#\ ##0;\(#\ ##0\)">
                  <c:v>32</c:v>
                </c:pt>
                <c:pt idx="327" formatCode="[$-10409]#\ ##0;\(#\ ##0\)">
                  <c:v>9</c:v>
                </c:pt>
                <c:pt idx="328" formatCode="[$-10409]#\ ##0;\(#\ ##0\)">
                  <c:v>10</c:v>
                </c:pt>
                <c:pt idx="329" formatCode="[$-10409]#\ ##0;\(#\ ##0\)">
                  <c:v>25</c:v>
                </c:pt>
                <c:pt idx="330" formatCode="[$-10409]#\ ##0;\(#\ ##0\)">
                  <c:v>30</c:v>
                </c:pt>
                <c:pt idx="331" formatCode="[$-10409]#\ ##0;\(#\ ##0\)">
                  <c:v>24</c:v>
                </c:pt>
                <c:pt idx="332" formatCode="[$-10409]#\ ##0;\(#\ ##0\)">
                  <c:v>38</c:v>
                </c:pt>
                <c:pt idx="333" formatCode="[$-10409]#\ ##0;\(#\ ##0\)">
                  <c:v>26</c:v>
                </c:pt>
                <c:pt idx="334" formatCode="[$-10409]#\ ##0;\(#\ ##0\)">
                  <c:v>15</c:v>
                </c:pt>
                <c:pt idx="335" formatCode="[$-10409]#\ ##0;\(#\ ##0\)">
                  <c:v>16</c:v>
                </c:pt>
                <c:pt idx="336" formatCode="[$-10409]#\ ##0;\(#\ ##0\)">
                  <c:v>27</c:v>
                </c:pt>
                <c:pt idx="337" formatCode="[$-10409]#\ ##0;\(#\ ##0\)">
                  <c:v>32</c:v>
                </c:pt>
                <c:pt idx="338" formatCode="[$-10409]#\ ##0;\(#\ ##0\)">
                  <c:v>50</c:v>
                </c:pt>
                <c:pt idx="339" formatCode="[$-10409]#\ ##0;\(#\ ##0\)">
                  <c:v>46</c:v>
                </c:pt>
                <c:pt idx="340" formatCode="[$-10409]#\ ##0;\(#\ ##0\)">
                  <c:v>31</c:v>
                </c:pt>
                <c:pt idx="341" formatCode="[$-10409]#\ ##0;\(#\ ##0\)">
                  <c:v>18</c:v>
                </c:pt>
                <c:pt idx="342" formatCode="[$-10409]#\ ##0;\(#\ ##0\)">
                  <c:v>9</c:v>
                </c:pt>
                <c:pt idx="343" formatCode="[$-10409]#\ ##0;\(#\ ##0\)">
                  <c:v>42</c:v>
                </c:pt>
                <c:pt idx="344" formatCode="[$-10409]#\ ##0;\(#\ ##0\)">
                  <c:v>61</c:v>
                </c:pt>
                <c:pt idx="345" formatCode="[$-10409]#\ ##0;\(#\ ##0\)">
                  <c:v>43</c:v>
                </c:pt>
                <c:pt idx="346" formatCode="[$-10409]#\ ##0;\(#\ ##0\)">
                  <c:v>32</c:v>
                </c:pt>
                <c:pt idx="347" formatCode="[$-10409]#\ ##0;\(#\ ##0\)">
                  <c:v>36</c:v>
                </c:pt>
                <c:pt idx="348" formatCode="[$-10409]#\ ##0;\(#\ ##0\)">
                  <c:v>27</c:v>
                </c:pt>
                <c:pt idx="349" formatCode="[$-10409]#\ ##0;\(#\ ##0\)">
                  <c:v>12</c:v>
                </c:pt>
                <c:pt idx="350" formatCode="[$-10409]#\ ##0;\(#\ ##0\)">
                  <c:v>49</c:v>
                </c:pt>
                <c:pt idx="351" formatCode="[$-10409]#\ ##0;\(#\ ##0\)">
                  <c:v>61</c:v>
                </c:pt>
                <c:pt idx="352" formatCode="[$-10409]#\ ##0;\(#\ ##0\)">
                  <c:v>62</c:v>
                </c:pt>
                <c:pt idx="353" formatCode="[$-10409]#\ ##0;\(#\ ##0\)">
                  <c:v>68</c:v>
                </c:pt>
                <c:pt idx="354" formatCode="[$-10409]#\ ##0;\(#\ ##0\)">
                  <c:v>59</c:v>
                </c:pt>
                <c:pt idx="355" formatCode="[$-10409]#\ ##0;\(#\ ##0\)">
                  <c:v>43</c:v>
                </c:pt>
                <c:pt idx="356" formatCode="[$-10409]#\ ##0;\(#\ ##0\)">
                  <c:v>21</c:v>
                </c:pt>
                <c:pt idx="357" formatCode="[$-10409]#\ ##0;\(#\ ##0\)">
                  <c:v>66</c:v>
                </c:pt>
                <c:pt idx="358" formatCode="[$-10409]#\ ##0;\(#\ ##0\)">
                  <c:v>84</c:v>
                </c:pt>
                <c:pt idx="359" formatCode="[$-10409]#\ ##0;\(#\ ##0\)">
                  <c:v>93</c:v>
                </c:pt>
                <c:pt idx="360" formatCode="[$-10409]#\ ##0;\(#\ ##0\)">
                  <c:v>78</c:v>
                </c:pt>
                <c:pt idx="361" formatCode="[$-10409]#\ ##0;\(#\ ##0\)">
                  <c:v>82</c:v>
                </c:pt>
                <c:pt idx="362" formatCode="[$-10409]#\ ##0;\(#\ ##0\)">
                  <c:v>25</c:v>
                </c:pt>
                <c:pt idx="363" formatCode="[$-10409]#\ ##0;\(#\ ##0\)">
                  <c:v>23</c:v>
                </c:pt>
                <c:pt idx="364" formatCode="[$-10409]#\ ##0;\(#\ ##0\)">
                  <c:v>61</c:v>
                </c:pt>
                <c:pt idx="365" formatCode="[$-10409]#\ ##0;\(#\ ##0\)">
                  <c:v>96</c:v>
                </c:pt>
                <c:pt idx="366" formatCode="[$-10409]#\ ##0;\(#\ ##0\)">
                  <c:v>102</c:v>
                </c:pt>
                <c:pt idx="367" formatCode="[$-10409]#\ ##0;\(#\ ##0\)">
                  <c:v>86</c:v>
                </c:pt>
                <c:pt idx="368" formatCode="[$-10409]#\ ##0;\(#\ ##0\)">
                  <c:v>87</c:v>
                </c:pt>
                <c:pt idx="369" formatCode="[$-10409]#\ ##0;\(#\ ##0\)">
                  <c:v>76</c:v>
                </c:pt>
                <c:pt idx="370" formatCode="[$-10409]#\ ##0;\(#\ ##0\)">
                  <c:v>28</c:v>
                </c:pt>
                <c:pt idx="371" formatCode="[$-10409]#\ ##0;\(#\ ##0\)">
                  <c:v>55</c:v>
                </c:pt>
                <c:pt idx="372" formatCode="[$-10409]#\ ##0;\(#\ ##0\)">
                  <c:v>46</c:v>
                </c:pt>
                <c:pt idx="373" formatCode="[$-10409]#\ ##0;\(#\ ##0\)">
                  <c:v>75</c:v>
                </c:pt>
                <c:pt idx="374" formatCode="[$-10409]#\ ##0;\(#\ ##0\)">
                  <c:v>55</c:v>
                </c:pt>
                <c:pt idx="375" formatCode="[$-10409]#\ ##0;\(#\ ##0\)">
                  <c:v>95</c:v>
                </c:pt>
                <c:pt idx="376" formatCode="[$-10409]#\ ##0;\(#\ ##0\)">
                  <c:v>39</c:v>
                </c:pt>
                <c:pt idx="377" formatCode="[$-10409]#\ ##0;\(#\ ##0\)">
                  <c:v>24</c:v>
                </c:pt>
                <c:pt idx="378" formatCode="[$-10409]#\ ##0;\(#\ ##0\)">
                  <c:v>62</c:v>
                </c:pt>
                <c:pt idx="379" formatCode="[$-10409]#\ ##0;\(#\ ##0\)">
                  <c:v>61</c:v>
                </c:pt>
                <c:pt idx="380" formatCode="[$-10409]#\ ##0;\(#\ ##0\)">
                  <c:v>70</c:v>
                </c:pt>
                <c:pt idx="381" formatCode="[$-10409]#\ ##0;\(#\ ##0\)">
                  <c:v>52</c:v>
                </c:pt>
                <c:pt idx="382" formatCode="[$-10409]#\ ##0;\(#\ ##0\)">
                  <c:v>63</c:v>
                </c:pt>
                <c:pt idx="383" formatCode="[$-10409]#\ ##0;\(#\ ##0\)">
                  <c:v>33</c:v>
                </c:pt>
                <c:pt idx="384" formatCode="[$-10409]#\ ##0;\(#\ ##0\)">
                  <c:v>12</c:v>
                </c:pt>
                <c:pt idx="385" formatCode="[$-10409]#\ ##0;\(#\ ##0\)">
                  <c:v>43</c:v>
                </c:pt>
                <c:pt idx="386" formatCode="[$-10409]#\ ##0;\(#\ ##0\)">
                  <c:v>63</c:v>
                </c:pt>
                <c:pt idx="387" formatCode="[$-10409]#\ ##0;\(#\ ##0\)">
                  <c:v>60</c:v>
                </c:pt>
                <c:pt idx="388" formatCode="[$-10409]#\ ##0;\(#\ ##0\)">
                  <c:v>25</c:v>
                </c:pt>
                <c:pt idx="389" formatCode="[$-10409]#\ ##0;\(#\ ##0\)">
                  <c:v>87</c:v>
                </c:pt>
                <c:pt idx="390" formatCode="[$-10409]#\ ##0;\(#\ ##0\)">
                  <c:v>24</c:v>
                </c:pt>
                <c:pt idx="391" formatCode="[$-10409]#\ ##0;\(#\ ##0\)">
                  <c:v>10</c:v>
                </c:pt>
                <c:pt idx="392" formatCode="[$-10409]#\ ##0;\(#\ ##0\)">
                  <c:v>55</c:v>
                </c:pt>
                <c:pt idx="393" formatCode="[$-10409]#\ ##0;\(#\ ##0\)">
                  <c:v>55</c:v>
                </c:pt>
                <c:pt idx="394" formatCode="[$-10409]#\ ##0;\(#\ ##0\)">
                  <c:v>53</c:v>
                </c:pt>
                <c:pt idx="395" formatCode="[$-10409]#\ ##0;\(#\ ##0\)">
                  <c:v>52</c:v>
                </c:pt>
                <c:pt idx="396" formatCode="[$-10409]#\ ##0;\(#\ ##0\)">
                  <c:v>34</c:v>
                </c:pt>
                <c:pt idx="397" formatCode="[$-10409]#\ ##0;\(#\ ##0\)">
                  <c:v>12</c:v>
                </c:pt>
                <c:pt idx="398" formatCode="[$-10409]#\ ##0;\(#\ ##0\)">
                  <c:v>14</c:v>
                </c:pt>
                <c:pt idx="399" formatCode="[$-10409]#\ ##0;\(#\ ##0\)">
                  <c:v>11</c:v>
                </c:pt>
                <c:pt idx="400" formatCode="[$-10409]#\ ##0;\(#\ ##0\)">
                  <c:v>49</c:v>
                </c:pt>
                <c:pt idx="401" formatCode="[$-10409]#\ ##0;\(#\ ##0\)">
                  <c:v>54</c:v>
                </c:pt>
                <c:pt idx="402" formatCode="[$-10409]#\ ##0;\(#\ ##0\)">
                  <c:v>33</c:v>
                </c:pt>
                <c:pt idx="403" formatCode="[$-10409]#\ ##0;\(#\ ##0\)">
                  <c:v>25</c:v>
                </c:pt>
                <c:pt idx="404" formatCode="[$-10409]#\ ##0;\(#\ ##0\)">
                  <c:v>17</c:v>
                </c:pt>
                <c:pt idx="405" formatCode="[$-10409]#\ ##0;\(#\ ##0\)">
                  <c:v>11</c:v>
                </c:pt>
                <c:pt idx="406" formatCode="[$-10409]#\ ##0;\(#\ ##0\)">
                  <c:v>42</c:v>
                </c:pt>
                <c:pt idx="407" formatCode="[$-10409]#\ ##0;\(#\ ##0\)">
                  <c:v>40</c:v>
                </c:pt>
                <c:pt idx="408" formatCode="[$-10409]#\ ##0;\(#\ ##0\)">
                  <c:v>23</c:v>
                </c:pt>
                <c:pt idx="409" formatCode="[$-10409]#\ ##0;\(#\ ##0\)">
                  <c:v>25</c:v>
                </c:pt>
                <c:pt idx="410" formatCode="[$-10409]#\ ##0;\(#\ ##0\)">
                  <c:v>26</c:v>
                </c:pt>
                <c:pt idx="411" formatCode="[$-10409]#\ ##0;\(#\ ##0\)">
                  <c:v>15</c:v>
                </c:pt>
                <c:pt idx="412" formatCode="[$-10409]#\ ##0;\(#\ ##0\)">
                  <c:v>8</c:v>
                </c:pt>
                <c:pt idx="413" formatCode="[$-10409]#\ ##0;\(#\ ##0\)">
                  <c:v>22</c:v>
                </c:pt>
                <c:pt idx="414" formatCode="[$-10409]#\ ##0;\(#\ ##0\)">
                  <c:v>27</c:v>
                </c:pt>
                <c:pt idx="415" formatCode="[$-10409]#\ ##0;\(#\ ##0\)">
                  <c:v>13</c:v>
                </c:pt>
                <c:pt idx="416" formatCode="[$-10409]#\ ##0;\(#\ ##0\)">
                  <c:v>15</c:v>
                </c:pt>
                <c:pt idx="417" formatCode="[$-10409]#\ ##0;\(#\ ##0\)">
                  <c:v>23</c:v>
                </c:pt>
                <c:pt idx="418" formatCode="[$-10409]#\ ##0;\(#\ ##0\)">
                  <c:v>9</c:v>
                </c:pt>
                <c:pt idx="419" formatCode="[$-10409]#\ ##0;\(#\ ##0\)">
                  <c:v>10</c:v>
                </c:pt>
                <c:pt idx="420" formatCode="[$-10409]#\ ##0;\(#\ ##0\)">
                  <c:v>32</c:v>
                </c:pt>
                <c:pt idx="421" formatCode="[$-10409]#\ ##0;\(#\ ##0\)">
                  <c:v>21</c:v>
                </c:pt>
                <c:pt idx="422" formatCode="[$-10409]#\ ##0;\(#\ ##0\)">
                  <c:v>21</c:v>
                </c:pt>
                <c:pt idx="423" formatCode="[$-10409]#\ ##0;\(#\ ##0\)">
                  <c:v>27</c:v>
                </c:pt>
                <c:pt idx="424" formatCode="[$-10409]#\ ##0;\(#\ ##0\)">
                  <c:v>25</c:v>
                </c:pt>
                <c:pt idx="425" formatCode="[$-10409]#\ ##0;\(#\ ##0\)">
                  <c:v>12</c:v>
                </c:pt>
                <c:pt idx="426" formatCode="[$-10409]#\ ##0;\(#\ ##0\)">
                  <c:v>2</c:v>
                </c:pt>
                <c:pt idx="427" formatCode="[$-10409]#\ ##0;\(#\ ##0\)">
                  <c:v>24</c:v>
                </c:pt>
                <c:pt idx="428" formatCode="[$-10409]#\ ##0;\(#\ ##0\)">
                  <c:v>20</c:v>
                </c:pt>
                <c:pt idx="429" formatCode="[$-10409]#\ ##0;\(#\ ##0\)">
                  <c:v>16</c:v>
                </c:pt>
                <c:pt idx="430" formatCode="[$-10409]#\ ##0;\(#\ ##0\)">
                  <c:v>18</c:v>
                </c:pt>
                <c:pt idx="431" formatCode="[$-10409]#\ ##0;\(#\ ##0\)">
                  <c:v>15</c:v>
                </c:pt>
                <c:pt idx="432" formatCode="[$-10409]#\ ##0;\(#\ ##0\)">
                  <c:v>9</c:v>
                </c:pt>
                <c:pt idx="433" formatCode="[$-10409]#\ ##0;\(#\ ##0\)">
                  <c:v>8</c:v>
                </c:pt>
                <c:pt idx="434" formatCode="[$-10409]#\ ##0;\(#\ ##0\)">
                  <c:v>14</c:v>
                </c:pt>
                <c:pt idx="435" formatCode="[$-10409]#\ ##0;\(#\ ##0\)">
                  <c:v>15</c:v>
                </c:pt>
                <c:pt idx="436" formatCode="[$-10409]#\ ##0;\(#\ ##0\)">
                  <c:v>11</c:v>
                </c:pt>
                <c:pt idx="437" formatCode="[$-10409]#\ ##0;\(#\ ##0\)">
                  <c:v>16</c:v>
                </c:pt>
                <c:pt idx="438" formatCode="[$-10409]#\ ##0;\(#\ ##0\)">
                  <c:v>20</c:v>
                </c:pt>
                <c:pt idx="439" formatCode="[$-10409]#\ ##0;\(#\ ##0\)">
                  <c:v>6</c:v>
                </c:pt>
                <c:pt idx="440" formatCode="[$-10409]#\ ##0;\(#\ ##0\)">
                  <c:v>4</c:v>
                </c:pt>
                <c:pt idx="441" formatCode="[$-10409]#\ ##0;\(#\ ##0\)">
                  <c:v>16</c:v>
                </c:pt>
                <c:pt idx="442" formatCode="[$-10409]#\ ##0;\(#\ ##0\)">
                  <c:v>17</c:v>
                </c:pt>
                <c:pt idx="443" formatCode="[$-10409]#\ ##0;\(#\ ##0\)">
                  <c:v>14</c:v>
                </c:pt>
                <c:pt idx="444" formatCode="[$-10409]#\ ##0;\(#\ ##0\)">
                  <c:v>16</c:v>
                </c:pt>
                <c:pt idx="445" formatCode="[$-10409]#\ ##0;\(#\ ##0\)">
                  <c:v>13</c:v>
                </c:pt>
                <c:pt idx="446" formatCode="[$-10409]#\ ##0;\(#\ ##0\)">
                  <c:v>5</c:v>
                </c:pt>
                <c:pt idx="447" formatCode="[$-10409]#\ ##0;\(#\ ##0\)">
                  <c:v>2</c:v>
                </c:pt>
                <c:pt idx="448" formatCode="[$-10409]#\ ##0;\(#\ ##0\)">
                  <c:v>9</c:v>
                </c:pt>
                <c:pt idx="449" formatCode="[$-10409]#\ ##0;\(#\ ##0\)">
                  <c:v>11</c:v>
                </c:pt>
                <c:pt idx="450" formatCode="[$-10409]#\ ##0;\(#\ ##0\)">
                  <c:v>7</c:v>
                </c:pt>
                <c:pt idx="451" formatCode="[$-10409]#\ ##0;\(#\ ##0\)">
                  <c:v>7</c:v>
                </c:pt>
                <c:pt idx="452" formatCode="[$-10409]#\ ##0;\(#\ ##0\)">
                  <c:v>8</c:v>
                </c:pt>
                <c:pt idx="453" formatCode="[$-10409]#\ ##0;\(#\ ##0\)">
                  <c:v>3</c:v>
                </c:pt>
                <c:pt idx="454" formatCode="[$-10409]#\ ##0;\(#\ ##0\)">
                  <c:v>2</c:v>
                </c:pt>
                <c:pt idx="455" formatCode="[$-10409]#\ ##0;\(#\ ##0\)">
                  <c:v>7</c:v>
                </c:pt>
                <c:pt idx="456" formatCode="[$-10409]#\ ##0;\(#\ ##0\)">
                  <c:v>7</c:v>
                </c:pt>
                <c:pt idx="457" formatCode="[$-10409]#\ ##0;\(#\ ##0\)">
                  <c:v>7</c:v>
                </c:pt>
                <c:pt idx="458" formatCode="[$-10409]#\ ##0;\(#\ ##0\)">
                  <c:v>8</c:v>
                </c:pt>
                <c:pt idx="459" formatCode="[$-10409]#\ ##0;\(#\ ##0\)">
                  <c:v>2</c:v>
                </c:pt>
                <c:pt idx="460" formatCode="[$-10409]#\ ##0;\(#\ ##0\)">
                  <c:v>2</c:v>
                </c:pt>
                <c:pt idx="461" formatCode="[$-10409]#\ ##0;\(#\ ##0\)">
                  <c:v>0</c:v>
                </c:pt>
                <c:pt idx="462" formatCode="[$-10409]#\ ##0;\(#\ ##0\)">
                  <c:v>6</c:v>
                </c:pt>
                <c:pt idx="463" formatCode="[$-10409]#\ ##0;\(#\ ##0\)">
                  <c:v>4</c:v>
                </c:pt>
                <c:pt idx="464" formatCode="[$-10409]#\ ##0;\(#\ ##0\)">
                  <c:v>6</c:v>
                </c:pt>
                <c:pt idx="465" formatCode="[$-10409]#\ ##0;\(#\ ##0\)">
                  <c:v>6</c:v>
                </c:pt>
                <c:pt idx="466" formatCode="[$-10409]#\ ##0;\(#\ ##0\)">
                  <c:v>3</c:v>
                </c:pt>
                <c:pt idx="467" formatCode="[$-10409]#\ ##0;\(#\ ##0\)">
                  <c:v>3</c:v>
                </c:pt>
                <c:pt idx="468" formatCode="[$-10409]#\ ##0;\(#\ ##0\)">
                  <c:v>1</c:v>
                </c:pt>
                <c:pt idx="469" formatCode="[$-10409]#\ ##0;\(#\ ##0\)">
                  <c:v>2</c:v>
                </c:pt>
                <c:pt idx="470" formatCode="[$-10409]#\ ##0;\(#\ ##0\)">
                  <c:v>5</c:v>
                </c:pt>
                <c:pt idx="471" formatCode="[$-10409]#\ ##0;\(#\ ##0\)">
                  <c:v>6</c:v>
                </c:pt>
                <c:pt idx="472" formatCode="[$-10409]#\ ##0;\(#\ ##0\)">
                  <c:v>3</c:v>
                </c:pt>
                <c:pt idx="473" formatCode="[$-10409]#\ ##0;\(#\ ##0\)">
                  <c:v>3</c:v>
                </c:pt>
                <c:pt idx="474" formatCode="[$-10409]#\ ##0;\(#\ ##0\)">
                  <c:v>1</c:v>
                </c:pt>
                <c:pt idx="475" formatCode="[$-10409]#\ ##0;\(#\ ##0\)">
                  <c:v>1</c:v>
                </c:pt>
                <c:pt idx="476" formatCode="[$-10409]#\ ##0;\(#\ ##0\)">
                  <c:v>3</c:v>
                </c:pt>
                <c:pt idx="477" formatCode="[$-10409]#\ ##0;\(#\ ##0\)">
                  <c:v>1</c:v>
                </c:pt>
                <c:pt idx="478" formatCode="[$-10409]#\ ##0;\(#\ ##0\)">
                  <c:v>5</c:v>
                </c:pt>
                <c:pt idx="479" formatCode="[$-10409]#\ ##0;\(#\ ##0\)">
                  <c:v>4</c:v>
                </c:pt>
                <c:pt idx="480" formatCode="[$-10409]#\ ##0;\(#\ ##0\)">
                  <c:v>1</c:v>
                </c:pt>
                <c:pt idx="481" formatCode="[$-10409]#\ ##0;\(#\ ##0\)">
                  <c:v>1</c:v>
                </c:pt>
                <c:pt idx="482" formatCode="[$-10409]#\ ##0;\(#\ ##0\)">
                  <c:v>0</c:v>
                </c:pt>
                <c:pt idx="483" formatCode="[$-10409]#\ ##0;\(#\ ##0\)">
                  <c:v>5</c:v>
                </c:pt>
                <c:pt idx="484" formatCode="[$-10409]#\ ##0;\(#\ ##0\)">
                  <c:v>4</c:v>
                </c:pt>
                <c:pt idx="485" formatCode="[$-10409]#\ ##0;\(#\ ##0\)">
                  <c:v>7</c:v>
                </c:pt>
                <c:pt idx="486" formatCode="[$-10409]#\ ##0;\(#\ ##0\)">
                  <c:v>7</c:v>
                </c:pt>
                <c:pt idx="487" formatCode="[$-10409]#\ ##0;\(#\ ##0\)">
                  <c:v>11</c:v>
                </c:pt>
                <c:pt idx="488" formatCode="[$-10409]#\ ##0;\(#\ ##0\)">
                  <c:v>3</c:v>
                </c:pt>
                <c:pt idx="489" formatCode="[$-10409]#\ ##0;\(#\ ##0\)">
                  <c:v>3</c:v>
                </c:pt>
                <c:pt idx="490" formatCode="[$-10409]#\ ##0;\(#\ ##0\)">
                  <c:v>5</c:v>
                </c:pt>
                <c:pt idx="491" formatCode="[$-10409]#\ ##0;\(#\ ##0\)">
                  <c:v>2</c:v>
                </c:pt>
                <c:pt idx="492" formatCode="[$-10409]#\ ##0;\(#\ ##0\)">
                  <c:v>5</c:v>
                </c:pt>
                <c:pt idx="493" formatCode="[$-10409]#\ ##0;\(#\ ##0\)">
                  <c:v>11</c:v>
                </c:pt>
                <c:pt idx="494" formatCode="[$-10409]#\ ##0;\(#\ ##0\)">
                  <c:v>8</c:v>
                </c:pt>
                <c:pt idx="495" formatCode="[$-10409]#\ ##0;\(#\ ##0\)">
                  <c:v>10</c:v>
                </c:pt>
                <c:pt idx="496" formatCode="[$-10409]#\ ##0;\(#\ ##0\)">
                  <c:v>5</c:v>
                </c:pt>
                <c:pt idx="497" formatCode="[$-10409]#\ ##0;\(#\ ##0\)">
                  <c:v>7</c:v>
                </c:pt>
                <c:pt idx="498" formatCode="[$-10409]#\ ##0;\(#\ ##0\)">
                  <c:v>8</c:v>
                </c:pt>
                <c:pt idx="499" formatCode="[$-10409]#\ ##0;\(#\ ##0\)">
                  <c:v>12</c:v>
                </c:pt>
                <c:pt idx="500" formatCode="[$-10409]#\ ##0;\(#\ ##0\)">
                  <c:v>9</c:v>
                </c:pt>
                <c:pt idx="501" formatCode="[$-10409]#\ ##0;\(#\ ##0\)">
                  <c:v>9</c:v>
                </c:pt>
                <c:pt idx="502" formatCode="[$-10409]#\ ##0;\(#\ ##0\)">
                  <c:v>4</c:v>
                </c:pt>
                <c:pt idx="503" formatCode="[$-10409]#\ ##0;\(#\ ##0\)">
                  <c:v>3</c:v>
                </c:pt>
                <c:pt idx="504" formatCode="[$-10409]#\ ##0;\(#\ ##0\)">
                  <c:v>4</c:v>
                </c:pt>
                <c:pt idx="505" formatCode="[$-10409]#\ ##0;\(#\ ##0\)">
                  <c:v>13</c:v>
                </c:pt>
                <c:pt idx="506" formatCode="[$-10409]#\ ##0;\(#\ ##0\)">
                  <c:v>10</c:v>
                </c:pt>
                <c:pt idx="507" formatCode="[$-10409]#\ ##0;\(#\ ##0\)">
                  <c:v>7</c:v>
                </c:pt>
                <c:pt idx="508" formatCode="[$-10409]#\ ##0;\(#\ ##0\)">
                  <c:v>9</c:v>
                </c:pt>
                <c:pt idx="509" formatCode="[$-10409]#\ ##0;\(#\ ##0\)">
                  <c:v>7</c:v>
                </c:pt>
                <c:pt idx="510" formatCode="[$-10409]#\ ##0;\(#\ ##0\)">
                  <c:v>2</c:v>
                </c:pt>
                <c:pt idx="511" formatCode="[$-10409]#\ ##0;\(#\ ##0\)">
                  <c:v>7</c:v>
                </c:pt>
                <c:pt idx="512" formatCode="[$-10409]#\ ##0;\(#\ ##0\)">
                  <c:v>7</c:v>
                </c:pt>
                <c:pt idx="513" formatCode="[$-10409]#\ ##0;\(#\ ##0\)">
                  <c:v>4</c:v>
                </c:pt>
                <c:pt idx="514" formatCode="[$-10409]#\ ##0;\(#\ ##0\)">
                  <c:v>11</c:v>
                </c:pt>
                <c:pt idx="515" formatCode="[$-10409]#\ ##0;\(#\ ##0\)">
                  <c:v>11</c:v>
                </c:pt>
                <c:pt idx="516" formatCode="[$-10409]#\ ##0;\(#\ ##0\)">
                  <c:v>0</c:v>
                </c:pt>
                <c:pt idx="517" formatCode="[$-10409]#\ ##0;\(#\ ##0\)">
                  <c:v>0</c:v>
                </c:pt>
                <c:pt idx="518" formatCode="[$-10409]#\ ##0;\(#\ ##0\)">
                  <c:v>6</c:v>
                </c:pt>
                <c:pt idx="519" formatCode="[$-10409]#\ ##0;\(#\ ##0\)">
                  <c:v>7</c:v>
                </c:pt>
                <c:pt idx="520" formatCode="[$-10409]#\ ##0;\(#\ ##0\)">
                  <c:v>3</c:v>
                </c:pt>
                <c:pt idx="521" formatCode="[$-10409]#\ ##0;\(#\ ##0\)">
                  <c:v>5</c:v>
                </c:pt>
                <c:pt idx="522" formatCode="[$-10409]#\ ##0;\(#\ ##0\)">
                  <c:v>6</c:v>
                </c:pt>
                <c:pt idx="523" formatCode="[$-10409]#\ ##0;\(#\ ##0\)">
                  <c:v>5</c:v>
                </c:pt>
                <c:pt idx="524" formatCode="[$-10409]#\ ##0;\(#\ ##0\)">
                  <c:v>1</c:v>
                </c:pt>
                <c:pt idx="525" formatCode="[$-10409]#\ ##0;\(#\ ##0\)">
                  <c:v>5</c:v>
                </c:pt>
                <c:pt idx="526" formatCode="[$-10409]#\ ##0;\(#\ ##0\)">
                  <c:v>6</c:v>
                </c:pt>
                <c:pt idx="527" formatCode="[$-10409]#\ ##0;\(#\ ##0\)">
                  <c:v>6</c:v>
                </c:pt>
                <c:pt idx="528" formatCode="[$-10409]#\ ##0;\(#\ ##0\)">
                  <c:v>5</c:v>
                </c:pt>
                <c:pt idx="529" formatCode="[$-10409]#\ ##0;\(#\ ##0\)">
                  <c:v>8</c:v>
                </c:pt>
                <c:pt idx="530" formatCode="[$-10409]#\ ##0;\(#\ ##0\)">
                  <c:v>1</c:v>
                </c:pt>
                <c:pt idx="531" formatCode="[$-10409]#\ ##0;\(#\ ##0\)">
                  <c:v>0</c:v>
                </c:pt>
                <c:pt idx="532" formatCode="[$-10409]#\ ##0;\(#\ ##0\)">
                  <c:v>10</c:v>
                </c:pt>
                <c:pt idx="533" formatCode="[$-10409]#\ ##0;\(#\ ##0\)">
                  <c:v>8</c:v>
                </c:pt>
                <c:pt idx="534" formatCode="[$-10409]#\ ##0;\(#\ ##0\)">
                  <c:v>8</c:v>
                </c:pt>
                <c:pt idx="535" formatCode="[$-10409]#\ ##0;\(#\ ##0\)">
                  <c:v>4</c:v>
                </c:pt>
                <c:pt idx="536" formatCode="[$-10409]#\ ##0;\(#\ ##0\)">
                  <c:v>7</c:v>
                </c:pt>
                <c:pt idx="537" formatCode="[$-10409]#\ ##0;\(#\ ##0\)">
                  <c:v>5</c:v>
                </c:pt>
                <c:pt idx="538" formatCode="[$-10409]#\ ##0;\(#\ ##0\)">
                  <c:v>6</c:v>
                </c:pt>
                <c:pt idx="539" formatCode="[$-10409]#\ ##0;\(#\ ##0\)">
                  <c:v>5</c:v>
                </c:pt>
                <c:pt idx="540" formatCode="[$-10409]#\ ##0;\(#\ ##0\)">
                  <c:v>6</c:v>
                </c:pt>
                <c:pt idx="541" formatCode="[$-10409]#\ ##0;\(#\ ##0\)">
                  <c:v>5</c:v>
                </c:pt>
                <c:pt idx="542" formatCode="[$-10409]#\ ##0;\(#\ ##0\)">
                  <c:v>4</c:v>
                </c:pt>
                <c:pt idx="543" formatCode="[$-10409]#\ ##0;\(#\ ##0\)">
                  <c:v>5</c:v>
                </c:pt>
                <c:pt idx="544" formatCode="[$-10409]#\ ##0;\(#\ ##0\)">
                  <c:v>5</c:v>
                </c:pt>
                <c:pt idx="545" formatCode="[$-10409]#\ ##0;\(#\ ##0\)">
                  <c:v>1</c:v>
                </c:pt>
                <c:pt idx="546" formatCode="[$-10409]#\ ##0;\(#\ ##0\)">
                  <c:v>3</c:v>
                </c:pt>
                <c:pt idx="547" formatCode="[$-10409]#\ ##0;\(#\ ##0\)">
                  <c:v>5</c:v>
                </c:pt>
                <c:pt idx="548" formatCode="[$-10409]#\ ##0;\(#\ ##0\)">
                  <c:v>3</c:v>
                </c:pt>
                <c:pt idx="549" formatCode="[$-10409]#\ ##0;\(#\ ##0\)">
                  <c:v>8</c:v>
                </c:pt>
                <c:pt idx="550" formatCode="[$-10409]#\ ##0;\(#\ ##0\)">
                  <c:v>12</c:v>
                </c:pt>
                <c:pt idx="551" formatCode="[$-10409]#\ ##0;\(#\ ##0\)">
                  <c:v>4</c:v>
                </c:pt>
                <c:pt idx="552" formatCode="[$-10409]#\ ##0;\(#\ ##0\)">
                  <c:v>3</c:v>
                </c:pt>
                <c:pt idx="553" formatCode="[$-10409]#\ ##0;\(#\ ##0\)">
                  <c:v>8</c:v>
                </c:pt>
                <c:pt idx="554" formatCode="[$-10409]#\ ##0;\(#\ ##0\)">
                  <c:v>8</c:v>
                </c:pt>
                <c:pt idx="555" formatCode="[$-10409]#\ ##0;\(#\ ##0\)">
                  <c:v>11</c:v>
                </c:pt>
                <c:pt idx="556" formatCode="[$-10409]#\ ##0;\(#\ ##0\)">
                  <c:v>11</c:v>
                </c:pt>
                <c:pt idx="557" formatCode="[$-10409]#\ ##0;\(#\ ##0\)">
                  <c:v>9</c:v>
                </c:pt>
                <c:pt idx="558" formatCode="[$-10409]#\ ##0;\(#\ ##0\)">
                  <c:v>3</c:v>
                </c:pt>
                <c:pt idx="559" formatCode="[$-10409]#\ ##0;\(#\ ##0\)">
                  <c:v>5</c:v>
                </c:pt>
                <c:pt idx="560" formatCode="[$-10409]#\ ##0;\(#\ ##0\)">
                  <c:v>13</c:v>
                </c:pt>
                <c:pt idx="561" formatCode="[$-10409]#\ ##0;\(#\ ##0\)">
                  <c:v>12</c:v>
                </c:pt>
                <c:pt idx="562" formatCode="[$-10409]#\ ##0;\(#\ ##0\)">
                  <c:v>5</c:v>
                </c:pt>
                <c:pt idx="563" formatCode="[$-10409]#\ ##0;\(#\ ##0\)">
                  <c:v>20</c:v>
                </c:pt>
                <c:pt idx="564" formatCode="[$-10409]#\ ##0;\(#\ ##0\)">
                  <c:v>10</c:v>
                </c:pt>
                <c:pt idx="565" formatCode="[$-10409]#\ ##0;\(#\ ##0\)">
                  <c:v>7</c:v>
                </c:pt>
                <c:pt idx="566" formatCode="[$-10409]#\ ##0;\(#\ ##0\)">
                  <c:v>4</c:v>
                </c:pt>
                <c:pt idx="567" formatCode="[$-10409]#\ ##0;\(#\ ##0\)">
                  <c:v>13</c:v>
                </c:pt>
                <c:pt idx="568" formatCode="[$-10409]#\ ##0;\(#\ ##0\)">
                  <c:v>14</c:v>
                </c:pt>
                <c:pt idx="569" formatCode="[$-10409]#\ ##0;\(#\ ##0\)">
                  <c:v>17</c:v>
                </c:pt>
                <c:pt idx="570" formatCode="[$-10409]#\ ##0;\(#\ ##0\)">
                  <c:v>14</c:v>
                </c:pt>
                <c:pt idx="571" formatCode="[$-10409]#\ ##0;\(#\ ##0\)">
                  <c:v>16</c:v>
                </c:pt>
                <c:pt idx="572" formatCode="[$-10409]#\ ##0;\(#\ ##0\)">
                  <c:v>12</c:v>
                </c:pt>
                <c:pt idx="573" formatCode="[$-10409]#\ ##0;\(#\ ##0\)">
                  <c:v>2</c:v>
                </c:pt>
                <c:pt idx="574" formatCode="[$-10409]#\ ##0;\(#\ ##0\)">
                  <c:v>6</c:v>
                </c:pt>
                <c:pt idx="575" formatCode="[$-10409]#\ ##0;\(#\ ##0\)">
                  <c:v>7</c:v>
                </c:pt>
                <c:pt idx="576" formatCode="[$-10409]#\ ##0;\(#\ ##0\)">
                  <c:v>15</c:v>
                </c:pt>
                <c:pt idx="577" formatCode="[$-10409]#\ ##0;\(#\ ##0\)">
                  <c:v>13</c:v>
                </c:pt>
                <c:pt idx="578" formatCode="[$-10409]#\ ##0;\(#\ ##0\)">
                  <c:v>18</c:v>
                </c:pt>
                <c:pt idx="579" formatCode="[$-10409]#\ ##0;\(#\ ##0\)">
                  <c:v>11</c:v>
                </c:pt>
                <c:pt idx="580" formatCode="[$-10409]#\ ##0;\(#\ ##0\)">
                  <c:v>1</c:v>
                </c:pt>
                <c:pt idx="581" formatCode="[$-10409]#\ ##0;\(#\ ##0\)">
                  <c:v>19</c:v>
                </c:pt>
                <c:pt idx="582" formatCode="[$-10409]#\ ##0;\(#\ ##0\)">
                  <c:v>14</c:v>
                </c:pt>
                <c:pt idx="583" formatCode="[$-10409]#\ ##0;\(#\ ##0\)">
                  <c:v>17</c:v>
                </c:pt>
                <c:pt idx="584" formatCode="[$-10409]#\ ##0;\(#\ ##0\)">
                  <c:v>24</c:v>
                </c:pt>
                <c:pt idx="585" formatCode="[$-10409]#\ ##0;\(#\ ##0\)">
                  <c:v>19</c:v>
                </c:pt>
                <c:pt idx="586" formatCode="[$-10409]#\ ##0;\(#\ ##0\)">
                  <c:v>8</c:v>
                </c:pt>
                <c:pt idx="587" formatCode="[$-10409]#\ ##0;\(#\ ##0\)">
                  <c:v>8</c:v>
                </c:pt>
                <c:pt idx="588" formatCode="[$-10409]#\ ##0;\(#\ ##0\)">
                  <c:v>23</c:v>
                </c:pt>
                <c:pt idx="589" formatCode="[$-10409]#\ ##0;\(#\ ##0\)">
                  <c:v>38</c:v>
                </c:pt>
                <c:pt idx="590" formatCode="[$-10409]#\ ##0;\(#\ ##0\)">
                  <c:v>24</c:v>
                </c:pt>
                <c:pt idx="591" formatCode="[$-10409]#\ ##0;\(#\ ##0\)">
                  <c:v>34</c:v>
                </c:pt>
                <c:pt idx="592" formatCode="[$-10409]#\ ##0;\(#\ ##0\)">
                  <c:v>43</c:v>
                </c:pt>
                <c:pt idx="593" formatCode="[$-10409]#\ ##0;\(#\ ##0\)">
                  <c:v>34</c:v>
                </c:pt>
                <c:pt idx="594" formatCode="[$-10409]#\ ##0;\(#\ ##0\)">
                  <c:v>14</c:v>
                </c:pt>
                <c:pt idx="595" formatCode="[$-10409]#\ ##0;\(#\ ##0\)">
                  <c:v>50</c:v>
                </c:pt>
                <c:pt idx="596" formatCode="[$-10409]#\ ##0;\(#\ ##0\)">
                  <c:v>60</c:v>
                </c:pt>
                <c:pt idx="597" formatCode="[$-10409]#\ ##0;\(#\ ##0\)">
                  <c:v>80</c:v>
                </c:pt>
                <c:pt idx="598" formatCode="[$-10409]#\ ##0;\(#\ ##0\)">
                  <c:v>95</c:v>
                </c:pt>
                <c:pt idx="599" formatCode="[$-10409]#\ ##0;\(#\ ##0\)">
                  <c:v>112</c:v>
                </c:pt>
                <c:pt idx="600" formatCode="[$-10409]#\ ##0;\(#\ ##0\)">
                  <c:v>53</c:v>
                </c:pt>
                <c:pt idx="601" formatCode="[$-10409]#\ ##0;\(#\ ##0\)">
                  <c:v>35</c:v>
                </c:pt>
                <c:pt idx="602" formatCode="[$-10409]#\ ##0;\(#\ ##0\)">
                  <c:v>88</c:v>
                </c:pt>
                <c:pt idx="603" formatCode="[$-10409]#\ ##0;\(#\ ##0\)">
                  <c:v>165</c:v>
                </c:pt>
                <c:pt idx="604" formatCode="[$-10409]#\ ##0;\(#\ ##0\)">
                  <c:v>108</c:v>
                </c:pt>
                <c:pt idx="605" formatCode="[$-10409]#\ ##0;\(#\ ##0\)">
                  <c:v>103</c:v>
                </c:pt>
                <c:pt idx="606" formatCode="[$-10409]#\ ##0;\(#\ ##0\)">
                  <c:v>125</c:v>
                </c:pt>
                <c:pt idx="607" formatCode="[$-10409]#\ ##0;\(#\ ##0\)">
                  <c:v>127</c:v>
                </c:pt>
                <c:pt idx="608" formatCode="[$-10409]#\ ##0;\(#\ ##0\)">
                  <c:v>64</c:v>
                </c:pt>
                <c:pt idx="609" formatCode="[$-10409]#\ ##0;\(#\ ##0\)">
                  <c:v>212</c:v>
                </c:pt>
                <c:pt idx="610" formatCode="[$-10409]#\ ##0;\(#\ ##0\)">
                  <c:v>109</c:v>
                </c:pt>
                <c:pt idx="611" formatCode="[$-10409]#\ ##0;\(#\ ##0\)">
                  <c:v>219</c:v>
                </c:pt>
                <c:pt idx="612" formatCode="[$-10409]#\ ##0;\(#\ ##0\)">
                  <c:v>291</c:v>
                </c:pt>
                <c:pt idx="613" formatCode="[$-10409]#\ ##0;\(#\ ##0\)">
                  <c:v>217</c:v>
                </c:pt>
                <c:pt idx="614" formatCode="[$-10409]#\ ##0;\(#\ ##0\)">
                  <c:v>123</c:v>
                </c:pt>
                <c:pt idx="615" formatCode="[$-10409]#\ ##0;\(#\ ##0\)">
                  <c:v>87</c:v>
                </c:pt>
                <c:pt idx="616" formatCode="[$-10409]#\ ##0;\(#\ ##0\)">
                  <c:v>210</c:v>
                </c:pt>
                <c:pt idx="617" formatCode="[$-10409]#\ ##0;\(#\ ##0\)">
                  <c:v>294</c:v>
                </c:pt>
                <c:pt idx="618" formatCode="[$-10409]#\ ##0;\(#\ ##0\)">
                  <c:v>334</c:v>
                </c:pt>
                <c:pt idx="619" formatCode="[$-10409]#\ ##0;\(#\ ##0\)">
                  <c:v>224</c:v>
                </c:pt>
                <c:pt idx="620" formatCode="[$-10409]#\ ##0;\(#\ ##0\)">
                  <c:v>392</c:v>
                </c:pt>
                <c:pt idx="621" formatCode="[$-10409]#\ ##0;\(#\ ##0\)">
                  <c:v>227</c:v>
                </c:pt>
                <c:pt idx="622" formatCode="[$-10409]#\ ##0;\(#\ ##0\)">
                  <c:v>114</c:v>
                </c:pt>
                <c:pt idx="623" formatCode="[$-10409]#\ ##0;\(#\ ##0\)">
                  <c:v>265</c:v>
                </c:pt>
                <c:pt idx="624" formatCode="[$-10409]#\ ##0;\(#\ ##0\)">
                  <c:v>571</c:v>
                </c:pt>
                <c:pt idx="625" formatCode="[$-10409]#\ ##0;\(#\ ##0\)">
                  <c:v>355</c:v>
                </c:pt>
                <c:pt idx="626" formatCode="[$-10409]#\ ##0;\(#\ ##0\)">
                  <c:v>330</c:v>
                </c:pt>
                <c:pt idx="627" formatCode="[$-10409]#\ ##0;\(#\ ##0\)">
                  <c:v>651</c:v>
                </c:pt>
                <c:pt idx="628" formatCode="[$-10409]#\ ##0;\(#\ ##0\)">
                  <c:v>330</c:v>
                </c:pt>
                <c:pt idx="629" formatCode="[$-10409]#\ ##0;\(#\ ##0\)">
                  <c:v>204</c:v>
                </c:pt>
                <c:pt idx="630" formatCode="[$-10409]#\ ##0;\(#\ ##0\)">
                  <c:v>345</c:v>
                </c:pt>
                <c:pt idx="631" formatCode="[$-10409]#\ ##0;\(#\ ##0\)">
                  <c:v>671</c:v>
                </c:pt>
                <c:pt idx="632" formatCode="[$-10409]#\ ##0;\(#\ ##0\)">
                  <c:v>417</c:v>
                </c:pt>
                <c:pt idx="633" formatCode="[$-10409]#\ ##0;\(#\ ##0\)">
                  <c:v>632</c:v>
                </c:pt>
                <c:pt idx="634" formatCode="[$-10409]#\ ##0;\(#\ ##0\)">
                  <c:v>675</c:v>
                </c:pt>
                <c:pt idx="635" formatCode="[$-10409]#\ ##0;\(#\ ##0\)">
                  <c:v>325</c:v>
                </c:pt>
                <c:pt idx="636" formatCode="[$-10409]#\ ##0;\(#\ ##0\)">
                  <c:v>193</c:v>
                </c:pt>
                <c:pt idx="637" formatCode="[$-10409]#\ ##0;\(#\ ##0\)">
                  <c:v>467</c:v>
                </c:pt>
                <c:pt idx="638" formatCode="[$-10409]#\ ##0;\(#\ ##0\)">
                  <c:v>546</c:v>
                </c:pt>
                <c:pt idx="639" formatCode="[$-10409]#\ ##0;\(#\ ##0\)">
                  <c:v>509</c:v>
                </c:pt>
                <c:pt idx="640" formatCode="[$-10409]#\ ##0;\(#\ ##0\)">
                  <c:v>498</c:v>
                </c:pt>
                <c:pt idx="641" formatCode="[$-10409]#\ ##0;\(#\ ##0\)">
                  <c:v>440</c:v>
                </c:pt>
                <c:pt idx="642" formatCode="[$-10409]#\ ##0;\(#\ ##0\)">
                  <c:v>291</c:v>
                </c:pt>
                <c:pt idx="643" formatCode="[$-10409]#\ ##0;\(#\ ##0\)">
                  <c:v>127</c:v>
                </c:pt>
                <c:pt idx="644" formatCode="[$-10409]#\ ##0;\(#\ ##0\)">
                  <c:v>406</c:v>
                </c:pt>
                <c:pt idx="645" formatCode="[$-10409]#\ ##0;\(#\ ##0\)">
                  <c:v>510</c:v>
                </c:pt>
                <c:pt idx="646" formatCode="[$-10409]#\ ##0;\(#\ ##0\)">
                  <c:v>460</c:v>
                </c:pt>
                <c:pt idx="647" formatCode="[$-10409]#\ ##0;\(#\ ##0\)">
                  <c:v>381</c:v>
                </c:pt>
                <c:pt idx="648" formatCode="[$-10409]#\ ##0;\(#\ ##0\)">
                  <c:v>307</c:v>
                </c:pt>
                <c:pt idx="649" formatCode="[$-10409]#\ ##0;\(#\ ##0\)">
                  <c:v>240</c:v>
                </c:pt>
                <c:pt idx="650" formatCode="[$-10409]#\ ##0;\(#\ ##0\)">
                  <c:v>104</c:v>
                </c:pt>
                <c:pt idx="651" formatCode="[$-10409]#\ ##0;\(#\ ##0\)">
                  <c:v>299</c:v>
                </c:pt>
                <c:pt idx="652" formatCode="[$-10409]#\ ##0;\(#\ ##0\)">
                  <c:v>446</c:v>
                </c:pt>
                <c:pt idx="653" formatCode="[$-10409]#\ ##0;\(#\ ##0\)">
                  <c:v>360</c:v>
                </c:pt>
                <c:pt idx="654" formatCode="[$-10409]#\ ##0;\(#\ ##0\)">
                  <c:v>259</c:v>
                </c:pt>
                <c:pt idx="655" formatCode="[$-10409]#\ ##0;\(#\ ##0\)">
                  <c:v>275</c:v>
                </c:pt>
                <c:pt idx="656" formatCode="[$-10409]#\ ##0;\(#\ ##0\)">
                  <c:v>166</c:v>
                </c:pt>
                <c:pt idx="657" formatCode="[$-10409]#\ ##0;\(#\ ##0\)">
                  <c:v>88</c:v>
                </c:pt>
                <c:pt idx="658" formatCode="[$-10409]#\ ##0;\(#\ ##0\)">
                  <c:v>206</c:v>
                </c:pt>
                <c:pt idx="659" formatCode="[$-10409]#\ ##0;\(#\ ##0\)">
                  <c:v>332</c:v>
                </c:pt>
                <c:pt idx="660" formatCode="[$-10409]#\ ##0;\(#\ ##0\)">
                  <c:v>230</c:v>
                </c:pt>
                <c:pt idx="661" formatCode="[$-10409]#\ ##0;\(#\ ##0\)">
                  <c:v>272</c:v>
                </c:pt>
                <c:pt idx="662" formatCode="[$-10409]#\ ##0;\(#\ ##0\)">
                  <c:v>94</c:v>
                </c:pt>
                <c:pt idx="663" formatCode="[$-10409]#\ ##0;\(#\ ##0\)">
                  <c:v>37</c:v>
                </c:pt>
                <c:pt idx="664" formatCode="[$-10409]#\ ##0;\(#\ ##0\)">
                  <c:v>72</c:v>
                </c:pt>
                <c:pt idx="665" formatCode="[$-10409]#\ ##0;\(#\ ##0\)">
                  <c:v>212</c:v>
                </c:pt>
                <c:pt idx="666" formatCode="[$-10409]#\ ##0;\(#\ ##0\)">
                  <c:v>274</c:v>
                </c:pt>
                <c:pt idx="667" formatCode="[$-10409]#\ ##0;\(#\ ##0\)">
                  <c:v>231</c:v>
                </c:pt>
                <c:pt idx="668" formatCode="[$-10409]#\ ##0;\(#\ ##0\)">
                  <c:v>217</c:v>
                </c:pt>
                <c:pt idx="669" formatCode="[$-10409]#\ ##0;\(#\ ##0\)">
                  <c:v>229</c:v>
                </c:pt>
                <c:pt idx="670" formatCode="[$-10409]#\ ##0;\(#\ ##0\)">
                  <c:v>50</c:v>
                </c:pt>
                <c:pt idx="671" formatCode="[$-10409]#\ ##0;\(#\ ##0\)">
                  <c:v>131</c:v>
                </c:pt>
                <c:pt idx="672" formatCode="[$-10409]#\ ##0;\(#\ ##0\)">
                  <c:v>619</c:v>
                </c:pt>
                <c:pt idx="673" formatCode="[$-10409]#\ ##0;\(#\ ##0\)">
                  <c:v>705</c:v>
                </c:pt>
                <c:pt idx="674" formatCode="[$-10409]#\ ##0;\(#\ ##0\)">
                  <c:v>631</c:v>
                </c:pt>
                <c:pt idx="675" formatCode="[$-10409]#\ ##0;\(#\ ##0\)">
                  <c:v>629</c:v>
                </c:pt>
                <c:pt idx="676" formatCode="[$-10409]#\ ##0;\(#\ ##0\)">
                  <c:v>593</c:v>
                </c:pt>
                <c:pt idx="677" formatCode="[$-10409]#\ ##0;\(#\ ##0\)">
                  <c:v>329</c:v>
                </c:pt>
                <c:pt idx="678" formatCode="[$-10409]#\ ##0;\(#\ ##0\)">
                  <c:v>232</c:v>
                </c:pt>
                <c:pt idx="679" formatCode="[$-10409]#\ ##0;\(#\ ##0\)">
                  <c:v>706</c:v>
                </c:pt>
                <c:pt idx="680" formatCode="[$-10409]#\ ##0;\(#\ ##0\)">
                  <c:v>1311</c:v>
                </c:pt>
                <c:pt idx="681" formatCode="[$-10409]#\ ##0;\(#\ ##0\)">
                  <c:v>1362</c:v>
                </c:pt>
                <c:pt idx="682" formatCode="[$-10409]#\ ##0;\(#\ ##0\)">
                  <c:v>1443</c:v>
                </c:pt>
                <c:pt idx="683" formatCode="[$-10409]#\ ##0;\(#\ ##0\)">
                  <c:v>1650</c:v>
                </c:pt>
                <c:pt idx="684" formatCode="[$-10409]#\ ##0;\(#\ ##0\)">
                  <c:v>1180</c:v>
                </c:pt>
              </c:numCache>
            </c:numRef>
          </c:val>
          <c:smooth val="0"/>
          <c:extLst>
            <c:ext xmlns:c16="http://schemas.microsoft.com/office/drawing/2014/chart" uri="{C3380CC4-5D6E-409C-BE32-E72D297353CC}">
              <c16:uniqueId val="{00000001-0D2D-4103-AFB1-5CC1D0709242}"/>
            </c:ext>
          </c:extLst>
        </c:ser>
        <c:dLbls>
          <c:showLegendKey val="0"/>
          <c:showVal val="0"/>
          <c:showCatName val="0"/>
          <c:showSerName val="0"/>
          <c:showPercent val="0"/>
          <c:showBubbleSize val="0"/>
        </c:dLbls>
        <c:marker val="1"/>
        <c:smooth val="0"/>
        <c:axId val="414862472"/>
        <c:axId val="414859336"/>
      </c:lineChart>
      <c:catAx>
        <c:axId val="414862472"/>
        <c:scaling>
          <c:orientation val="minMax"/>
          <c:min val="246"/>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414859336"/>
        <c:crosses val="autoZero"/>
        <c:auto val="1"/>
        <c:lblAlgn val="ctr"/>
        <c:lblOffset val="100"/>
        <c:noMultiLvlLbl val="1"/>
      </c:catAx>
      <c:valAx>
        <c:axId val="414859336"/>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48624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cs-CZ"/>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725665694869669E-2"/>
          <c:y val="5.7465907031175496E-2"/>
          <c:w val="0.93069323165507978"/>
          <c:h val="0.69416840186662676"/>
        </c:manualLayout>
      </c:layout>
      <c:lineChart>
        <c:grouping val="standard"/>
        <c:varyColors val="0"/>
        <c:ser>
          <c:idx val="0"/>
          <c:order val="0"/>
          <c:spPr>
            <a:ln w="19050" cap="rnd">
              <a:solidFill>
                <a:schemeClr val="tx1"/>
              </a:solidFill>
              <a:round/>
            </a:ln>
            <a:effectLst/>
          </c:spPr>
          <c:marker>
            <c:symbol val="circle"/>
            <c:size val="5"/>
            <c:spPr>
              <a:solidFill>
                <a:schemeClr val="tx1"/>
              </a:solidFill>
              <a:ln w="19050">
                <a:solidFill>
                  <a:schemeClr val="tx1"/>
                </a:solidFill>
              </a:ln>
              <a:effectLst/>
            </c:spPr>
          </c:marker>
          <c:trendline>
            <c:spPr>
              <a:ln w="25400" cap="rnd">
                <a:solidFill>
                  <a:srgbClr val="FF0000"/>
                </a:solidFill>
                <a:prstDash val="solid"/>
              </a:ln>
              <a:effectLst/>
            </c:spPr>
            <c:trendlineType val="movingAvg"/>
            <c:period val="7"/>
            <c:dispRSqr val="0"/>
            <c:dispEq val="0"/>
          </c:trendline>
          <c:cat>
            <c:strRef>
              <c:f>Sheet1!$A$1:$A$688</c:f>
              <c:strCache>
                <c:ptCount val="688"/>
                <c:pt idx="0">
                  <c:v>01.03.2020</c:v>
                </c:pt>
                <c:pt idx="1">
                  <c:v>03.03.2020</c:v>
                </c:pt>
                <c:pt idx="2">
                  <c:v>04.03.2020</c:v>
                </c:pt>
                <c:pt idx="3">
                  <c:v>05.03.2020</c:v>
                </c:pt>
                <c:pt idx="4">
                  <c:v>06.03.2020</c:v>
                </c:pt>
                <c:pt idx="5">
                  <c:v>07.03.2020</c:v>
                </c:pt>
                <c:pt idx="6">
                  <c:v>08.03.2020</c:v>
                </c:pt>
                <c:pt idx="7">
                  <c:v>09.03.2020</c:v>
                </c:pt>
                <c:pt idx="8">
                  <c:v>10.03.2020</c:v>
                </c:pt>
                <c:pt idx="9">
                  <c:v>11.03.2020</c:v>
                </c:pt>
                <c:pt idx="10">
                  <c:v>12.03.2020</c:v>
                </c:pt>
                <c:pt idx="11">
                  <c:v>13.03.2020</c:v>
                </c:pt>
                <c:pt idx="12">
                  <c:v>14.03.2020</c:v>
                </c:pt>
                <c:pt idx="13">
                  <c:v>15.03.2020</c:v>
                </c:pt>
                <c:pt idx="14">
                  <c:v>16.03.2020</c:v>
                </c:pt>
                <c:pt idx="15">
                  <c:v>17.03.2020</c:v>
                </c:pt>
                <c:pt idx="16">
                  <c:v>18.03.2020</c:v>
                </c:pt>
                <c:pt idx="17">
                  <c:v>19.03.2020</c:v>
                </c:pt>
                <c:pt idx="18">
                  <c:v>20.03.2020</c:v>
                </c:pt>
                <c:pt idx="19">
                  <c:v>21.03.2020</c:v>
                </c:pt>
                <c:pt idx="20">
                  <c:v>22.03.2020</c:v>
                </c:pt>
                <c:pt idx="21">
                  <c:v>23.03.2020</c:v>
                </c:pt>
                <c:pt idx="22">
                  <c:v>24.03.2020</c:v>
                </c:pt>
                <c:pt idx="23">
                  <c:v>25.03.2020</c:v>
                </c:pt>
                <c:pt idx="24">
                  <c:v>26.03.2020</c:v>
                </c:pt>
                <c:pt idx="25">
                  <c:v>27.03.2020</c:v>
                </c:pt>
                <c:pt idx="26">
                  <c:v>28.03.2020</c:v>
                </c:pt>
                <c:pt idx="27">
                  <c:v>29.03.2020</c:v>
                </c:pt>
                <c:pt idx="28">
                  <c:v>30.03.2020</c:v>
                </c:pt>
                <c:pt idx="29">
                  <c:v>31.03.2020</c:v>
                </c:pt>
                <c:pt idx="30">
                  <c:v>01.04.2020</c:v>
                </c:pt>
                <c:pt idx="31">
                  <c:v>02.04.2020</c:v>
                </c:pt>
                <c:pt idx="32">
                  <c:v>03.04.2020</c:v>
                </c:pt>
                <c:pt idx="33">
                  <c:v>04.04.2020</c:v>
                </c:pt>
                <c:pt idx="34">
                  <c:v>05.04.2020</c:v>
                </c:pt>
                <c:pt idx="35">
                  <c:v>06.04.2020</c:v>
                </c:pt>
                <c:pt idx="36">
                  <c:v>07.04.2020</c:v>
                </c:pt>
                <c:pt idx="37">
                  <c:v>08.04.2020</c:v>
                </c:pt>
                <c:pt idx="38">
                  <c:v>09.04.2020</c:v>
                </c:pt>
                <c:pt idx="39">
                  <c:v>10.04.2020</c:v>
                </c:pt>
                <c:pt idx="40">
                  <c:v>11.04.2020</c:v>
                </c:pt>
                <c:pt idx="41">
                  <c:v>12.04.2020</c:v>
                </c:pt>
                <c:pt idx="42">
                  <c:v>13.04.2020</c:v>
                </c:pt>
                <c:pt idx="43">
                  <c:v>14.04.2020</c:v>
                </c:pt>
                <c:pt idx="44">
                  <c:v>15.04.2020</c:v>
                </c:pt>
                <c:pt idx="45">
                  <c:v>16.04.2020</c:v>
                </c:pt>
                <c:pt idx="46">
                  <c:v>17.04.2020</c:v>
                </c:pt>
                <c:pt idx="47">
                  <c:v>18.04.2020</c:v>
                </c:pt>
                <c:pt idx="48">
                  <c:v>19.04.2020</c:v>
                </c:pt>
                <c:pt idx="49">
                  <c:v>20.04.2020</c:v>
                </c:pt>
                <c:pt idx="50">
                  <c:v>21.04.2020</c:v>
                </c:pt>
                <c:pt idx="51">
                  <c:v>22.04.2020</c:v>
                </c:pt>
                <c:pt idx="52">
                  <c:v>23.04.2020</c:v>
                </c:pt>
                <c:pt idx="53">
                  <c:v>24.04.2020</c:v>
                </c:pt>
                <c:pt idx="54">
                  <c:v>25.04.2020</c:v>
                </c:pt>
                <c:pt idx="55">
                  <c:v>26.04.2020</c:v>
                </c:pt>
                <c:pt idx="56">
                  <c:v>27.04.2020</c:v>
                </c:pt>
                <c:pt idx="57">
                  <c:v>28.04.2020</c:v>
                </c:pt>
                <c:pt idx="58">
                  <c:v>29.04.2020</c:v>
                </c:pt>
                <c:pt idx="59">
                  <c:v>30.04.2020</c:v>
                </c:pt>
                <c:pt idx="60">
                  <c:v>01.05.2020</c:v>
                </c:pt>
                <c:pt idx="61">
                  <c:v>02.05.2020</c:v>
                </c:pt>
                <c:pt idx="62">
                  <c:v>03.05.2020</c:v>
                </c:pt>
                <c:pt idx="63">
                  <c:v>04.05.2020</c:v>
                </c:pt>
                <c:pt idx="64">
                  <c:v>05.05.2020</c:v>
                </c:pt>
                <c:pt idx="65">
                  <c:v>06.05.2020</c:v>
                </c:pt>
                <c:pt idx="66">
                  <c:v>07.05.2020</c:v>
                </c:pt>
                <c:pt idx="67">
                  <c:v>08.05.2020</c:v>
                </c:pt>
                <c:pt idx="68">
                  <c:v>09.05.2020</c:v>
                </c:pt>
                <c:pt idx="69">
                  <c:v>10.05.2020</c:v>
                </c:pt>
                <c:pt idx="70">
                  <c:v>11.05.2020</c:v>
                </c:pt>
                <c:pt idx="71">
                  <c:v>12.05.2020</c:v>
                </c:pt>
                <c:pt idx="72">
                  <c:v>13.05.2020</c:v>
                </c:pt>
                <c:pt idx="73">
                  <c:v>14.05.2020</c:v>
                </c:pt>
                <c:pt idx="74">
                  <c:v>15.05.2020</c:v>
                </c:pt>
                <c:pt idx="75">
                  <c:v>16.05.2020</c:v>
                </c:pt>
                <c:pt idx="76">
                  <c:v>17.05.2020</c:v>
                </c:pt>
                <c:pt idx="77">
                  <c:v>18.05.2020</c:v>
                </c:pt>
                <c:pt idx="78">
                  <c:v>19.05.2020</c:v>
                </c:pt>
                <c:pt idx="79">
                  <c:v>20.05.2020</c:v>
                </c:pt>
                <c:pt idx="80">
                  <c:v>21.05.2020</c:v>
                </c:pt>
                <c:pt idx="81">
                  <c:v>22.05.2020</c:v>
                </c:pt>
                <c:pt idx="82">
                  <c:v>23.05.2020</c:v>
                </c:pt>
                <c:pt idx="83">
                  <c:v>24.05.2020</c:v>
                </c:pt>
                <c:pt idx="84">
                  <c:v>25.05.2020</c:v>
                </c:pt>
                <c:pt idx="85">
                  <c:v>26.05.2020</c:v>
                </c:pt>
                <c:pt idx="86">
                  <c:v>27.05.2020</c:v>
                </c:pt>
                <c:pt idx="87">
                  <c:v>28.05.2020</c:v>
                </c:pt>
                <c:pt idx="88">
                  <c:v>29.05.2020</c:v>
                </c:pt>
                <c:pt idx="89">
                  <c:v>30.05.2020</c:v>
                </c:pt>
                <c:pt idx="90">
                  <c:v>31.05.2020</c:v>
                </c:pt>
                <c:pt idx="91">
                  <c:v>01.06.2020</c:v>
                </c:pt>
                <c:pt idx="92">
                  <c:v>02.06.2020</c:v>
                </c:pt>
                <c:pt idx="93">
                  <c:v>03.06.2020</c:v>
                </c:pt>
                <c:pt idx="94">
                  <c:v>04.06.2020</c:v>
                </c:pt>
                <c:pt idx="95">
                  <c:v>05.06.2020</c:v>
                </c:pt>
                <c:pt idx="96">
                  <c:v>06.06.2020</c:v>
                </c:pt>
                <c:pt idx="97">
                  <c:v>07.06.2020</c:v>
                </c:pt>
                <c:pt idx="98">
                  <c:v>08.06.2020</c:v>
                </c:pt>
                <c:pt idx="99">
                  <c:v>09.06.2020</c:v>
                </c:pt>
                <c:pt idx="100">
                  <c:v>10.06.2020</c:v>
                </c:pt>
                <c:pt idx="101">
                  <c:v>11.06.2020</c:v>
                </c:pt>
                <c:pt idx="102">
                  <c:v>12.06.2020</c:v>
                </c:pt>
                <c:pt idx="103">
                  <c:v>13.06.2020</c:v>
                </c:pt>
                <c:pt idx="104">
                  <c:v>14.06.2020</c:v>
                </c:pt>
                <c:pt idx="105">
                  <c:v>15.06.2020</c:v>
                </c:pt>
                <c:pt idx="106">
                  <c:v>16.06.2020</c:v>
                </c:pt>
                <c:pt idx="107">
                  <c:v>17.06.2020</c:v>
                </c:pt>
                <c:pt idx="108">
                  <c:v>18.06.2020</c:v>
                </c:pt>
                <c:pt idx="109">
                  <c:v>19.06.2020</c:v>
                </c:pt>
                <c:pt idx="110">
                  <c:v>20.06.2020</c:v>
                </c:pt>
                <c:pt idx="111">
                  <c:v>21.06.2020</c:v>
                </c:pt>
                <c:pt idx="112">
                  <c:v>22.06.2020</c:v>
                </c:pt>
                <c:pt idx="113">
                  <c:v>23.06.2020</c:v>
                </c:pt>
                <c:pt idx="114">
                  <c:v>24.06.2020</c:v>
                </c:pt>
                <c:pt idx="115">
                  <c:v>25.06.2020</c:v>
                </c:pt>
                <c:pt idx="116">
                  <c:v>26.06.2020</c:v>
                </c:pt>
                <c:pt idx="117">
                  <c:v>27.06.2020</c:v>
                </c:pt>
                <c:pt idx="118">
                  <c:v>28.06.2020</c:v>
                </c:pt>
                <c:pt idx="119">
                  <c:v>29.06.2020</c:v>
                </c:pt>
                <c:pt idx="120">
                  <c:v>30.06.2020</c:v>
                </c:pt>
                <c:pt idx="121">
                  <c:v>01.07.2020</c:v>
                </c:pt>
                <c:pt idx="122">
                  <c:v>02.07.2020</c:v>
                </c:pt>
                <c:pt idx="123">
                  <c:v>03.07.2020</c:v>
                </c:pt>
                <c:pt idx="124">
                  <c:v>04.07.2020</c:v>
                </c:pt>
                <c:pt idx="125">
                  <c:v>05.07.2020</c:v>
                </c:pt>
                <c:pt idx="126">
                  <c:v>06.07.2020</c:v>
                </c:pt>
                <c:pt idx="127">
                  <c:v>07.07.2020</c:v>
                </c:pt>
                <c:pt idx="128">
                  <c:v>08.07.2020</c:v>
                </c:pt>
                <c:pt idx="129">
                  <c:v>09.07.2020</c:v>
                </c:pt>
                <c:pt idx="130">
                  <c:v>10.07.2020</c:v>
                </c:pt>
                <c:pt idx="131">
                  <c:v>11.07.2020</c:v>
                </c:pt>
                <c:pt idx="132">
                  <c:v>12.07.2020</c:v>
                </c:pt>
                <c:pt idx="133">
                  <c:v>13.07.2020</c:v>
                </c:pt>
                <c:pt idx="134">
                  <c:v>14.07.2020</c:v>
                </c:pt>
                <c:pt idx="135">
                  <c:v>15.07.2020</c:v>
                </c:pt>
                <c:pt idx="136">
                  <c:v>16.07.2020</c:v>
                </c:pt>
                <c:pt idx="137">
                  <c:v>17.07.2020</c:v>
                </c:pt>
                <c:pt idx="138">
                  <c:v>18.07.2020</c:v>
                </c:pt>
                <c:pt idx="139">
                  <c:v>19.07.2020</c:v>
                </c:pt>
                <c:pt idx="140">
                  <c:v>20.07.2020</c:v>
                </c:pt>
                <c:pt idx="141">
                  <c:v>21.07.2020</c:v>
                </c:pt>
                <c:pt idx="142">
                  <c:v>22.07.2020</c:v>
                </c:pt>
                <c:pt idx="143">
                  <c:v>23.07.2020</c:v>
                </c:pt>
                <c:pt idx="144">
                  <c:v>24.07.2020</c:v>
                </c:pt>
                <c:pt idx="145">
                  <c:v>25.07.2020</c:v>
                </c:pt>
                <c:pt idx="146">
                  <c:v>26.07.2020</c:v>
                </c:pt>
                <c:pt idx="147">
                  <c:v>27.07.2020</c:v>
                </c:pt>
                <c:pt idx="148">
                  <c:v>28.07.2020</c:v>
                </c:pt>
                <c:pt idx="149">
                  <c:v>29.07.2020</c:v>
                </c:pt>
                <c:pt idx="150">
                  <c:v>30.07.2020</c:v>
                </c:pt>
                <c:pt idx="151">
                  <c:v>31.07.2020</c:v>
                </c:pt>
                <c:pt idx="152">
                  <c:v>01.08.2020</c:v>
                </c:pt>
                <c:pt idx="153">
                  <c:v>02.08.2020</c:v>
                </c:pt>
                <c:pt idx="154">
                  <c:v>03.08.2020</c:v>
                </c:pt>
                <c:pt idx="155">
                  <c:v>04.08.2020</c:v>
                </c:pt>
                <c:pt idx="156">
                  <c:v>05.08.2020</c:v>
                </c:pt>
                <c:pt idx="157">
                  <c:v>06.08.2020</c:v>
                </c:pt>
                <c:pt idx="158">
                  <c:v>07.08.2020</c:v>
                </c:pt>
                <c:pt idx="159">
                  <c:v>08.08.2020</c:v>
                </c:pt>
                <c:pt idx="160">
                  <c:v>09.08.2020</c:v>
                </c:pt>
                <c:pt idx="161">
                  <c:v>10.08.2020</c:v>
                </c:pt>
                <c:pt idx="162">
                  <c:v>11.08.2020</c:v>
                </c:pt>
                <c:pt idx="163">
                  <c:v>12.08.2020</c:v>
                </c:pt>
                <c:pt idx="164">
                  <c:v>13.08.2020</c:v>
                </c:pt>
                <c:pt idx="165">
                  <c:v>14.08.2020</c:v>
                </c:pt>
                <c:pt idx="166">
                  <c:v>15.08.2020</c:v>
                </c:pt>
                <c:pt idx="167">
                  <c:v>16.08.2020</c:v>
                </c:pt>
                <c:pt idx="168">
                  <c:v>17.08.2020</c:v>
                </c:pt>
                <c:pt idx="169">
                  <c:v>18.08.2020</c:v>
                </c:pt>
                <c:pt idx="170">
                  <c:v>19.08.2020</c:v>
                </c:pt>
                <c:pt idx="171">
                  <c:v>20.08.2020</c:v>
                </c:pt>
                <c:pt idx="172">
                  <c:v>21.08.2020</c:v>
                </c:pt>
                <c:pt idx="173">
                  <c:v>22.08.2020</c:v>
                </c:pt>
                <c:pt idx="174">
                  <c:v>23.08.2020</c:v>
                </c:pt>
                <c:pt idx="175">
                  <c:v>24.08.2020</c:v>
                </c:pt>
                <c:pt idx="176">
                  <c:v>25.08.2020</c:v>
                </c:pt>
                <c:pt idx="177">
                  <c:v>26.08.2020</c:v>
                </c:pt>
                <c:pt idx="178">
                  <c:v>27.08.2020</c:v>
                </c:pt>
                <c:pt idx="179">
                  <c:v>28.08.2020</c:v>
                </c:pt>
                <c:pt idx="180">
                  <c:v>29.08.2020</c:v>
                </c:pt>
                <c:pt idx="181">
                  <c:v>30.08.2020</c:v>
                </c:pt>
                <c:pt idx="182">
                  <c:v>31.08.2020</c:v>
                </c:pt>
                <c:pt idx="183">
                  <c:v>01.09.2020</c:v>
                </c:pt>
                <c:pt idx="184">
                  <c:v>02.09.2020</c:v>
                </c:pt>
                <c:pt idx="185">
                  <c:v>03.09.2020</c:v>
                </c:pt>
                <c:pt idx="186">
                  <c:v>04.09.2020</c:v>
                </c:pt>
                <c:pt idx="187">
                  <c:v>05.09.2020</c:v>
                </c:pt>
                <c:pt idx="188">
                  <c:v>06.09.2020</c:v>
                </c:pt>
                <c:pt idx="189">
                  <c:v>07.09.2020</c:v>
                </c:pt>
                <c:pt idx="190">
                  <c:v>08.09.2020</c:v>
                </c:pt>
                <c:pt idx="191">
                  <c:v>09.09.2020</c:v>
                </c:pt>
                <c:pt idx="192">
                  <c:v>10.09.2020</c:v>
                </c:pt>
                <c:pt idx="193">
                  <c:v>11.09.2020</c:v>
                </c:pt>
                <c:pt idx="194">
                  <c:v>12.09.2020</c:v>
                </c:pt>
                <c:pt idx="195">
                  <c:v>13.09.2020</c:v>
                </c:pt>
                <c:pt idx="196">
                  <c:v>14.09.2020</c:v>
                </c:pt>
                <c:pt idx="197">
                  <c:v>15.09.2020</c:v>
                </c:pt>
                <c:pt idx="198">
                  <c:v>16.09.2020</c:v>
                </c:pt>
                <c:pt idx="199">
                  <c:v>17.09.2020</c:v>
                </c:pt>
                <c:pt idx="200">
                  <c:v>18.09.2020</c:v>
                </c:pt>
                <c:pt idx="201">
                  <c:v>19.09.2020</c:v>
                </c:pt>
                <c:pt idx="202">
                  <c:v>20.09.2020</c:v>
                </c:pt>
                <c:pt idx="203">
                  <c:v>21.09.2020</c:v>
                </c:pt>
                <c:pt idx="204">
                  <c:v>22.09.2020</c:v>
                </c:pt>
                <c:pt idx="205">
                  <c:v>23.09.2020</c:v>
                </c:pt>
                <c:pt idx="206">
                  <c:v>24.09.2020</c:v>
                </c:pt>
                <c:pt idx="207">
                  <c:v>25.09.2020</c:v>
                </c:pt>
                <c:pt idx="208">
                  <c:v>26.09.2020</c:v>
                </c:pt>
                <c:pt idx="209">
                  <c:v>27.09.2020</c:v>
                </c:pt>
                <c:pt idx="210">
                  <c:v>28.09.2020</c:v>
                </c:pt>
                <c:pt idx="211">
                  <c:v>29.09.2020</c:v>
                </c:pt>
                <c:pt idx="212">
                  <c:v>30.09.2020</c:v>
                </c:pt>
                <c:pt idx="213">
                  <c:v>01.10.2020</c:v>
                </c:pt>
                <c:pt idx="214">
                  <c:v>02.10.2020</c:v>
                </c:pt>
                <c:pt idx="215">
                  <c:v>03.10.2020</c:v>
                </c:pt>
                <c:pt idx="216">
                  <c:v>04.10.2020</c:v>
                </c:pt>
                <c:pt idx="217">
                  <c:v>05.10.2020</c:v>
                </c:pt>
                <c:pt idx="218">
                  <c:v>06.10.2020</c:v>
                </c:pt>
                <c:pt idx="219">
                  <c:v>07.10.2020</c:v>
                </c:pt>
                <c:pt idx="220">
                  <c:v>08.10.2020</c:v>
                </c:pt>
                <c:pt idx="221">
                  <c:v>09.10.2020</c:v>
                </c:pt>
                <c:pt idx="222">
                  <c:v>10.10.2020</c:v>
                </c:pt>
                <c:pt idx="223">
                  <c:v>11.10.2020</c:v>
                </c:pt>
                <c:pt idx="224">
                  <c:v>12.10.2020</c:v>
                </c:pt>
                <c:pt idx="225">
                  <c:v>13.10.2020</c:v>
                </c:pt>
                <c:pt idx="226">
                  <c:v>14.10.2020</c:v>
                </c:pt>
                <c:pt idx="227">
                  <c:v>15.10.2020</c:v>
                </c:pt>
                <c:pt idx="228">
                  <c:v>16.10.2020</c:v>
                </c:pt>
                <c:pt idx="229">
                  <c:v>17.10.2020</c:v>
                </c:pt>
                <c:pt idx="230">
                  <c:v>18.10.2020</c:v>
                </c:pt>
                <c:pt idx="231">
                  <c:v>19.10.2020</c:v>
                </c:pt>
                <c:pt idx="232">
                  <c:v>20.10.2020</c:v>
                </c:pt>
                <c:pt idx="233">
                  <c:v>21.10.2020</c:v>
                </c:pt>
                <c:pt idx="234">
                  <c:v>22.10.2020</c:v>
                </c:pt>
                <c:pt idx="235">
                  <c:v>23.10.2020</c:v>
                </c:pt>
                <c:pt idx="236">
                  <c:v>24.10.2020</c:v>
                </c:pt>
                <c:pt idx="237">
                  <c:v>25.10.2020</c:v>
                </c:pt>
                <c:pt idx="238">
                  <c:v>26.10.2020</c:v>
                </c:pt>
                <c:pt idx="239">
                  <c:v>27.10.2020</c:v>
                </c:pt>
                <c:pt idx="240">
                  <c:v>28.10.2020</c:v>
                </c:pt>
                <c:pt idx="241">
                  <c:v>29.10.2020</c:v>
                </c:pt>
                <c:pt idx="242">
                  <c:v>30.10.2020</c:v>
                </c:pt>
                <c:pt idx="243">
                  <c:v>31.10.2020</c:v>
                </c:pt>
                <c:pt idx="244">
                  <c:v>01.11.2020</c:v>
                </c:pt>
                <c:pt idx="245">
                  <c:v>02.11.2020</c:v>
                </c:pt>
                <c:pt idx="246">
                  <c:v>03.11.2020</c:v>
                </c:pt>
                <c:pt idx="247">
                  <c:v>04.11.2020</c:v>
                </c:pt>
                <c:pt idx="248">
                  <c:v>05.11.2020</c:v>
                </c:pt>
                <c:pt idx="249">
                  <c:v>06.11.2020</c:v>
                </c:pt>
                <c:pt idx="250">
                  <c:v>07.11.2020</c:v>
                </c:pt>
                <c:pt idx="251">
                  <c:v>08.11.2020</c:v>
                </c:pt>
                <c:pt idx="252">
                  <c:v>09.11.2020</c:v>
                </c:pt>
                <c:pt idx="253">
                  <c:v>10.11.2020</c:v>
                </c:pt>
                <c:pt idx="254">
                  <c:v>11.11.2020</c:v>
                </c:pt>
                <c:pt idx="255">
                  <c:v>12.11.2020</c:v>
                </c:pt>
                <c:pt idx="256">
                  <c:v>13.11.2020</c:v>
                </c:pt>
                <c:pt idx="257">
                  <c:v>14.11.2020</c:v>
                </c:pt>
                <c:pt idx="258">
                  <c:v>15.11.2020</c:v>
                </c:pt>
                <c:pt idx="259">
                  <c:v>16.11.2020</c:v>
                </c:pt>
                <c:pt idx="260">
                  <c:v>17.11.2020</c:v>
                </c:pt>
                <c:pt idx="261">
                  <c:v>18.11.2020</c:v>
                </c:pt>
                <c:pt idx="262">
                  <c:v>19.11.2020</c:v>
                </c:pt>
                <c:pt idx="263">
                  <c:v>20.11.2020</c:v>
                </c:pt>
                <c:pt idx="264">
                  <c:v>21.11.2020</c:v>
                </c:pt>
                <c:pt idx="265">
                  <c:v>22.11.2020</c:v>
                </c:pt>
                <c:pt idx="266">
                  <c:v>23.11.2020</c:v>
                </c:pt>
                <c:pt idx="267">
                  <c:v>24.11.2020</c:v>
                </c:pt>
                <c:pt idx="268">
                  <c:v>25.11.2020</c:v>
                </c:pt>
                <c:pt idx="269">
                  <c:v>26.11.2020</c:v>
                </c:pt>
                <c:pt idx="270">
                  <c:v>27.11.2020</c:v>
                </c:pt>
                <c:pt idx="271">
                  <c:v>28.11.2020</c:v>
                </c:pt>
                <c:pt idx="272">
                  <c:v>29.11.2020</c:v>
                </c:pt>
                <c:pt idx="273">
                  <c:v>30.11.2020</c:v>
                </c:pt>
                <c:pt idx="274">
                  <c:v>01.12.2020</c:v>
                </c:pt>
                <c:pt idx="275">
                  <c:v>02.12.2020</c:v>
                </c:pt>
                <c:pt idx="276">
                  <c:v>03.12.2020</c:v>
                </c:pt>
                <c:pt idx="277">
                  <c:v>04.12.2020</c:v>
                </c:pt>
                <c:pt idx="278">
                  <c:v>05.12.2020</c:v>
                </c:pt>
                <c:pt idx="279">
                  <c:v>06.12.2020</c:v>
                </c:pt>
                <c:pt idx="280">
                  <c:v>07.12.2020</c:v>
                </c:pt>
                <c:pt idx="281">
                  <c:v>08.12.2020</c:v>
                </c:pt>
                <c:pt idx="282">
                  <c:v>09.12.2020</c:v>
                </c:pt>
                <c:pt idx="283">
                  <c:v>10.12.2020</c:v>
                </c:pt>
                <c:pt idx="284">
                  <c:v>11.12.2020</c:v>
                </c:pt>
                <c:pt idx="285">
                  <c:v>12.12.2020</c:v>
                </c:pt>
                <c:pt idx="286">
                  <c:v>13.12.2020</c:v>
                </c:pt>
                <c:pt idx="287">
                  <c:v>14.12.2020</c:v>
                </c:pt>
                <c:pt idx="288">
                  <c:v>15.12.2020</c:v>
                </c:pt>
                <c:pt idx="289">
                  <c:v>16.12.2020</c:v>
                </c:pt>
                <c:pt idx="290">
                  <c:v>17.12.2020</c:v>
                </c:pt>
                <c:pt idx="291">
                  <c:v>18.12.2020</c:v>
                </c:pt>
                <c:pt idx="292">
                  <c:v>19.12.2020</c:v>
                </c:pt>
                <c:pt idx="293">
                  <c:v>20.12.2020</c:v>
                </c:pt>
                <c:pt idx="294">
                  <c:v>21.12.2020</c:v>
                </c:pt>
                <c:pt idx="295">
                  <c:v>22.12.2020</c:v>
                </c:pt>
                <c:pt idx="296">
                  <c:v>23.12.2020</c:v>
                </c:pt>
                <c:pt idx="297">
                  <c:v>24.12.2020</c:v>
                </c:pt>
                <c:pt idx="298">
                  <c:v>25.12.2020</c:v>
                </c:pt>
                <c:pt idx="299">
                  <c:v>26.12.2020</c:v>
                </c:pt>
                <c:pt idx="300">
                  <c:v>27.12.2020</c:v>
                </c:pt>
                <c:pt idx="301">
                  <c:v>28.12.2020</c:v>
                </c:pt>
                <c:pt idx="302">
                  <c:v>29.12.2020</c:v>
                </c:pt>
                <c:pt idx="303">
                  <c:v>30.12.2020</c:v>
                </c:pt>
                <c:pt idx="304">
                  <c:v>31.12.2020</c:v>
                </c:pt>
                <c:pt idx="305">
                  <c:v>01.01.2021</c:v>
                </c:pt>
                <c:pt idx="306">
                  <c:v>02.01.2021</c:v>
                </c:pt>
                <c:pt idx="307">
                  <c:v>03.01.2021</c:v>
                </c:pt>
                <c:pt idx="308">
                  <c:v>04.01.2021</c:v>
                </c:pt>
                <c:pt idx="309">
                  <c:v>05.01.2021</c:v>
                </c:pt>
                <c:pt idx="310">
                  <c:v>06.01.2021</c:v>
                </c:pt>
                <c:pt idx="311">
                  <c:v>07.01.2021</c:v>
                </c:pt>
                <c:pt idx="312">
                  <c:v>08.01.2021</c:v>
                </c:pt>
                <c:pt idx="313">
                  <c:v>09.01.2021</c:v>
                </c:pt>
                <c:pt idx="314">
                  <c:v>10.01.2021</c:v>
                </c:pt>
                <c:pt idx="315">
                  <c:v>11.01.2021</c:v>
                </c:pt>
                <c:pt idx="316">
                  <c:v>12.01.2021</c:v>
                </c:pt>
                <c:pt idx="317">
                  <c:v>13.01.2021</c:v>
                </c:pt>
                <c:pt idx="318">
                  <c:v>14.01.2021</c:v>
                </c:pt>
                <c:pt idx="319">
                  <c:v>15.01.2021</c:v>
                </c:pt>
                <c:pt idx="320">
                  <c:v>16.01.2021</c:v>
                </c:pt>
                <c:pt idx="321">
                  <c:v>17.01.2021</c:v>
                </c:pt>
                <c:pt idx="322">
                  <c:v>18.01.2021</c:v>
                </c:pt>
                <c:pt idx="323">
                  <c:v>19.01.2021</c:v>
                </c:pt>
                <c:pt idx="324">
                  <c:v>20.01.2021</c:v>
                </c:pt>
                <c:pt idx="325">
                  <c:v>21.01.2021</c:v>
                </c:pt>
                <c:pt idx="326">
                  <c:v>22.01.2021</c:v>
                </c:pt>
                <c:pt idx="327">
                  <c:v>23.01.2021</c:v>
                </c:pt>
                <c:pt idx="328">
                  <c:v>24.01.2021</c:v>
                </c:pt>
                <c:pt idx="329">
                  <c:v>25.01.2021</c:v>
                </c:pt>
                <c:pt idx="330">
                  <c:v>26.01.2021</c:v>
                </c:pt>
                <c:pt idx="331">
                  <c:v>27.01.2021</c:v>
                </c:pt>
                <c:pt idx="332">
                  <c:v>28.01.2021</c:v>
                </c:pt>
                <c:pt idx="333">
                  <c:v>29.01.2021</c:v>
                </c:pt>
                <c:pt idx="334">
                  <c:v>30.01.2021</c:v>
                </c:pt>
                <c:pt idx="335">
                  <c:v>31.01.2021</c:v>
                </c:pt>
                <c:pt idx="336">
                  <c:v>01.02.2021</c:v>
                </c:pt>
                <c:pt idx="337">
                  <c:v>02.02.2021</c:v>
                </c:pt>
                <c:pt idx="338">
                  <c:v>03.02.2021</c:v>
                </c:pt>
                <c:pt idx="339">
                  <c:v>04.02.2021</c:v>
                </c:pt>
                <c:pt idx="340">
                  <c:v>05.02.2021</c:v>
                </c:pt>
                <c:pt idx="341">
                  <c:v>06.02.2021</c:v>
                </c:pt>
                <c:pt idx="342">
                  <c:v>07.02.2021</c:v>
                </c:pt>
                <c:pt idx="343">
                  <c:v>08.02.2021</c:v>
                </c:pt>
                <c:pt idx="344">
                  <c:v>09.02.2021</c:v>
                </c:pt>
                <c:pt idx="345">
                  <c:v>10.02.2021</c:v>
                </c:pt>
                <c:pt idx="346">
                  <c:v>11.02.2021</c:v>
                </c:pt>
                <c:pt idx="347">
                  <c:v>12.02.2021</c:v>
                </c:pt>
                <c:pt idx="348">
                  <c:v>13.02.2021</c:v>
                </c:pt>
                <c:pt idx="349">
                  <c:v>14.02.2021</c:v>
                </c:pt>
                <c:pt idx="350">
                  <c:v>15.02.2021</c:v>
                </c:pt>
                <c:pt idx="351">
                  <c:v>16.02.2021</c:v>
                </c:pt>
                <c:pt idx="352">
                  <c:v>17.02.2021</c:v>
                </c:pt>
                <c:pt idx="353">
                  <c:v>18.02.2021</c:v>
                </c:pt>
                <c:pt idx="354">
                  <c:v>19.02.2021</c:v>
                </c:pt>
                <c:pt idx="355">
                  <c:v>20.02.2021</c:v>
                </c:pt>
                <c:pt idx="356">
                  <c:v>21.02.2021</c:v>
                </c:pt>
                <c:pt idx="357">
                  <c:v>22.02.2021</c:v>
                </c:pt>
                <c:pt idx="358">
                  <c:v>23.02.2021</c:v>
                </c:pt>
                <c:pt idx="359">
                  <c:v>24.02.2021</c:v>
                </c:pt>
                <c:pt idx="360">
                  <c:v>25.02.2021</c:v>
                </c:pt>
                <c:pt idx="361">
                  <c:v>26.02.2021</c:v>
                </c:pt>
                <c:pt idx="362">
                  <c:v>27.02.2021</c:v>
                </c:pt>
                <c:pt idx="363">
                  <c:v>28.02.2021</c:v>
                </c:pt>
                <c:pt idx="364">
                  <c:v>01.03.2021</c:v>
                </c:pt>
                <c:pt idx="365">
                  <c:v>02.03.2021</c:v>
                </c:pt>
                <c:pt idx="366">
                  <c:v>03.03.2021</c:v>
                </c:pt>
                <c:pt idx="367">
                  <c:v>04.03.2021</c:v>
                </c:pt>
                <c:pt idx="368">
                  <c:v>05.03.2021</c:v>
                </c:pt>
                <c:pt idx="369">
                  <c:v>06.03.2021</c:v>
                </c:pt>
                <c:pt idx="370">
                  <c:v>07.03.2021</c:v>
                </c:pt>
                <c:pt idx="371">
                  <c:v>08.03.2021</c:v>
                </c:pt>
                <c:pt idx="372">
                  <c:v>09.03.2021</c:v>
                </c:pt>
                <c:pt idx="373">
                  <c:v>10.03.2021</c:v>
                </c:pt>
                <c:pt idx="374">
                  <c:v>11.03.2021</c:v>
                </c:pt>
                <c:pt idx="375">
                  <c:v>12.03.2021</c:v>
                </c:pt>
                <c:pt idx="376">
                  <c:v>13.03.2021</c:v>
                </c:pt>
                <c:pt idx="377">
                  <c:v>14.03.2021</c:v>
                </c:pt>
                <c:pt idx="378">
                  <c:v>15.03.2021</c:v>
                </c:pt>
                <c:pt idx="379">
                  <c:v>16.03.2021</c:v>
                </c:pt>
                <c:pt idx="380">
                  <c:v>17.03.2021</c:v>
                </c:pt>
                <c:pt idx="381">
                  <c:v>18.03.2021</c:v>
                </c:pt>
                <c:pt idx="382">
                  <c:v>19.03.2021</c:v>
                </c:pt>
                <c:pt idx="383">
                  <c:v>20.03.2021</c:v>
                </c:pt>
                <c:pt idx="384">
                  <c:v>21.03.2021</c:v>
                </c:pt>
                <c:pt idx="385">
                  <c:v>22.03.2021</c:v>
                </c:pt>
                <c:pt idx="386">
                  <c:v>23.03.2021</c:v>
                </c:pt>
                <c:pt idx="387">
                  <c:v>24.03.2021</c:v>
                </c:pt>
                <c:pt idx="388">
                  <c:v>25.03.2021</c:v>
                </c:pt>
                <c:pt idx="389">
                  <c:v>26.03.2021</c:v>
                </c:pt>
                <c:pt idx="390">
                  <c:v>27.03.2021</c:v>
                </c:pt>
                <c:pt idx="391">
                  <c:v>28.03.2021</c:v>
                </c:pt>
                <c:pt idx="392">
                  <c:v>29.03.2021</c:v>
                </c:pt>
                <c:pt idx="393">
                  <c:v>30.03.2021</c:v>
                </c:pt>
                <c:pt idx="394">
                  <c:v>31.03.2021</c:v>
                </c:pt>
                <c:pt idx="395">
                  <c:v>01.04.2021</c:v>
                </c:pt>
                <c:pt idx="396">
                  <c:v>02.04.2021</c:v>
                </c:pt>
                <c:pt idx="397">
                  <c:v>03.04.2021</c:v>
                </c:pt>
                <c:pt idx="398">
                  <c:v>04.04.2021</c:v>
                </c:pt>
                <c:pt idx="399">
                  <c:v>05.04.2021</c:v>
                </c:pt>
                <c:pt idx="400">
                  <c:v>06.04.2021</c:v>
                </c:pt>
                <c:pt idx="401">
                  <c:v>07.04.2021</c:v>
                </c:pt>
                <c:pt idx="402">
                  <c:v>08.04.2021</c:v>
                </c:pt>
                <c:pt idx="403">
                  <c:v>09.04.2021</c:v>
                </c:pt>
                <c:pt idx="404">
                  <c:v>10.04.2021</c:v>
                </c:pt>
                <c:pt idx="405">
                  <c:v>11.04.2021</c:v>
                </c:pt>
                <c:pt idx="406">
                  <c:v>12.04.2021</c:v>
                </c:pt>
                <c:pt idx="407">
                  <c:v>13.04.2021</c:v>
                </c:pt>
                <c:pt idx="408">
                  <c:v>14.04.2021</c:v>
                </c:pt>
                <c:pt idx="409">
                  <c:v>15.04.2021</c:v>
                </c:pt>
                <c:pt idx="410">
                  <c:v>16.04.2021</c:v>
                </c:pt>
                <c:pt idx="411">
                  <c:v>17.04.2021</c:v>
                </c:pt>
                <c:pt idx="412">
                  <c:v>18.04.2021</c:v>
                </c:pt>
                <c:pt idx="413">
                  <c:v>19.04.2021</c:v>
                </c:pt>
                <c:pt idx="414">
                  <c:v>20.04.2021</c:v>
                </c:pt>
                <c:pt idx="415">
                  <c:v>21.04.2021</c:v>
                </c:pt>
                <c:pt idx="416">
                  <c:v>22.04.2021</c:v>
                </c:pt>
                <c:pt idx="417">
                  <c:v>23.04.2021</c:v>
                </c:pt>
                <c:pt idx="418">
                  <c:v>24.04.2021</c:v>
                </c:pt>
                <c:pt idx="419">
                  <c:v>25.04.2021</c:v>
                </c:pt>
                <c:pt idx="420">
                  <c:v>26.04.2021</c:v>
                </c:pt>
                <c:pt idx="421">
                  <c:v>27.04.2021</c:v>
                </c:pt>
                <c:pt idx="422">
                  <c:v>28.04.2021</c:v>
                </c:pt>
                <c:pt idx="423">
                  <c:v>29.04.2021</c:v>
                </c:pt>
                <c:pt idx="424">
                  <c:v>30.04.2021</c:v>
                </c:pt>
                <c:pt idx="425">
                  <c:v>01.05.2021</c:v>
                </c:pt>
                <c:pt idx="426">
                  <c:v>02.05.2021</c:v>
                </c:pt>
                <c:pt idx="427">
                  <c:v>03.05.2021</c:v>
                </c:pt>
                <c:pt idx="428">
                  <c:v>04.05.2021</c:v>
                </c:pt>
                <c:pt idx="429">
                  <c:v>05.05.2021</c:v>
                </c:pt>
                <c:pt idx="430">
                  <c:v>06.05.2021</c:v>
                </c:pt>
                <c:pt idx="431">
                  <c:v>07.05.2021</c:v>
                </c:pt>
                <c:pt idx="432">
                  <c:v>08.05.2021</c:v>
                </c:pt>
                <c:pt idx="433">
                  <c:v>09.05.2021</c:v>
                </c:pt>
                <c:pt idx="434">
                  <c:v>10.05.2021</c:v>
                </c:pt>
                <c:pt idx="435">
                  <c:v>11.05.2021</c:v>
                </c:pt>
                <c:pt idx="436">
                  <c:v>12.05.2021</c:v>
                </c:pt>
                <c:pt idx="437">
                  <c:v>13.05.2021</c:v>
                </c:pt>
                <c:pt idx="438">
                  <c:v>14.05.2021</c:v>
                </c:pt>
                <c:pt idx="439">
                  <c:v>15.05.2021</c:v>
                </c:pt>
                <c:pt idx="440">
                  <c:v>16.05.2021</c:v>
                </c:pt>
                <c:pt idx="441">
                  <c:v>17.05.2021</c:v>
                </c:pt>
                <c:pt idx="442">
                  <c:v>18.05.2021</c:v>
                </c:pt>
                <c:pt idx="443">
                  <c:v>19.05.2021</c:v>
                </c:pt>
                <c:pt idx="444">
                  <c:v>20.05.2021</c:v>
                </c:pt>
                <c:pt idx="445">
                  <c:v>21.05.2021</c:v>
                </c:pt>
                <c:pt idx="446">
                  <c:v>22.05.2021</c:v>
                </c:pt>
                <c:pt idx="447">
                  <c:v>23.05.2021</c:v>
                </c:pt>
                <c:pt idx="448">
                  <c:v>24.05.2021</c:v>
                </c:pt>
                <c:pt idx="449">
                  <c:v>25.05.2021</c:v>
                </c:pt>
                <c:pt idx="450">
                  <c:v>26.05.2021</c:v>
                </c:pt>
                <c:pt idx="451">
                  <c:v>27.05.2021</c:v>
                </c:pt>
                <c:pt idx="452">
                  <c:v>28.05.2021</c:v>
                </c:pt>
                <c:pt idx="453">
                  <c:v>29.05.2021</c:v>
                </c:pt>
                <c:pt idx="454">
                  <c:v>30.05.2021</c:v>
                </c:pt>
                <c:pt idx="455">
                  <c:v>31.05.2021</c:v>
                </c:pt>
                <c:pt idx="456">
                  <c:v>01.06.2021</c:v>
                </c:pt>
                <c:pt idx="457">
                  <c:v>02.06.2021</c:v>
                </c:pt>
                <c:pt idx="458">
                  <c:v>03.06.2021</c:v>
                </c:pt>
                <c:pt idx="459">
                  <c:v>04.06.2021</c:v>
                </c:pt>
                <c:pt idx="460">
                  <c:v>05.06.2021</c:v>
                </c:pt>
                <c:pt idx="461">
                  <c:v>06.06.2021</c:v>
                </c:pt>
                <c:pt idx="462">
                  <c:v>07.06.2021</c:v>
                </c:pt>
                <c:pt idx="463">
                  <c:v>08.06.2021</c:v>
                </c:pt>
                <c:pt idx="464">
                  <c:v>09.06.2021</c:v>
                </c:pt>
                <c:pt idx="465">
                  <c:v>10.06.2021</c:v>
                </c:pt>
                <c:pt idx="466">
                  <c:v>11.06.2021</c:v>
                </c:pt>
                <c:pt idx="467">
                  <c:v>12.06.2021</c:v>
                </c:pt>
                <c:pt idx="468">
                  <c:v>13.06.2021</c:v>
                </c:pt>
                <c:pt idx="469">
                  <c:v>14.06.2021</c:v>
                </c:pt>
                <c:pt idx="470">
                  <c:v>15.06.2021</c:v>
                </c:pt>
                <c:pt idx="471">
                  <c:v>16.06.2021</c:v>
                </c:pt>
                <c:pt idx="472">
                  <c:v>17.06.2021</c:v>
                </c:pt>
                <c:pt idx="473">
                  <c:v>18.06.2021</c:v>
                </c:pt>
                <c:pt idx="474">
                  <c:v>19.06.2021</c:v>
                </c:pt>
                <c:pt idx="475">
                  <c:v>20.06.2021</c:v>
                </c:pt>
                <c:pt idx="476">
                  <c:v>21.06.2021</c:v>
                </c:pt>
                <c:pt idx="477">
                  <c:v>22.06.2021</c:v>
                </c:pt>
                <c:pt idx="478">
                  <c:v>23.06.2021</c:v>
                </c:pt>
                <c:pt idx="479">
                  <c:v>24.06.2021</c:v>
                </c:pt>
                <c:pt idx="480">
                  <c:v>25.06.2021</c:v>
                </c:pt>
                <c:pt idx="481">
                  <c:v>26.06.2021</c:v>
                </c:pt>
                <c:pt idx="482">
                  <c:v>27.06.2021</c:v>
                </c:pt>
                <c:pt idx="483">
                  <c:v>28.06.2021</c:v>
                </c:pt>
                <c:pt idx="484">
                  <c:v>29.06.2021</c:v>
                </c:pt>
                <c:pt idx="485">
                  <c:v>30.06.2021</c:v>
                </c:pt>
                <c:pt idx="486">
                  <c:v>01.07.2021</c:v>
                </c:pt>
                <c:pt idx="487">
                  <c:v>02.07.2021</c:v>
                </c:pt>
                <c:pt idx="488">
                  <c:v>03.07.2021</c:v>
                </c:pt>
                <c:pt idx="489">
                  <c:v>04.07.2021</c:v>
                </c:pt>
                <c:pt idx="490">
                  <c:v>05.07.2021</c:v>
                </c:pt>
                <c:pt idx="491">
                  <c:v>06.07.2021</c:v>
                </c:pt>
                <c:pt idx="492">
                  <c:v>07.07.2021</c:v>
                </c:pt>
                <c:pt idx="493">
                  <c:v>08.07.2021</c:v>
                </c:pt>
                <c:pt idx="494">
                  <c:v>09.07.2021</c:v>
                </c:pt>
                <c:pt idx="495">
                  <c:v>10.07.2021</c:v>
                </c:pt>
                <c:pt idx="496">
                  <c:v>11.07.2021</c:v>
                </c:pt>
                <c:pt idx="497">
                  <c:v>12.07.2021</c:v>
                </c:pt>
                <c:pt idx="498">
                  <c:v>13.07.2021</c:v>
                </c:pt>
                <c:pt idx="499">
                  <c:v>14.07.2021</c:v>
                </c:pt>
                <c:pt idx="500">
                  <c:v>15.07.2021</c:v>
                </c:pt>
                <c:pt idx="501">
                  <c:v>16.07.2021</c:v>
                </c:pt>
                <c:pt idx="502">
                  <c:v>17.07.2021</c:v>
                </c:pt>
                <c:pt idx="503">
                  <c:v>18.07.2021</c:v>
                </c:pt>
                <c:pt idx="504">
                  <c:v>19.07.2021</c:v>
                </c:pt>
                <c:pt idx="505">
                  <c:v>20.07.2021</c:v>
                </c:pt>
                <c:pt idx="506">
                  <c:v>21.07.2021</c:v>
                </c:pt>
                <c:pt idx="507">
                  <c:v>22.07.2021</c:v>
                </c:pt>
                <c:pt idx="508">
                  <c:v>23.07.2021</c:v>
                </c:pt>
                <c:pt idx="509">
                  <c:v>24.07.2021</c:v>
                </c:pt>
                <c:pt idx="510">
                  <c:v>25.07.2021</c:v>
                </c:pt>
                <c:pt idx="511">
                  <c:v>26.07.2021</c:v>
                </c:pt>
                <c:pt idx="512">
                  <c:v>27.07.2021</c:v>
                </c:pt>
                <c:pt idx="513">
                  <c:v>28.07.2021</c:v>
                </c:pt>
                <c:pt idx="514">
                  <c:v>29.07.2021</c:v>
                </c:pt>
                <c:pt idx="515">
                  <c:v>30.07.2021</c:v>
                </c:pt>
                <c:pt idx="516">
                  <c:v>31.07.2021</c:v>
                </c:pt>
                <c:pt idx="517">
                  <c:v>01.08.2021</c:v>
                </c:pt>
                <c:pt idx="518">
                  <c:v>02.08.2021</c:v>
                </c:pt>
                <c:pt idx="519">
                  <c:v>03.08.2021</c:v>
                </c:pt>
                <c:pt idx="520">
                  <c:v>04.08.2021</c:v>
                </c:pt>
                <c:pt idx="521">
                  <c:v>05.08.2021</c:v>
                </c:pt>
                <c:pt idx="522">
                  <c:v>06.08.2021</c:v>
                </c:pt>
                <c:pt idx="523">
                  <c:v>07.08.2021</c:v>
                </c:pt>
                <c:pt idx="524">
                  <c:v>08.08.2021</c:v>
                </c:pt>
                <c:pt idx="525">
                  <c:v>09.08.2021</c:v>
                </c:pt>
                <c:pt idx="526">
                  <c:v>10.08.2021</c:v>
                </c:pt>
                <c:pt idx="527">
                  <c:v>11.08.2021</c:v>
                </c:pt>
                <c:pt idx="528">
                  <c:v>12.08.2021</c:v>
                </c:pt>
                <c:pt idx="529">
                  <c:v>13.08.2021</c:v>
                </c:pt>
                <c:pt idx="530">
                  <c:v>14.08.2021</c:v>
                </c:pt>
                <c:pt idx="531">
                  <c:v>15.08.2021</c:v>
                </c:pt>
                <c:pt idx="532">
                  <c:v>16.08.2021</c:v>
                </c:pt>
                <c:pt idx="533">
                  <c:v>17.08.2021</c:v>
                </c:pt>
                <c:pt idx="534">
                  <c:v>18.08.2021</c:v>
                </c:pt>
                <c:pt idx="535">
                  <c:v>19.08.2021</c:v>
                </c:pt>
                <c:pt idx="536">
                  <c:v>20.08.2021</c:v>
                </c:pt>
                <c:pt idx="537">
                  <c:v>21.08.2021</c:v>
                </c:pt>
                <c:pt idx="538">
                  <c:v>22.08.2021</c:v>
                </c:pt>
                <c:pt idx="539">
                  <c:v>23.08.2021</c:v>
                </c:pt>
                <c:pt idx="540">
                  <c:v>24.08.2021</c:v>
                </c:pt>
                <c:pt idx="541">
                  <c:v>25.08.2021</c:v>
                </c:pt>
                <c:pt idx="542">
                  <c:v>26.08.2021</c:v>
                </c:pt>
                <c:pt idx="543">
                  <c:v>27.08.2021</c:v>
                </c:pt>
                <c:pt idx="544">
                  <c:v>28.08.2021</c:v>
                </c:pt>
                <c:pt idx="545">
                  <c:v>29.08.2021</c:v>
                </c:pt>
                <c:pt idx="546">
                  <c:v>30.08.2021</c:v>
                </c:pt>
                <c:pt idx="547">
                  <c:v>31.08.2021</c:v>
                </c:pt>
                <c:pt idx="548">
                  <c:v>01.09.2021</c:v>
                </c:pt>
                <c:pt idx="549">
                  <c:v>02.09.2021</c:v>
                </c:pt>
                <c:pt idx="550">
                  <c:v>03.09.2021</c:v>
                </c:pt>
                <c:pt idx="551">
                  <c:v>04.09.2021</c:v>
                </c:pt>
                <c:pt idx="552">
                  <c:v>05.09.2021</c:v>
                </c:pt>
                <c:pt idx="553">
                  <c:v>06.09.2021</c:v>
                </c:pt>
                <c:pt idx="554">
                  <c:v>07.09.2021</c:v>
                </c:pt>
                <c:pt idx="555">
                  <c:v>08.09.2021</c:v>
                </c:pt>
                <c:pt idx="556">
                  <c:v>09.09.2021</c:v>
                </c:pt>
                <c:pt idx="557">
                  <c:v>10.09.2021</c:v>
                </c:pt>
                <c:pt idx="558">
                  <c:v>11.09.2021</c:v>
                </c:pt>
                <c:pt idx="559">
                  <c:v>12.09.2021</c:v>
                </c:pt>
                <c:pt idx="560">
                  <c:v>13.09.2021</c:v>
                </c:pt>
                <c:pt idx="561">
                  <c:v>14.09.2021</c:v>
                </c:pt>
                <c:pt idx="562">
                  <c:v>15.09.2021</c:v>
                </c:pt>
                <c:pt idx="563">
                  <c:v>16.09.2021</c:v>
                </c:pt>
                <c:pt idx="564">
                  <c:v>17.09.2021</c:v>
                </c:pt>
                <c:pt idx="565">
                  <c:v>18.09.2021</c:v>
                </c:pt>
                <c:pt idx="566">
                  <c:v>19.09.2021</c:v>
                </c:pt>
                <c:pt idx="567">
                  <c:v>20.09.2021</c:v>
                </c:pt>
                <c:pt idx="568">
                  <c:v>21.09.2021</c:v>
                </c:pt>
                <c:pt idx="569">
                  <c:v>22.09.2021</c:v>
                </c:pt>
                <c:pt idx="570">
                  <c:v>23.09.2021</c:v>
                </c:pt>
                <c:pt idx="571">
                  <c:v>24.09.2021</c:v>
                </c:pt>
                <c:pt idx="572">
                  <c:v>25.09.2021</c:v>
                </c:pt>
                <c:pt idx="573">
                  <c:v>26.09.2021</c:v>
                </c:pt>
                <c:pt idx="574">
                  <c:v>27.09.2021</c:v>
                </c:pt>
                <c:pt idx="575">
                  <c:v>28.09.2021</c:v>
                </c:pt>
                <c:pt idx="576">
                  <c:v>29.09.2021</c:v>
                </c:pt>
                <c:pt idx="577">
                  <c:v>30.09.2021</c:v>
                </c:pt>
                <c:pt idx="578">
                  <c:v>01.10.2021</c:v>
                </c:pt>
                <c:pt idx="579">
                  <c:v>02.10.2021</c:v>
                </c:pt>
                <c:pt idx="580">
                  <c:v>03.10.2021</c:v>
                </c:pt>
                <c:pt idx="581">
                  <c:v>04.10.2021</c:v>
                </c:pt>
                <c:pt idx="582">
                  <c:v>05.10.2021</c:v>
                </c:pt>
                <c:pt idx="583">
                  <c:v>06.10.2021</c:v>
                </c:pt>
                <c:pt idx="584">
                  <c:v>07.10.2021</c:v>
                </c:pt>
                <c:pt idx="585">
                  <c:v>08.10.2021</c:v>
                </c:pt>
                <c:pt idx="586">
                  <c:v>09.10.2021</c:v>
                </c:pt>
                <c:pt idx="587">
                  <c:v>10.10.2021</c:v>
                </c:pt>
                <c:pt idx="588">
                  <c:v>11.10.2021</c:v>
                </c:pt>
                <c:pt idx="589">
                  <c:v>12.10.2021</c:v>
                </c:pt>
                <c:pt idx="590">
                  <c:v>13.10.2021</c:v>
                </c:pt>
                <c:pt idx="591">
                  <c:v>14.10.2021</c:v>
                </c:pt>
                <c:pt idx="592">
                  <c:v>15.10.2021</c:v>
                </c:pt>
                <c:pt idx="593">
                  <c:v>16.10.2021</c:v>
                </c:pt>
                <c:pt idx="594">
                  <c:v>17.10.2021</c:v>
                </c:pt>
                <c:pt idx="595">
                  <c:v>18.10.2021</c:v>
                </c:pt>
                <c:pt idx="596">
                  <c:v>19.10.2021</c:v>
                </c:pt>
                <c:pt idx="597">
                  <c:v>20.10.2021</c:v>
                </c:pt>
                <c:pt idx="598">
                  <c:v>21.10.2021</c:v>
                </c:pt>
                <c:pt idx="599">
                  <c:v>22.10.2021</c:v>
                </c:pt>
                <c:pt idx="600">
                  <c:v>23.10.2021</c:v>
                </c:pt>
                <c:pt idx="601">
                  <c:v>24.10.2021</c:v>
                </c:pt>
                <c:pt idx="602">
                  <c:v>25.10.2021</c:v>
                </c:pt>
                <c:pt idx="603">
                  <c:v>26.10.2021</c:v>
                </c:pt>
                <c:pt idx="604">
                  <c:v>27.10.2021</c:v>
                </c:pt>
                <c:pt idx="605">
                  <c:v>28.10.2021</c:v>
                </c:pt>
                <c:pt idx="606">
                  <c:v>29.10.2021</c:v>
                </c:pt>
                <c:pt idx="607">
                  <c:v>30.10.2021</c:v>
                </c:pt>
                <c:pt idx="608">
                  <c:v>31.10.2021</c:v>
                </c:pt>
                <c:pt idx="609">
                  <c:v>01.11.2021</c:v>
                </c:pt>
                <c:pt idx="610">
                  <c:v>02.11.2021</c:v>
                </c:pt>
                <c:pt idx="611">
                  <c:v>03.11.2021</c:v>
                </c:pt>
                <c:pt idx="612">
                  <c:v>04.11.2021</c:v>
                </c:pt>
                <c:pt idx="613">
                  <c:v>05.11.2021</c:v>
                </c:pt>
                <c:pt idx="614">
                  <c:v>06.11.2021</c:v>
                </c:pt>
                <c:pt idx="615">
                  <c:v>07.11.2021</c:v>
                </c:pt>
                <c:pt idx="616">
                  <c:v>08.11.2021</c:v>
                </c:pt>
                <c:pt idx="617">
                  <c:v>09.11.2021</c:v>
                </c:pt>
                <c:pt idx="618">
                  <c:v>10.11.2021</c:v>
                </c:pt>
                <c:pt idx="619">
                  <c:v>11.11.2021</c:v>
                </c:pt>
                <c:pt idx="620">
                  <c:v>12.11.2021</c:v>
                </c:pt>
                <c:pt idx="621">
                  <c:v>13.11.2021</c:v>
                </c:pt>
                <c:pt idx="622">
                  <c:v>14.11.2021</c:v>
                </c:pt>
                <c:pt idx="623">
                  <c:v>15.11.2021</c:v>
                </c:pt>
                <c:pt idx="624">
                  <c:v>16.11.2021</c:v>
                </c:pt>
                <c:pt idx="625">
                  <c:v>17.11.2021</c:v>
                </c:pt>
                <c:pt idx="626">
                  <c:v>18.11.2021</c:v>
                </c:pt>
                <c:pt idx="627">
                  <c:v>19.11.2021</c:v>
                </c:pt>
                <c:pt idx="628">
                  <c:v>20.11.2021</c:v>
                </c:pt>
                <c:pt idx="629">
                  <c:v>21.11.2021</c:v>
                </c:pt>
                <c:pt idx="630">
                  <c:v>22.11.2021</c:v>
                </c:pt>
                <c:pt idx="631">
                  <c:v>23.11.2021</c:v>
                </c:pt>
                <c:pt idx="632">
                  <c:v>24.11.2021</c:v>
                </c:pt>
                <c:pt idx="633">
                  <c:v>25.11.2021</c:v>
                </c:pt>
                <c:pt idx="634">
                  <c:v>26.11.2021</c:v>
                </c:pt>
                <c:pt idx="635">
                  <c:v>27.11.2021</c:v>
                </c:pt>
                <c:pt idx="636">
                  <c:v>28.11.2021</c:v>
                </c:pt>
                <c:pt idx="637">
                  <c:v>29.11.2021</c:v>
                </c:pt>
                <c:pt idx="638">
                  <c:v>30.11.2021</c:v>
                </c:pt>
                <c:pt idx="639">
                  <c:v>01.12.2021</c:v>
                </c:pt>
                <c:pt idx="640">
                  <c:v>02.12.2021</c:v>
                </c:pt>
                <c:pt idx="641">
                  <c:v>03.12.2021</c:v>
                </c:pt>
                <c:pt idx="642">
                  <c:v>04.12.2021</c:v>
                </c:pt>
                <c:pt idx="643">
                  <c:v>05.12.2021</c:v>
                </c:pt>
                <c:pt idx="644">
                  <c:v>06.12.2021</c:v>
                </c:pt>
                <c:pt idx="645">
                  <c:v>07.12.2021</c:v>
                </c:pt>
                <c:pt idx="646">
                  <c:v>08.12.2021</c:v>
                </c:pt>
                <c:pt idx="647">
                  <c:v>09.12.2021</c:v>
                </c:pt>
                <c:pt idx="648">
                  <c:v>10.12.2021</c:v>
                </c:pt>
                <c:pt idx="649">
                  <c:v>11.12.2021</c:v>
                </c:pt>
                <c:pt idx="650">
                  <c:v>12.12.2021</c:v>
                </c:pt>
                <c:pt idx="651">
                  <c:v>13.12.2021</c:v>
                </c:pt>
                <c:pt idx="652">
                  <c:v>14.12.2021</c:v>
                </c:pt>
                <c:pt idx="653">
                  <c:v>15.12.2021</c:v>
                </c:pt>
                <c:pt idx="654">
                  <c:v>16.12.2021</c:v>
                </c:pt>
                <c:pt idx="655">
                  <c:v>17.12.2021</c:v>
                </c:pt>
                <c:pt idx="656">
                  <c:v>18.12.2021</c:v>
                </c:pt>
                <c:pt idx="657">
                  <c:v>19.12.2021</c:v>
                </c:pt>
                <c:pt idx="658">
                  <c:v>20.12.2021</c:v>
                </c:pt>
                <c:pt idx="659">
                  <c:v>21.12.2021</c:v>
                </c:pt>
                <c:pt idx="660">
                  <c:v>22.12.2021</c:v>
                </c:pt>
                <c:pt idx="661">
                  <c:v>23.12.2021</c:v>
                </c:pt>
                <c:pt idx="662">
                  <c:v>24.12.2021</c:v>
                </c:pt>
                <c:pt idx="663">
                  <c:v>25.12.2021</c:v>
                </c:pt>
                <c:pt idx="664">
                  <c:v>26.12.2021</c:v>
                </c:pt>
                <c:pt idx="665">
                  <c:v>27.12.2021</c:v>
                </c:pt>
                <c:pt idx="666">
                  <c:v>28.12.2021</c:v>
                </c:pt>
                <c:pt idx="667">
                  <c:v>29.12.2021</c:v>
                </c:pt>
                <c:pt idx="668">
                  <c:v>30.12.2021</c:v>
                </c:pt>
                <c:pt idx="669">
                  <c:v>31.12.2021</c:v>
                </c:pt>
                <c:pt idx="670">
                  <c:v>01.01.2022</c:v>
                </c:pt>
                <c:pt idx="671">
                  <c:v>02.01.2022</c:v>
                </c:pt>
                <c:pt idx="672">
                  <c:v>03.01.2022</c:v>
                </c:pt>
                <c:pt idx="673">
                  <c:v>04.01.2022</c:v>
                </c:pt>
                <c:pt idx="674">
                  <c:v>05.01.2022</c:v>
                </c:pt>
                <c:pt idx="675">
                  <c:v>06.01.2022</c:v>
                </c:pt>
                <c:pt idx="676">
                  <c:v>07.01.2022</c:v>
                </c:pt>
                <c:pt idx="677">
                  <c:v>08.01.2022</c:v>
                </c:pt>
                <c:pt idx="678">
                  <c:v>09.01.2022</c:v>
                </c:pt>
                <c:pt idx="679">
                  <c:v>10.01.2022</c:v>
                </c:pt>
                <c:pt idx="680">
                  <c:v>11.01.2022</c:v>
                </c:pt>
                <c:pt idx="681">
                  <c:v>12.01.2022</c:v>
                </c:pt>
                <c:pt idx="682">
                  <c:v>13.01.2022</c:v>
                </c:pt>
                <c:pt idx="683">
                  <c:v>14.01.2022</c:v>
                </c:pt>
                <c:pt idx="684">
                  <c:v>15.01.2022</c:v>
                </c:pt>
                <c:pt idx="685">
                  <c:v>16.01.2022</c:v>
                </c:pt>
                <c:pt idx="686">
                  <c:v>17.01.2022</c:v>
                </c:pt>
                <c:pt idx="687">
                  <c:v>18.01.2022</c:v>
                </c:pt>
              </c:strCache>
            </c:strRef>
          </c:cat>
          <c:val>
            <c:numRef>
              <c:f>Sheet1!$B$1:$B$688</c:f>
              <c:numCache>
                <c:formatCode>General</c:formatCode>
                <c:ptCount val="68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7.6923076919999996E-3</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3.4246575339999998E-3</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1.5479876159999999E-3</c:v>
                </c:pt>
                <c:pt idx="185">
                  <c:v>0</c:v>
                </c:pt>
                <c:pt idx="186">
                  <c:v>0</c:v>
                </c:pt>
                <c:pt idx="187">
                  <c:v>0</c:v>
                </c:pt>
                <c:pt idx="188">
                  <c:v>0</c:v>
                </c:pt>
                <c:pt idx="189">
                  <c:v>1.7793594299999999E-3</c:v>
                </c:pt>
                <c:pt idx="190">
                  <c:v>0</c:v>
                </c:pt>
                <c:pt idx="191">
                  <c:v>0</c:v>
                </c:pt>
                <c:pt idx="192">
                  <c:v>7.2254335199999997E-4</c:v>
                </c:pt>
                <c:pt idx="193">
                  <c:v>0</c:v>
                </c:pt>
                <c:pt idx="194">
                  <c:v>0</c:v>
                </c:pt>
                <c:pt idx="195">
                  <c:v>0</c:v>
                </c:pt>
                <c:pt idx="196">
                  <c:v>0</c:v>
                </c:pt>
                <c:pt idx="197">
                  <c:v>0</c:v>
                </c:pt>
                <c:pt idx="198">
                  <c:v>0</c:v>
                </c:pt>
                <c:pt idx="199">
                  <c:v>3.19897632E-4</c:v>
                </c:pt>
                <c:pt idx="200">
                  <c:v>4.7415836800000002E-4</c:v>
                </c:pt>
                <c:pt idx="201">
                  <c:v>0</c:v>
                </c:pt>
                <c:pt idx="202">
                  <c:v>0</c:v>
                </c:pt>
                <c:pt idx="203">
                  <c:v>0</c:v>
                </c:pt>
                <c:pt idx="204">
                  <c:v>4.1876046899999998E-4</c:v>
                </c:pt>
                <c:pt idx="205">
                  <c:v>0</c:v>
                </c:pt>
                <c:pt idx="206">
                  <c:v>0</c:v>
                </c:pt>
                <c:pt idx="207">
                  <c:v>6.7865625999999997E-4</c:v>
                </c:pt>
                <c:pt idx="208">
                  <c:v>5.0454086700000005E-4</c:v>
                </c:pt>
                <c:pt idx="209">
                  <c:v>0</c:v>
                </c:pt>
                <c:pt idx="210">
                  <c:v>0</c:v>
                </c:pt>
                <c:pt idx="211">
                  <c:v>5.0942434999999998E-4</c:v>
                </c:pt>
                <c:pt idx="212">
                  <c:v>0</c:v>
                </c:pt>
                <c:pt idx="213">
                  <c:v>0</c:v>
                </c:pt>
                <c:pt idx="214">
                  <c:v>2.63435194E-4</c:v>
                </c:pt>
                <c:pt idx="215">
                  <c:v>3.9138943200000002E-4</c:v>
                </c:pt>
                <c:pt idx="216">
                  <c:v>0</c:v>
                </c:pt>
                <c:pt idx="217">
                  <c:v>0</c:v>
                </c:pt>
                <c:pt idx="218">
                  <c:v>0</c:v>
                </c:pt>
                <c:pt idx="219">
                  <c:v>1.8737118200000001E-4</c:v>
                </c:pt>
                <c:pt idx="220">
                  <c:v>0</c:v>
                </c:pt>
                <c:pt idx="221">
                  <c:v>0</c:v>
                </c:pt>
                <c:pt idx="222">
                  <c:v>2.1561017600000001E-4</c:v>
                </c:pt>
                <c:pt idx="223">
                  <c:v>0</c:v>
                </c:pt>
                <c:pt idx="224">
                  <c:v>0</c:v>
                </c:pt>
                <c:pt idx="225">
                  <c:v>0</c:v>
                </c:pt>
                <c:pt idx="226">
                  <c:v>3.14234838E-4</c:v>
                </c:pt>
                <c:pt idx="227">
                  <c:v>1.02827763E-4</c:v>
                </c:pt>
                <c:pt idx="228">
                  <c:v>1.8008283799999999E-4</c:v>
                </c:pt>
                <c:pt idx="229">
                  <c:v>1.1475786000000001E-4</c:v>
                </c:pt>
                <c:pt idx="230">
                  <c:v>5.9265112599999996E-4</c:v>
                </c:pt>
                <c:pt idx="231">
                  <c:v>1.2377769500000001E-4</c:v>
                </c:pt>
                <c:pt idx="232">
                  <c:v>0</c:v>
                </c:pt>
                <c:pt idx="233">
                  <c:v>2.67111853E-4</c:v>
                </c:pt>
                <c:pt idx="234">
                  <c:v>1.41242937E-4</c:v>
                </c:pt>
                <c:pt idx="235">
                  <c:v>2.6226068700000002E-4</c:v>
                </c:pt>
                <c:pt idx="236">
                  <c:v>1.60320641E-4</c:v>
                </c:pt>
                <c:pt idx="237">
                  <c:v>4.10790086E-4</c:v>
                </c:pt>
                <c:pt idx="238">
                  <c:v>1.94647201E-4</c:v>
                </c:pt>
                <c:pt idx="239">
                  <c:v>1.2764056399999999E-4</c:v>
                </c:pt>
                <c:pt idx="240">
                  <c:v>2.3112480700000001E-4</c:v>
                </c:pt>
                <c:pt idx="241">
                  <c:v>5.36110898E-4</c:v>
                </c:pt>
                <c:pt idx="242">
                  <c:v>2.9394473800000001E-4</c:v>
                </c:pt>
                <c:pt idx="243">
                  <c:v>3.4989503100000001E-4</c:v>
                </c:pt>
                <c:pt idx="244">
                  <c:v>1.2196981239999999E-3</c:v>
                </c:pt>
                <c:pt idx="245">
                  <c:v>1.08201687E-4</c:v>
                </c:pt>
                <c:pt idx="246">
                  <c:v>8.2706144999999994E-5</c:v>
                </c:pt>
                <c:pt idx="247">
                  <c:v>1.90730497E-4</c:v>
                </c:pt>
                <c:pt idx="248">
                  <c:v>6.0400150999999997E-4</c:v>
                </c:pt>
                <c:pt idx="249">
                  <c:v>1.7319016199999999E-4</c:v>
                </c:pt>
                <c:pt idx="250">
                  <c:v>5.17799352E-4</c:v>
                </c:pt>
                <c:pt idx="251">
                  <c:v>2.7685492800000002E-4</c:v>
                </c:pt>
                <c:pt idx="252">
                  <c:v>4.9578581999999997E-4</c:v>
                </c:pt>
                <c:pt idx="253">
                  <c:v>1.1039964600000001E-4</c:v>
                </c:pt>
                <c:pt idx="254">
                  <c:v>1.1210762299999999E-4</c:v>
                </c:pt>
                <c:pt idx="255">
                  <c:v>1.26984126E-4</c:v>
                </c:pt>
                <c:pt idx="256">
                  <c:v>1.3588802799999999E-4</c:v>
                </c:pt>
                <c:pt idx="257">
                  <c:v>2.3826542700000001E-4</c:v>
                </c:pt>
                <c:pt idx="258">
                  <c:v>1.056524035E-3</c:v>
                </c:pt>
                <c:pt idx="259">
                  <c:v>9.2199889299999995E-4</c:v>
                </c:pt>
                <c:pt idx="260">
                  <c:v>4.7080979200000002E-4</c:v>
                </c:pt>
                <c:pt idx="261">
                  <c:v>5.4377378999999999E-4</c:v>
                </c:pt>
                <c:pt idx="262">
                  <c:v>6.1785603900000002E-4</c:v>
                </c:pt>
                <c:pt idx="263">
                  <c:v>1.7211703900000001E-4</c:v>
                </c:pt>
                <c:pt idx="264">
                  <c:v>6.2637018400000003E-4</c:v>
                </c:pt>
                <c:pt idx="265">
                  <c:v>6.6269052300000004E-4</c:v>
                </c:pt>
                <c:pt idx="266">
                  <c:v>9.1261692899999997E-4</c:v>
                </c:pt>
                <c:pt idx="267">
                  <c:v>1.7059024199999999E-4</c:v>
                </c:pt>
                <c:pt idx="268">
                  <c:v>6.0827250600000002E-4</c:v>
                </c:pt>
                <c:pt idx="269">
                  <c:v>4.9382715999999997E-4</c:v>
                </c:pt>
                <c:pt idx="270">
                  <c:v>6.7174205100000003E-4</c:v>
                </c:pt>
                <c:pt idx="271">
                  <c:v>0</c:v>
                </c:pt>
                <c:pt idx="272">
                  <c:v>0</c:v>
                </c:pt>
                <c:pt idx="273">
                  <c:v>0</c:v>
                </c:pt>
                <c:pt idx="274">
                  <c:v>1.9301293099999999E-4</c:v>
                </c:pt>
                <c:pt idx="275">
                  <c:v>4.3830813000000001E-4</c:v>
                </c:pt>
                <c:pt idx="276">
                  <c:v>1.2958963279999999E-3</c:v>
                </c:pt>
                <c:pt idx="277">
                  <c:v>8.4192801499999997E-4</c:v>
                </c:pt>
                <c:pt idx="278">
                  <c:v>0</c:v>
                </c:pt>
                <c:pt idx="279">
                  <c:v>8.9847259599999999E-4</c:v>
                </c:pt>
                <c:pt idx="280">
                  <c:v>1.17481203E-3</c:v>
                </c:pt>
                <c:pt idx="281">
                  <c:v>6.8271035999999997E-4</c:v>
                </c:pt>
                <c:pt idx="282">
                  <c:v>7.7857365299999995E-4</c:v>
                </c:pt>
                <c:pt idx="283">
                  <c:v>6.8050357200000005E-4</c:v>
                </c:pt>
                <c:pt idx="284">
                  <c:v>6.43707756E-4</c:v>
                </c:pt>
                <c:pt idx="285">
                  <c:v>8.2012028399999998E-4</c:v>
                </c:pt>
                <c:pt idx="286">
                  <c:v>0</c:v>
                </c:pt>
                <c:pt idx="287">
                  <c:v>3.8610038599999998E-4</c:v>
                </c:pt>
                <c:pt idx="288">
                  <c:v>2.52716704E-4</c:v>
                </c:pt>
                <c:pt idx="289">
                  <c:v>6.05033881E-4</c:v>
                </c:pt>
                <c:pt idx="290">
                  <c:v>5.2507219699999999E-4</c:v>
                </c:pt>
                <c:pt idx="291">
                  <c:v>9.0313840499999995E-4</c:v>
                </c:pt>
                <c:pt idx="292">
                  <c:v>9.3685591100000005E-4</c:v>
                </c:pt>
                <c:pt idx="293">
                  <c:v>5.8616647100000001E-4</c:v>
                </c:pt>
                <c:pt idx="294">
                  <c:v>8.7829360100000003E-4</c:v>
                </c:pt>
                <c:pt idx="295">
                  <c:v>1.8299935899999999E-4</c:v>
                </c:pt>
                <c:pt idx="296">
                  <c:v>6.3536886599999999E-4</c:v>
                </c:pt>
                <c:pt idx="297">
                  <c:v>9.1282519300000002E-4</c:v>
                </c:pt>
                <c:pt idx="298">
                  <c:v>1.1202389839999999E-3</c:v>
                </c:pt>
                <c:pt idx="299">
                  <c:v>1.316655694E-3</c:v>
                </c:pt>
                <c:pt idx="300">
                  <c:v>7.9072219199999999E-4</c:v>
                </c:pt>
                <c:pt idx="301">
                  <c:v>2.7362276499999998E-4</c:v>
                </c:pt>
                <c:pt idx="302">
                  <c:v>6.0554680800000002E-4</c:v>
                </c:pt>
                <c:pt idx="303">
                  <c:v>7.6041179199999999E-4</c:v>
                </c:pt>
                <c:pt idx="304">
                  <c:v>6.7501687500000004E-4</c:v>
                </c:pt>
                <c:pt idx="305" formatCode="[$-10409]#\ ##0;\(#\ ##0\)">
                  <c:v>1.7356089090000001E-3</c:v>
                </c:pt>
                <c:pt idx="306" formatCode="[$-10409]#\ ##0;\(#\ ##0\)">
                  <c:v>4.0056078500000001E-4</c:v>
                </c:pt>
                <c:pt idx="307" formatCode="[$-10409]#\ ##0;\(#\ ##0\)">
                  <c:v>1.274291175E-3</c:v>
                </c:pt>
                <c:pt idx="308" formatCode="[$-10409]#\ ##0;\(#\ ##0\)">
                  <c:v>9.2400092400000001E-4</c:v>
                </c:pt>
                <c:pt idx="309" formatCode="[$-10409]#\ ##0;\(#\ ##0\)">
                  <c:v>9.1743119200000001E-4</c:v>
                </c:pt>
                <c:pt idx="310" formatCode="[$-10409]#\ ##0;\(#\ ##0\)">
                  <c:v>4.4905978099999999E-4</c:v>
                </c:pt>
                <c:pt idx="311" formatCode="[$-10409]#\ ##0;\(#\ ##0\)">
                  <c:v>1.271838811E-3</c:v>
                </c:pt>
                <c:pt idx="312" formatCode="[$-10409]#\ ##0;\(#\ ##0\)">
                  <c:v>6.09570252E-4</c:v>
                </c:pt>
                <c:pt idx="313" formatCode="[$-10409]#\ ##0;\(#\ ##0\)">
                  <c:v>1.062824752E-3</c:v>
                </c:pt>
                <c:pt idx="314" formatCode="[$-10409]#\ ##0;\(#\ ##0\)">
                  <c:v>1.155535012E-3</c:v>
                </c:pt>
                <c:pt idx="315" formatCode="[$-10409]#\ ##0;\(#\ ##0\)">
                  <c:v>1.380775358E-3</c:v>
                </c:pt>
                <c:pt idx="316" formatCode="[$-10409]#\ ##0;\(#\ ##0\)">
                  <c:v>1.3845301820000001E-3</c:v>
                </c:pt>
                <c:pt idx="317" formatCode="[$-10409]#\ ##0;\(#\ ##0\)">
                  <c:v>1.186997808E-3</c:v>
                </c:pt>
                <c:pt idx="318" formatCode="[$-10409]#\ ##0;\(#\ ##0\)">
                  <c:v>1.476559616E-3</c:v>
                </c:pt>
                <c:pt idx="319" formatCode="[$-10409]#\ ##0;\(#\ ##0\)">
                  <c:v>1.0696331149999999E-3</c:v>
                </c:pt>
                <c:pt idx="320" formatCode="[$-10409]#\ ##0;\(#\ ##0\)">
                  <c:v>1.3320647E-3</c:v>
                </c:pt>
                <c:pt idx="321" formatCode="[$-10409]#\ ##0;\(#\ ##0\)">
                  <c:v>7.5471698099999999E-4</c:v>
                </c:pt>
                <c:pt idx="322" formatCode="[$-10409]#\ ##0;\(#\ ##0\)">
                  <c:v>2.2072189039999998E-3</c:v>
                </c:pt>
                <c:pt idx="323" formatCode="[$-10409]#\ ##0;\(#\ ##0\)">
                  <c:v>1.8660584689999999E-3</c:v>
                </c:pt>
                <c:pt idx="324" formatCode="[$-10409]#\ ##0;\(#\ ##0\)">
                  <c:v>1.092100473E-3</c:v>
                </c:pt>
                <c:pt idx="325" formatCode="[$-10409]#\ ##0;\(#\ ##0\)">
                  <c:v>1.0570824519999999E-3</c:v>
                </c:pt>
                <c:pt idx="326" formatCode="[$-10409]#\ ##0;\(#\ ##0\)">
                  <c:v>3.7589568889999998E-3</c:v>
                </c:pt>
                <c:pt idx="327" formatCode="[$-10409]#\ ##0;\(#\ ##0\)">
                  <c:v>2.117148906E-3</c:v>
                </c:pt>
                <c:pt idx="328" formatCode="[$-10409]#\ ##0;\(#\ ##0\)">
                  <c:v>4.1493775929999999E-3</c:v>
                </c:pt>
                <c:pt idx="329" formatCode="[$-10409]#\ ##0;\(#\ ##0\)">
                  <c:v>3.5648082130000001E-3</c:v>
                </c:pt>
                <c:pt idx="330" formatCode="[$-10409]#\ ##0;\(#\ ##0\)">
                  <c:v>3.2495667239999999E-3</c:v>
                </c:pt>
                <c:pt idx="331" formatCode="[$-10409]#\ ##0;\(#\ ##0\)">
                  <c:v>2.806689276E-3</c:v>
                </c:pt>
                <c:pt idx="332" formatCode="[$-10409]#\ ##0;\(#\ ##0\)">
                  <c:v>4.7163956799999998E-3</c:v>
                </c:pt>
                <c:pt idx="333" formatCode="[$-10409]#\ ##0;\(#\ ##0\)">
                  <c:v>3.2134470390000002E-3</c:v>
                </c:pt>
                <c:pt idx="334" formatCode="[$-10409]#\ ##0;\(#\ ##0\)">
                  <c:v>3.680078508E-3</c:v>
                </c:pt>
                <c:pt idx="335" formatCode="[$-10409]#\ ##0;\(#\ ##0\)">
                  <c:v>6.168080185E-3</c:v>
                </c:pt>
                <c:pt idx="336" formatCode="[$-10409]#\ ##0;\(#\ ##0\)">
                  <c:v>3.7133819280000002E-3</c:v>
                </c:pt>
                <c:pt idx="337" formatCode="[$-10409]#\ ##0;\(#\ ##0\)">
                  <c:v>3.4801522560000001E-3</c:v>
                </c:pt>
                <c:pt idx="338" formatCode="[$-10409]#\ ##0;\(#\ ##0\)">
                  <c:v>5.1413881740000004E-3</c:v>
                </c:pt>
                <c:pt idx="339" formatCode="[$-10409]#\ ##0;\(#\ ##0\)">
                  <c:v>5.6372549009999998E-3</c:v>
                </c:pt>
                <c:pt idx="340" formatCode="[$-10409]#\ ##0;\(#\ ##0\)">
                  <c:v>3.5771982460000001E-3</c:v>
                </c:pt>
                <c:pt idx="341" formatCode="[$-10409]#\ ##0;\(#\ ##0\)">
                  <c:v>3.7182400330000001E-3</c:v>
                </c:pt>
                <c:pt idx="342" formatCode="[$-10409]#\ ##0;\(#\ ##0\)">
                  <c:v>3.651115618E-3</c:v>
                </c:pt>
                <c:pt idx="343" formatCode="[$-10409]#\ ##0;\(#\ ##0\)">
                  <c:v>5.3585098229999998E-3</c:v>
                </c:pt>
                <c:pt idx="344" formatCode="[$-10409]#\ ##0;\(#\ ##0\)">
                  <c:v>5.8880308879999997E-3</c:v>
                </c:pt>
                <c:pt idx="345" formatCode="[$-10409]#\ ##0;\(#\ ##0\)">
                  <c:v>4.4773011239999999E-3</c:v>
                </c:pt>
                <c:pt idx="346" formatCode="[$-10409]#\ ##0;\(#\ ##0\)">
                  <c:v>3.5300606720000001E-3</c:v>
                </c:pt>
                <c:pt idx="347" formatCode="[$-10409]#\ ##0;\(#\ ##0\)">
                  <c:v>4.0567951310000001E-3</c:v>
                </c:pt>
                <c:pt idx="348" formatCode="[$-10409]#\ ##0;\(#\ ##0\)">
                  <c:v>5.2194084670000003E-3</c:v>
                </c:pt>
                <c:pt idx="349" formatCode="[$-10409]#\ ##0;\(#\ ##0\)">
                  <c:v>4.1450777200000002E-3</c:v>
                </c:pt>
                <c:pt idx="350" formatCode="[$-10409]#\ ##0;\(#\ ##0\)">
                  <c:v>5.4681397160000001E-3</c:v>
                </c:pt>
                <c:pt idx="351" formatCode="[$-10409]#\ ##0;\(#\ ##0\)">
                  <c:v>4.8111049759999996E-3</c:v>
                </c:pt>
                <c:pt idx="352" formatCode="[$-10409]#\ ##0;\(#\ ##0\)">
                  <c:v>5.6291992010000002E-3</c:v>
                </c:pt>
                <c:pt idx="353" formatCode="[$-10409]#\ ##0;\(#\ ##0\)">
                  <c:v>5.7715158710000001E-3</c:v>
                </c:pt>
                <c:pt idx="354" formatCode="[$-10409]#\ ##0;\(#\ ##0\)">
                  <c:v>5.1954913700000003E-3</c:v>
                </c:pt>
                <c:pt idx="355" formatCode="[$-10409]#\ ##0;\(#\ ##0\)">
                  <c:v>6.3040609879999997E-3</c:v>
                </c:pt>
                <c:pt idx="356" formatCode="[$-10409]#\ ##0;\(#\ ##0\)">
                  <c:v>5.1294577429999997E-3</c:v>
                </c:pt>
                <c:pt idx="357" formatCode="[$-10409]#\ ##0;\(#\ ##0\)">
                  <c:v>5.7381324979999997E-3</c:v>
                </c:pt>
                <c:pt idx="358" formatCode="[$-10409]#\ ##0;\(#\ ##0\)">
                  <c:v>5.2681091249999999E-3</c:v>
                </c:pt>
                <c:pt idx="359" formatCode="[$-10409]#\ ##0;\(#\ ##0\)">
                  <c:v>6.6863182109999997E-3</c:v>
                </c:pt>
                <c:pt idx="360" formatCode="[$-10409]#\ ##0;\(#\ ##0\)">
                  <c:v>5.3126277069999997E-3</c:v>
                </c:pt>
                <c:pt idx="361" formatCode="[$-10409]#\ ##0;\(#\ ##0\)">
                  <c:v>5.5063121130000002E-3</c:v>
                </c:pt>
                <c:pt idx="362" formatCode="[$-10409]#\ ##0;\(#\ ##0\)">
                  <c:v>3.168567807E-3</c:v>
                </c:pt>
                <c:pt idx="363" formatCode="[$-10409]#\ ##0;\(#\ ##0\)">
                  <c:v>4.9783549780000004E-3</c:v>
                </c:pt>
                <c:pt idx="364" formatCode="[$-10409]#\ ##0;\(#\ ##0\)">
                  <c:v>4.9134111960000004E-3</c:v>
                </c:pt>
                <c:pt idx="365" formatCode="[$-10409]#\ ##0;\(#\ ##0\)">
                  <c:v>5.6784573519999999E-3</c:v>
                </c:pt>
                <c:pt idx="366" formatCode="[$-10409]#\ ##0;\(#\ ##0\)">
                  <c:v>6.6388961200000004E-3</c:v>
                </c:pt>
                <c:pt idx="367" formatCode="[$-10409]#\ ##0;\(#\ ##0\)">
                  <c:v>5.8293228490000001E-3</c:v>
                </c:pt>
                <c:pt idx="368" formatCode="[$-10409]#\ ##0;\(#\ ##0\)">
                  <c:v>6.5581184979999997E-3</c:v>
                </c:pt>
                <c:pt idx="369" formatCode="[$-10409]#\ ##0;\(#\ ##0\)">
                  <c:v>8.2519001080000008E-3</c:v>
                </c:pt>
                <c:pt idx="370" formatCode="[$-10409]#\ ##0;\(#\ ##0\)">
                  <c:v>6.9651741290000001E-3</c:v>
                </c:pt>
                <c:pt idx="371" formatCode="[$-10409]#\ ##0;\(#\ ##0\)">
                  <c:v>5.122950819E-3</c:v>
                </c:pt>
                <c:pt idx="372" formatCode="[$-10409]#\ ##0;\(#\ ##0\)">
                  <c:v>2.9821717989999999E-3</c:v>
                </c:pt>
                <c:pt idx="373" formatCode="[$-10409]#\ ##0;\(#\ ##0\)">
                  <c:v>5.122950819E-3</c:v>
                </c:pt>
                <c:pt idx="374" formatCode="[$-10409]#\ ##0;\(#\ ##0\)">
                  <c:v>4.8595158149999998E-3</c:v>
                </c:pt>
                <c:pt idx="375" formatCode="[$-10409]#\ ##0;\(#\ ##0\)">
                  <c:v>6.2988993499999996E-3</c:v>
                </c:pt>
                <c:pt idx="376" formatCode="[$-10409]#\ ##0;\(#\ ##0\)">
                  <c:v>5.5076966529999999E-3</c:v>
                </c:pt>
                <c:pt idx="377" formatCode="[$-10409]#\ ##0;\(#\ ##0\)">
                  <c:v>7.1258907359999998E-3</c:v>
                </c:pt>
                <c:pt idx="378" formatCode="[$-10409]#\ ##0;\(#\ ##0\)">
                  <c:v>5.7906042769999997E-3</c:v>
                </c:pt>
                <c:pt idx="379" formatCode="[$-10409]#\ ##0;\(#\ ##0\)">
                  <c:v>4.320419293E-3</c:v>
                </c:pt>
                <c:pt idx="380" formatCode="[$-10409]#\ ##0;\(#\ ##0\)">
                  <c:v>5.7727197749999999E-3</c:v>
                </c:pt>
                <c:pt idx="381" formatCode="[$-10409]#\ ##0;\(#\ ##0\)">
                  <c:v>4.839009864E-3</c:v>
                </c:pt>
                <c:pt idx="382" formatCode="[$-10409]#\ ##0;\(#\ ##0\)">
                  <c:v>6.4259485920000001E-3</c:v>
                </c:pt>
                <c:pt idx="383" formatCode="[$-10409]#\ ##0;\(#\ ##0\)">
                  <c:v>5.9663713609999997E-3</c:v>
                </c:pt>
                <c:pt idx="384" formatCode="[$-10409]#\ ##0;\(#\ ##0\)">
                  <c:v>4.9896049889999999E-3</c:v>
                </c:pt>
                <c:pt idx="385" formatCode="[$-10409]#\ ##0;\(#\ ##0\)">
                  <c:v>5.1819715590000004E-3</c:v>
                </c:pt>
                <c:pt idx="386" formatCode="[$-10409]#\ ##0;\(#\ ##0\)">
                  <c:v>5.7008415520000003E-3</c:v>
                </c:pt>
                <c:pt idx="387" formatCode="[$-10409]#\ ##0;\(#\ ##0\)">
                  <c:v>6.7234424019999997E-3</c:v>
                </c:pt>
                <c:pt idx="388" formatCode="[$-10409]#\ ##0;\(#\ ##0\)">
                  <c:v>3.1375501999999999E-3</c:v>
                </c:pt>
                <c:pt idx="389" formatCode="[$-10409]#\ ##0;\(#\ ##0\)">
                  <c:v>1.1128165771000001E-2</c:v>
                </c:pt>
                <c:pt idx="390" formatCode="[$-10409]#\ ##0;\(#\ ##0\)">
                  <c:v>5.9925093629999999E-3</c:v>
                </c:pt>
                <c:pt idx="391" formatCode="[$-10409]#\ ##0;\(#\ ##0\)">
                  <c:v>5.6915196350000004E-3</c:v>
                </c:pt>
                <c:pt idx="392" formatCode="[$-10409]#\ ##0;\(#\ ##0\)">
                  <c:v>7.8515346180000004E-3</c:v>
                </c:pt>
                <c:pt idx="393" formatCode="[$-10409]#\ ##0;\(#\ ##0\)">
                  <c:v>6.3211125150000004E-3</c:v>
                </c:pt>
                <c:pt idx="394" formatCode="[$-10409]#\ ##0;\(#\ ##0\)">
                  <c:v>7.2335198579999999E-3</c:v>
                </c:pt>
                <c:pt idx="395" formatCode="[$-10409]#\ ##0;\(#\ ##0\)">
                  <c:v>8.243500317E-3</c:v>
                </c:pt>
                <c:pt idx="396" formatCode="[$-10409]#\ ##0;\(#\ ##0\)">
                  <c:v>8.7606287029999997E-3</c:v>
                </c:pt>
                <c:pt idx="397" formatCode="[$-10409]#\ ##0;\(#\ ##0\)">
                  <c:v>5.5248618779999998E-3</c:v>
                </c:pt>
                <c:pt idx="398" formatCode="[$-10409]#\ ##0;\(#\ ##0\)">
                  <c:v>7.197943444E-3</c:v>
                </c:pt>
                <c:pt idx="399" formatCode="[$-10409]#\ ##0;\(#\ ##0\)">
                  <c:v>7.6335877860000002E-3</c:v>
                </c:pt>
                <c:pt idx="400" formatCode="[$-10409]#\ ##0;\(#\ ##0\)">
                  <c:v>8.6771737200000004E-3</c:v>
                </c:pt>
                <c:pt idx="401" formatCode="[$-10409]#\ ##0;\(#\ ##0\)">
                  <c:v>7.5895994370000002E-3</c:v>
                </c:pt>
                <c:pt idx="402" formatCode="[$-10409]#\ ##0;\(#\ ##0\)">
                  <c:v>6.1925314309999998E-3</c:v>
                </c:pt>
                <c:pt idx="403" formatCode="[$-10409]#\ ##0;\(#\ ##0\)">
                  <c:v>5.1450915820000004E-3</c:v>
                </c:pt>
                <c:pt idx="404" formatCode="[$-10409]#\ ##0;\(#\ ##0\)">
                  <c:v>7.602862254E-3</c:v>
                </c:pt>
                <c:pt idx="405" formatCode="[$-10409]#\ ##0;\(#\ ##0\)">
                  <c:v>1.1022044088E-2</c:v>
                </c:pt>
                <c:pt idx="406" formatCode="[$-10409]#\ ##0;\(#\ ##0\)">
                  <c:v>1.0725229826E-2</c:v>
                </c:pt>
                <c:pt idx="407" formatCode="[$-10409]#\ ##0;\(#\ ##0\)">
                  <c:v>7.809449433E-3</c:v>
                </c:pt>
                <c:pt idx="408" formatCode="[$-10409]#\ ##0;\(#\ ##0\)">
                  <c:v>6.1415220290000003E-3</c:v>
                </c:pt>
                <c:pt idx="409" formatCode="[$-10409]#\ ##0;\(#\ ##0\)">
                  <c:v>7.571168988E-3</c:v>
                </c:pt>
                <c:pt idx="410" formatCode="[$-10409]#\ ##0;\(#\ ##0\)">
                  <c:v>7.9975392179999997E-3</c:v>
                </c:pt>
                <c:pt idx="411" formatCode="[$-10409]#\ ##0;\(#\ ##0\)">
                  <c:v>9.6277278559999992E-3</c:v>
                </c:pt>
                <c:pt idx="412" formatCode="[$-10409]#\ ##0;\(#\ ##0\)">
                  <c:v>9.4562647750000006E-3</c:v>
                </c:pt>
                <c:pt idx="413" formatCode="[$-10409]#\ ##0;\(#\ ##0\)">
                  <c:v>6.52818991E-3</c:v>
                </c:pt>
                <c:pt idx="414" formatCode="[$-10409]#\ ##0;\(#\ ##0\)">
                  <c:v>7.0239334019999997E-3</c:v>
                </c:pt>
                <c:pt idx="415" formatCode="[$-10409]#\ ##0;\(#\ ##0\)">
                  <c:v>4.3756311000000001E-3</c:v>
                </c:pt>
                <c:pt idx="416" formatCode="[$-10409]#\ ##0;\(#\ ##0\)">
                  <c:v>5.664652567E-3</c:v>
                </c:pt>
                <c:pt idx="417" formatCode="[$-10409]#\ ##0;\(#\ ##0\)">
                  <c:v>8.7352829469999997E-3</c:v>
                </c:pt>
                <c:pt idx="418" formatCode="[$-10409]#\ ##0;\(#\ ##0\)">
                  <c:v>6.8078668680000001E-3</c:v>
                </c:pt>
                <c:pt idx="419" formatCode="[$-10409]#\ ##0;\(#\ ##0\)">
                  <c:v>1.1904761904E-2</c:v>
                </c:pt>
                <c:pt idx="420" formatCode="[$-10409]#\ ##0;\(#\ ##0\)">
                  <c:v>1.2167300379999999E-2</c:v>
                </c:pt>
                <c:pt idx="421" formatCode="[$-10409]#\ ##0;\(#\ ##0\)">
                  <c:v>6.4200550290000004E-3</c:v>
                </c:pt>
                <c:pt idx="422" formatCode="[$-10409]#\ ##0;\(#\ ##0\)">
                  <c:v>8.3499005959999997E-3</c:v>
                </c:pt>
                <c:pt idx="423" formatCode="[$-10409]#\ ##0;\(#\ ##0\)">
                  <c:v>1.1941618752E-2</c:v>
                </c:pt>
                <c:pt idx="424" formatCode="[$-10409]#\ ##0;\(#\ ##0\)">
                  <c:v>1.1348161597E-2</c:v>
                </c:pt>
                <c:pt idx="425" formatCode="[$-10409]#\ ##0;\(#\ ##0\)">
                  <c:v>1.0126582278E-2</c:v>
                </c:pt>
                <c:pt idx="426" formatCode="[$-10409]#\ ##0;\(#\ ##0\)">
                  <c:v>3.8910505829999999E-3</c:v>
                </c:pt>
                <c:pt idx="427" formatCode="[$-10409]#\ ##0;\(#\ ##0\)">
                  <c:v>1.0671409515000001E-2</c:v>
                </c:pt>
                <c:pt idx="428" formatCode="[$-10409]#\ ##0;\(#\ ##0\)">
                  <c:v>8.1933633750000002E-3</c:v>
                </c:pt>
                <c:pt idx="429" formatCode="[$-10409]#\ ##0;\(#\ ##0\)">
                  <c:v>8.4388185650000006E-3</c:v>
                </c:pt>
                <c:pt idx="430" formatCode="[$-10409]#\ ##0;\(#\ ##0\)">
                  <c:v>1.1271133375000001E-2</c:v>
                </c:pt>
                <c:pt idx="431" formatCode="[$-10409]#\ ##0;\(#\ ##0\)">
                  <c:v>9.0525045259999999E-3</c:v>
                </c:pt>
                <c:pt idx="432" formatCode="[$-10409]#\ ##0;\(#\ ##0\)">
                  <c:v>1.2178619756E-2</c:v>
                </c:pt>
                <c:pt idx="433" formatCode="[$-10409]#\ ##0;\(#\ ##0\)">
                  <c:v>2.0356234096E-2</c:v>
                </c:pt>
                <c:pt idx="434" formatCode="[$-10409]#\ ##0;\(#\ ##0\)">
                  <c:v>8.9571337170000001E-3</c:v>
                </c:pt>
                <c:pt idx="435" formatCode="[$-10409]#\ ##0;\(#\ ##0\)">
                  <c:v>8.7565674250000003E-3</c:v>
                </c:pt>
                <c:pt idx="436" formatCode="[$-10409]#\ ##0;\(#\ ##0\)">
                  <c:v>8.5803432130000003E-3</c:v>
                </c:pt>
                <c:pt idx="437" formatCode="[$-10409]#\ ##0;\(#\ ##0\)">
                  <c:v>1.2830793905E-2</c:v>
                </c:pt>
                <c:pt idx="438" formatCode="[$-10409]#\ ##0;\(#\ ##0\)">
                  <c:v>1.8604651162E-2</c:v>
                </c:pt>
                <c:pt idx="439" formatCode="[$-10409]#\ ##0;\(#\ ##0\)">
                  <c:v>9.9502487560000005E-3</c:v>
                </c:pt>
                <c:pt idx="440" formatCode="[$-10409]#\ ##0;\(#\ ##0\)">
                  <c:v>1.5325670498E-2</c:v>
                </c:pt>
                <c:pt idx="441" formatCode="[$-10409]#\ ##0;\(#\ ##0\)">
                  <c:v>1.3852813852E-2</c:v>
                </c:pt>
                <c:pt idx="442" formatCode="[$-10409]#\ ##0;\(#\ ##0\)">
                  <c:v>1.3911620293999999E-2</c:v>
                </c:pt>
                <c:pt idx="443" formatCode="[$-10409]#\ ##0;\(#\ ##0\)">
                  <c:v>1.7610062893E-2</c:v>
                </c:pt>
                <c:pt idx="444" formatCode="[$-10409]#\ ##0;\(#\ ##0\)">
                  <c:v>2.2792022791999999E-2</c:v>
                </c:pt>
                <c:pt idx="445" formatCode="[$-10409]#\ ##0;\(#\ ##0\)">
                  <c:v>1.8895348837E-2</c:v>
                </c:pt>
                <c:pt idx="446" formatCode="[$-10409]#\ ##0;\(#\ ##0\)">
                  <c:v>1.4662756597999999E-2</c:v>
                </c:pt>
                <c:pt idx="447" formatCode="[$-10409]#\ ##0;\(#\ ##0\)">
                  <c:v>0.01</c:v>
                </c:pt>
                <c:pt idx="448" formatCode="[$-10409]#\ ##0;\(#\ ##0\)">
                  <c:v>1.2658227847999999E-2</c:v>
                </c:pt>
                <c:pt idx="449" formatCode="[$-10409]#\ ##0;\(#\ ##0\)">
                  <c:v>1.6272189348999998E-2</c:v>
                </c:pt>
                <c:pt idx="450" formatCode="[$-10409]#\ ##0;\(#\ ##0\)">
                  <c:v>1.2750455373E-2</c:v>
                </c:pt>
                <c:pt idx="451" formatCode="[$-10409]#\ ##0;\(#\ ##0\)">
                  <c:v>1.3513513513E-2</c:v>
                </c:pt>
                <c:pt idx="452" formatCode="[$-10409]#\ ##0;\(#\ ##0\)">
                  <c:v>1.7204301075000001E-2</c:v>
                </c:pt>
                <c:pt idx="453" formatCode="[$-10409]#\ ##0;\(#\ ##0\)">
                  <c:v>1.3333333333E-2</c:v>
                </c:pt>
                <c:pt idx="454" formatCode="[$-10409]#\ ##0;\(#\ ##0\)">
                  <c:v>1.7391304347000001E-2</c:v>
                </c:pt>
                <c:pt idx="455" formatCode="[$-10409]#\ ##0;\(#\ ##0\)">
                  <c:v>1.3333333333E-2</c:v>
                </c:pt>
                <c:pt idx="456" formatCode="[$-10409]#\ ##0;\(#\ ##0\)">
                  <c:v>1.4344262295E-2</c:v>
                </c:pt>
                <c:pt idx="457" formatCode="[$-10409]#\ ##0;\(#\ ##0\)">
                  <c:v>1.9337016573999999E-2</c:v>
                </c:pt>
                <c:pt idx="458" formatCode="[$-10409]#\ ##0;\(#\ ##0\)">
                  <c:v>1.8264840181999999E-2</c:v>
                </c:pt>
                <c:pt idx="459" formatCode="[$-10409]#\ ##0;\(#\ ##0\)">
                  <c:v>6.1162079510000003E-3</c:v>
                </c:pt>
                <c:pt idx="460" formatCode="[$-10409]#\ ##0;\(#\ ##0\)">
                  <c:v>1.2903225806E-2</c:v>
                </c:pt>
                <c:pt idx="461" formatCode="[$-10409]#\ ##0;\(#\ ##0\)">
                  <c:v>0</c:v>
                </c:pt>
                <c:pt idx="462" formatCode="[$-10409]#\ ##0;\(#\ ##0\)">
                  <c:v>1.9736842104999999E-2</c:v>
                </c:pt>
                <c:pt idx="463" formatCode="[$-10409]#\ ##0;\(#\ ##0\)">
                  <c:v>1.0256410256E-2</c:v>
                </c:pt>
                <c:pt idx="464" formatCode="[$-10409]#\ ##0;\(#\ ##0\)">
                  <c:v>2.2988505746999999E-2</c:v>
                </c:pt>
                <c:pt idx="465" formatCode="[$-10409]#\ ##0;\(#\ ##0\)">
                  <c:v>3.0456852791000001E-2</c:v>
                </c:pt>
                <c:pt idx="466" formatCode="[$-10409]#\ ##0;\(#\ ##0\)">
                  <c:v>1.6393442622000001E-2</c:v>
                </c:pt>
                <c:pt idx="467" formatCode="[$-10409]#\ ##0;\(#\ ##0\)">
                  <c:v>3.7499999999999999E-2</c:v>
                </c:pt>
                <c:pt idx="468" formatCode="[$-10409]#\ ##0;\(#\ ##0\)">
                  <c:v>2.3255813952999999E-2</c:v>
                </c:pt>
                <c:pt idx="469" formatCode="[$-10409]#\ ##0;\(#\ ##0\)">
                  <c:v>1.1173184357E-2</c:v>
                </c:pt>
                <c:pt idx="470" formatCode="[$-10409]#\ ##0;\(#\ ##0\)">
                  <c:v>2.3255813952999999E-2</c:v>
                </c:pt>
                <c:pt idx="471" formatCode="[$-10409]#\ ##0;\(#\ ##0\)">
                  <c:v>4.4117647057999997E-2</c:v>
                </c:pt>
                <c:pt idx="472" formatCode="[$-10409]#\ ##0;\(#\ ##0\)">
                  <c:v>1.8404907974999999E-2</c:v>
                </c:pt>
                <c:pt idx="473" formatCode="[$-10409]#\ ##0;\(#\ ##0\)">
                  <c:v>2.0270270270000001E-2</c:v>
                </c:pt>
                <c:pt idx="474" formatCode="[$-10409]#\ ##0;\(#\ ##0\)">
                  <c:v>1.5625E-2</c:v>
                </c:pt>
                <c:pt idx="475" formatCode="[$-10409]#\ ##0;\(#\ ##0\)">
                  <c:v>1.6949152541999999E-2</c:v>
                </c:pt>
                <c:pt idx="476" formatCode="[$-10409]#\ ##0;\(#\ ##0\)">
                  <c:v>2.4390243902000001E-2</c:v>
                </c:pt>
                <c:pt idx="477" formatCode="[$-10409]#\ ##0;\(#\ ##0\)">
                  <c:v>8.7719298239999997E-3</c:v>
                </c:pt>
                <c:pt idx="478" formatCode="[$-10409]#\ ##0;\(#\ ##0\)">
                  <c:v>4.3859649122000001E-2</c:v>
                </c:pt>
                <c:pt idx="479" formatCode="[$-10409]#\ ##0;\(#\ ##0\)">
                  <c:v>3.9215686274000003E-2</c:v>
                </c:pt>
                <c:pt idx="480" formatCode="[$-10409]#\ ##0;\(#\ ##0\)">
                  <c:v>7.5187969919999998E-3</c:v>
                </c:pt>
                <c:pt idx="481" formatCode="[$-10409]#\ ##0;\(#\ ##0\)">
                  <c:v>1.4492753622999999E-2</c:v>
                </c:pt>
                <c:pt idx="482" formatCode="[$-10409]#\ ##0;\(#\ ##0\)">
                  <c:v>0</c:v>
                </c:pt>
                <c:pt idx="483" formatCode="[$-10409]#\ ##0;\(#\ ##0\)">
                  <c:v>3.1847133756999997E-2</c:v>
                </c:pt>
                <c:pt idx="484" formatCode="[$-10409]#\ ##0;\(#\ ##0\)">
                  <c:v>2.4691358024E-2</c:v>
                </c:pt>
                <c:pt idx="485" formatCode="[$-10409]#\ ##0;\(#\ ##0\)">
                  <c:v>4.8275862067999997E-2</c:v>
                </c:pt>
                <c:pt idx="486" formatCode="[$-10409]#\ ##0;\(#\ ##0\)">
                  <c:v>4.0229885057000002E-2</c:v>
                </c:pt>
                <c:pt idx="487" formatCode="[$-10409]#\ ##0;\(#\ ##0\)">
                  <c:v>6.1797752807999998E-2</c:v>
                </c:pt>
                <c:pt idx="488" formatCode="[$-10409]#\ ##0;\(#\ ##0\)">
                  <c:v>2.3255813952999999E-2</c:v>
                </c:pt>
                <c:pt idx="489" formatCode="[$-10409]#\ ##0;\(#\ ##0\)">
                  <c:v>2.6785714285000001E-2</c:v>
                </c:pt>
                <c:pt idx="490" formatCode="[$-10409]#\ ##0;\(#\ ##0\)">
                  <c:v>3.7037037037000002E-2</c:v>
                </c:pt>
                <c:pt idx="491" formatCode="[$-10409]#\ ##0;\(#\ ##0\)">
                  <c:v>1.7857142857000002E-2</c:v>
                </c:pt>
                <c:pt idx="492" formatCode="[$-10409]#\ ##0;\(#\ ##0\)">
                  <c:v>1.7482517481999998E-2</c:v>
                </c:pt>
                <c:pt idx="493" formatCode="[$-10409]#\ ##0;\(#\ ##0\)">
                  <c:v>4.1825095057000002E-2</c:v>
                </c:pt>
                <c:pt idx="494" formatCode="[$-10409]#\ ##0;\(#\ ##0\)">
                  <c:v>2.7303754265999999E-2</c:v>
                </c:pt>
                <c:pt idx="495" formatCode="[$-10409]#\ ##0;\(#\ ##0\)">
                  <c:v>5.9880239520000003E-2</c:v>
                </c:pt>
                <c:pt idx="496" formatCode="[$-10409]#\ ##0;\(#\ ##0\)">
                  <c:v>3.2679738562000002E-2</c:v>
                </c:pt>
                <c:pt idx="497" formatCode="[$-10409]#\ ##0;\(#\ ##0\)">
                  <c:v>2.7888446215000001E-2</c:v>
                </c:pt>
                <c:pt idx="498" formatCode="[$-10409]#\ ##0;\(#\ ##0\)">
                  <c:v>2.4242424241999998E-2</c:v>
                </c:pt>
                <c:pt idx="499" formatCode="[$-10409]#\ ##0;\(#\ ##0\)">
                  <c:v>4.3795620436999999E-2</c:v>
                </c:pt>
                <c:pt idx="500" formatCode="[$-10409]#\ ##0;\(#\ ##0\)">
                  <c:v>3.813559322E-2</c:v>
                </c:pt>
                <c:pt idx="501" formatCode="[$-10409]#\ ##0;\(#\ ##0\)">
                  <c:v>3.5714285714000003E-2</c:v>
                </c:pt>
                <c:pt idx="502" formatCode="[$-10409]#\ ##0;\(#\ ##0\)">
                  <c:v>1.9900497512000001E-2</c:v>
                </c:pt>
                <c:pt idx="503" formatCode="[$-10409]#\ ##0;\(#\ ##0\)">
                  <c:v>2.5210084032999999E-2</c:v>
                </c:pt>
                <c:pt idx="504" formatCode="[$-10409]#\ ##0;\(#\ ##0\)">
                  <c:v>1.7857142857000002E-2</c:v>
                </c:pt>
                <c:pt idx="505" formatCode="[$-10409]#\ ##0;\(#\ ##0\)">
                  <c:v>4.1533546324999997E-2</c:v>
                </c:pt>
                <c:pt idx="506" formatCode="[$-10409]#\ ##0;\(#\ ##0\)">
                  <c:v>4.1152263373999999E-2</c:v>
                </c:pt>
                <c:pt idx="507" formatCode="[$-10409]#\ ##0;\(#\ ##0\)">
                  <c:v>3.3175355449999999E-2</c:v>
                </c:pt>
                <c:pt idx="508" formatCode="[$-10409]#\ ##0;\(#\ ##0\)">
                  <c:v>4.5454545454000003E-2</c:v>
                </c:pt>
                <c:pt idx="509" formatCode="[$-10409]#\ ##0;\(#\ ##0\)">
                  <c:v>5.2631578946999998E-2</c:v>
                </c:pt>
                <c:pt idx="510" formatCode="[$-10409]#\ ##0;\(#\ ##0\)">
                  <c:v>2.4096385541999998E-2</c:v>
                </c:pt>
                <c:pt idx="511" formatCode="[$-10409]#\ ##0;\(#\ ##0\)">
                  <c:v>3.4146341463000003E-2</c:v>
                </c:pt>
                <c:pt idx="512" formatCode="[$-10409]#\ ##0;\(#\ ##0\)">
                  <c:v>2.6615969581000001E-2</c:v>
                </c:pt>
                <c:pt idx="513" formatCode="[$-10409]#\ ##0;\(#\ ##0\)">
                  <c:v>1.9704433497000001E-2</c:v>
                </c:pt>
                <c:pt idx="514" formatCode="[$-10409]#\ ##0;\(#\ ##0\)">
                  <c:v>5.0458715596000001E-2</c:v>
                </c:pt>
                <c:pt idx="515" formatCode="[$-10409]#\ ##0;\(#\ ##0\)">
                  <c:v>7.3333333333000003E-2</c:v>
                </c:pt>
                <c:pt idx="516" formatCode="[$-10409]#\ ##0;\(#\ ##0\)">
                  <c:v>0</c:v>
                </c:pt>
                <c:pt idx="517" formatCode="[$-10409]#\ ##0;\(#\ ##0\)">
                  <c:v>0</c:v>
                </c:pt>
                <c:pt idx="518" formatCode="[$-10409]#\ ##0;\(#\ ##0\)">
                  <c:v>3.7735849055999998E-2</c:v>
                </c:pt>
                <c:pt idx="519" formatCode="[$-10409]#\ ##0;\(#\ ##0\)">
                  <c:v>2.8340080970999999E-2</c:v>
                </c:pt>
                <c:pt idx="520" formatCode="[$-10409]#\ ##0;\(#\ ##0\)">
                  <c:v>1.4150943395999999E-2</c:v>
                </c:pt>
                <c:pt idx="521" formatCode="[$-10409]#\ ##0;\(#\ ##0\)">
                  <c:v>2.9585798816E-2</c:v>
                </c:pt>
                <c:pt idx="522" formatCode="[$-10409]#\ ##0;\(#\ ##0\)">
                  <c:v>3.2786885245000001E-2</c:v>
                </c:pt>
                <c:pt idx="523" formatCode="[$-10409]#\ ##0;\(#\ ##0\)">
                  <c:v>3.1446540879999998E-2</c:v>
                </c:pt>
                <c:pt idx="524" formatCode="[$-10409]#\ ##0;\(#\ ##0\)">
                  <c:v>9.2592592590000009E-3</c:v>
                </c:pt>
                <c:pt idx="525" formatCode="[$-10409]#\ ##0;\(#\ ##0\)">
                  <c:v>2.7932960893E-2</c:v>
                </c:pt>
                <c:pt idx="526" formatCode="[$-10409]#\ ##0;\(#\ ##0\)">
                  <c:v>2.2556390977000001E-2</c:v>
                </c:pt>
                <c:pt idx="527" formatCode="[$-10409]#\ ##0;\(#\ ##0\)">
                  <c:v>2.6666666666E-2</c:v>
                </c:pt>
                <c:pt idx="528" formatCode="[$-10409]#\ ##0;\(#\ ##0\)">
                  <c:v>2.5641025641000001E-2</c:v>
                </c:pt>
                <c:pt idx="529" formatCode="[$-10409]#\ ##0;\(#\ ##0\)">
                  <c:v>3.4782608695000002E-2</c:v>
                </c:pt>
                <c:pt idx="530" formatCode="[$-10409]#\ ##0;\(#\ ##0\)">
                  <c:v>6.9930069930000003E-3</c:v>
                </c:pt>
                <c:pt idx="531" formatCode="[$-10409]#\ ##0;\(#\ ##0\)">
                  <c:v>0</c:v>
                </c:pt>
                <c:pt idx="532" formatCode="[$-10409]#\ ##0;\(#\ ##0\)">
                  <c:v>4.4444444444000003E-2</c:v>
                </c:pt>
                <c:pt idx="533" formatCode="[$-10409]#\ ##0;\(#\ ##0\)">
                  <c:v>2.5974025974E-2</c:v>
                </c:pt>
                <c:pt idx="534" formatCode="[$-10409]#\ ##0;\(#\ ##0\)">
                  <c:v>3.7037037037000002E-2</c:v>
                </c:pt>
                <c:pt idx="535" formatCode="[$-10409]#\ ##0;\(#\ ##0\)">
                  <c:v>2.3529411763999999E-2</c:v>
                </c:pt>
                <c:pt idx="536" formatCode="[$-10409]#\ ##0;\(#\ ##0\)">
                  <c:v>3.9325842696E-2</c:v>
                </c:pt>
                <c:pt idx="537" formatCode="[$-10409]#\ ##0;\(#\ ##0\)">
                  <c:v>3.5714285714000003E-2</c:v>
                </c:pt>
                <c:pt idx="538" formatCode="[$-10409]#\ ##0;\(#\ ##0\)">
                  <c:v>5.3097345131999998E-2</c:v>
                </c:pt>
                <c:pt idx="539" formatCode="[$-10409]#\ ##0;\(#\ ##0\)">
                  <c:v>2.2935779816E-2</c:v>
                </c:pt>
                <c:pt idx="540" formatCode="[$-10409]#\ ##0;\(#\ ##0\)">
                  <c:v>2.34375E-2</c:v>
                </c:pt>
                <c:pt idx="541" formatCode="[$-10409]#\ ##0;\(#\ ##0\)">
                  <c:v>1.9841269841E-2</c:v>
                </c:pt>
                <c:pt idx="542" formatCode="[$-10409]#\ ##0;\(#\ ##0\)">
                  <c:v>1.8433179723000001E-2</c:v>
                </c:pt>
                <c:pt idx="543" formatCode="[$-10409]#\ ##0;\(#\ ##0\)">
                  <c:v>2.6595744679999998E-2</c:v>
                </c:pt>
                <c:pt idx="544" formatCode="[$-10409]#\ ##0;\(#\ ##0\)">
                  <c:v>3.6231884057000001E-2</c:v>
                </c:pt>
                <c:pt idx="545" formatCode="[$-10409]#\ ##0;\(#\ ##0\)">
                  <c:v>1.2195121951000001E-2</c:v>
                </c:pt>
                <c:pt idx="546" formatCode="[$-10409]#\ ##0;\(#\ ##0\)">
                  <c:v>1.2295081967E-2</c:v>
                </c:pt>
                <c:pt idx="547" formatCode="[$-10409]#\ ##0;\(#\ ##0\)">
                  <c:v>1.6891891890999999E-2</c:v>
                </c:pt>
                <c:pt idx="548" formatCode="[$-10409]#\ ##0;\(#\ ##0\)">
                  <c:v>1.1320754715999999E-2</c:v>
                </c:pt>
                <c:pt idx="549" formatCode="[$-10409]#\ ##0;\(#\ ##0\)">
                  <c:v>2.5477707006000001E-2</c:v>
                </c:pt>
                <c:pt idx="550" formatCode="[$-10409]#\ ##0;\(#\ ##0\)">
                  <c:v>3.7383177570000002E-2</c:v>
                </c:pt>
                <c:pt idx="551" formatCode="[$-10409]#\ ##0;\(#\ ##0\)">
                  <c:v>1.8957345971E-2</c:v>
                </c:pt>
                <c:pt idx="552" formatCode="[$-10409]#\ ##0;\(#\ ##0\)">
                  <c:v>2.0833333333000002E-2</c:v>
                </c:pt>
                <c:pt idx="553" formatCode="[$-10409]#\ ##0;\(#\ ##0\)">
                  <c:v>1.9950124688E-2</c:v>
                </c:pt>
                <c:pt idx="554" formatCode="[$-10409]#\ ##0;\(#\ ##0\)">
                  <c:v>1.3536379018E-2</c:v>
                </c:pt>
                <c:pt idx="555" formatCode="[$-10409]#\ ##0;\(#\ ##0\)">
                  <c:v>2.7989821881999999E-2</c:v>
                </c:pt>
                <c:pt idx="556" formatCode="[$-10409]#\ ##0;\(#\ ##0\)">
                  <c:v>2.5522041762999999E-2</c:v>
                </c:pt>
                <c:pt idx="557" formatCode="[$-10409]#\ ##0;\(#\ ##0\)">
                  <c:v>1.9867549668000001E-2</c:v>
                </c:pt>
                <c:pt idx="558" formatCode="[$-10409]#\ ##0;\(#\ ##0\)">
                  <c:v>1.1857707509E-2</c:v>
                </c:pt>
                <c:pt idx="559" formatCode="[$-10409]#\ ##0;\(#\ ##0\)">
                  <c:v>3.5460992907E-2</c:v>
                </c:pt>
                <c:pt idx="560" formatCode="[$-10409]#\ ##0;\(#\ ##0\)">
                  <c:v>2.5641025641000001E-2</c:v>
                </c:pt>
                <c:pt idx="561" formatCode="[$-10409]#\ ##0;\(#\ ##0\)">
                  <c:v>2.1089630931000001E-2</c:v>
                </c:pt>
                <c:pt idx="562" formatCode="[$-10409]#\ ##0;\(#\ ##0\)">
                  <c:v>9.4696969689999997E-3</c:v>
                </c:pt>
                <c:pt idx="563" formatCode="[$-10409]#\ ##0;\(#\ ##0\)">
                  <c:v>3.4364261168000003E-2</c:v>
                </c:pt>
                <c:pt idx="564" formatCode="[$-10409]#\ ##0;\(#\ ##0\)">
                  <c:v>2.2026431717999999E-2</c:v>
                </c:pt>
                <c:pt idx="565" formatCode="[$-10409]#\ ##0;\(#\ ##0\)">
                  <c:v>2.2653721682E-2</c:v>
                </c:pt>
                <c:pt idx="566" formatCode="[$-10409]#\ ##0;\(#\ ##0\)">
                  <c:v>2.0833333333000002E-2</c:v>
                </c:pt>
                <c:pt idx="567" formatCode="[$-10409]#\ ##0;\(#\ ##0\)">
                  <c:v>2.6315789472999999E-2</c:v>
                </c:pt>
                <c:pt idx="568" formatCode="[$-10409]#\ ##0;\(#\ ##0\)">
                  <c:v>2.2950819672000002E-2</c:v>
                </c:pt>
                <c:pt idx="569" formatCode="[$-10409]#\ ##0;\(#\ ##0\)">
                  <c:v>3.1481481481000002E-2</c:v>
                </c:pt>
                <c:pt idx="570" formatCode="[$-10409]#\ ##0;\(#\ ##0\)">
                  <c:v>2.8112449798999999E-2</c:v>
                </c:pt>
                <c:pt idx="571" formatCode="[$-10409]#\ ##0;\(#\ ##0\)">
                  <c:v>2.9795158286E-2</c:v>
                </c:pt>
                <c:pt idx="572" formatCode="[$-10409]#\ ##0;\(#\ ##0\)">
                  <c:v>2.8037383177000001E-2</c:v>
                </c:pt>
                <c:pt idx="573" formatCode="[$-10409]#\ ##0;\(#\ ##0\)">
                  <c:v>7.9365079360000004E-3</c:v>
                </c:pt>
                <c:pt idx="574" formatCode="[$-10409]#\ ##0;\(#\ ##0\)">
                  <c:v>8.7976539579999995E-3</c:v>
                </c:pt>
                <c:pt idx="575" formatCode="[$-10409]#\ ##0;\(#\ ##0\)">
                  <c:v>1.4553014552999999E-2</c:v>
                </c:pt>
                <c:pt idx="576" formatCode="[$-10409]#\ ##0;\(#\ ##0\)">
                  <c:v>2.0026702269E-2</c:v>
                </c:pt>
                <c:pt idx="577" formatCode="[$-10409]#\ ##0;\(#\ ##0\)">
                  <c:v>1.3903743315E-2</c:v>
                </c:pt>
                <c:pt idx="578" formatCode="[$-10409]#\ ##0;\(#\ ##0\)">
                  <c:v>2.1251475796000001E-2</c:v>
                </c:pt>
                <c:pt idx="579" formatCode="[$-10409]#\ ##0;\(#\ ##0\)">
                  <c:v>1.9538188277000001E-2</c:v>
                </c:pt>
                <c:pt idx="580" formatCode="[$-10409]#\ ##0;\(#\ ##0\)">
                  <c:v>3.1347962379999999E-3</c:v>
                </c:pt>
                <c:pt idx="581" formatCode="[$-10409]#\ ##0;\(#\ ##0\)">
                  <c:v>2.2864019252999999E-2</c:v>
                </c:pt>
                <c:pt idx="582" formatCode="[$-10409]#\ ##0;\(#\ ##0\)">
                  <c:v>1.2356575462999999E-2</c:v>
                </c:pt>
                <c:pt idx="583" formatCode="[$-10409]#\ ##0;\(#\ ##0\)">
                  <c:v>1.5962441314E-2</c:v>
                </c:pt>
                <c:pt idx="584" formatCode="[$-10409]#\ ##0;\(#\ ##0\)">
                  <c:v>2.3622047244000001E-2</c:v>
                </c:pt>
                <c:pt idx="585" formatCode="[$-10409]#\ ##0;\(#\ ##0\)">
                  <c:v>1.8322082930999999E-2</c:v>
                </c:pt>
                <c:pt idx="586" formatCode="[$-10409]#\ ##0;\(#\ ##0\)">
                  <c:v>1.1851851851E-2</c:v>
                </c:pt>
                <c:pt idx="587" formatCode="[$-10409]#\ ##0;\(#\ ##0\)">
                  <c:v>2.3255813952999999E-2</c:v>
                </c:pt>
                <c:pt idx="588" formatCode="[$-10409]#\ ##0;\(#\ ##0\)">
                  <c:v>1.6825164593999999E-2</c:v>
                </c:pt>
                <c:pt idx="589" formatCode="[$-10409]#\ ##0;\(#\ ##0\)">
                  <c:v>2.4595469254999999E-2</c:v>
                </c:pt>
                <c:pt idx="590" formatCode="[$-10409]#\ ##0;\(#\ ##0\)">
                  <c:v>1.5748031496000001E-2</c:v>
                </c:pt>
                <c:pt idx="591" formatCode="[$-10409]#\ ##0;\(#\ ##0\)">
                  <c:v>2.1601016518000001E-2</c:v>
                </c:pt>
                <c:pt idx="592" formatCode="[$-10409]#\ ##0;\(#\ ##0\)">
                  <c:v>2.3574561402999999E-2</c:v>
                </c:pt>
                <c:pt idx="593" formatCode="[$-10409]#\ ##0;\(#\ ##0\)">
                  <c:v>2.8523489932000001E-2</c:v>
                </c:pt>
                <c:pt idx="594" formatCode="[$-10409]#\ ##0;\(#\ ##0\)">
                  <c:v>1.7283950616999999E-2</c:v>
                </c:pt>
                <c:pt idx="595" formatCode="[$-10409]#\ ##0;\(#\ ##0\)">
                  <c:v>1.9319938176000001E-2</c:v>
                </c:pt>
                <c:pt idx="596" formatCode="[$-10409]#\ ##0;\(#\ ##0\)">
                  <c:v>1.8132366273000002E-2</c:v>
                </c:pt>
                <c:pt idx="597" formatCode="[$-10409]#\ ##0;\(#\ ##0\)">
                  <c:v>2.3823704586E-2</c:v>
                </c:pt>
                <c:pt idx="598" formatCode="[$-10409]#\ ##0;\(#\ ##0\)">
                  <c:v>2.5407863063999999E-2</c:v>
                </c:pt>
                <c:pt idx="599" formatCode="[$-10409]#\ ##0;\(#\ ##0\)">
                  <c:v>2.5747126435999999E-2</c:v>
                </c:pt>
                <c:pt idx="600" formatCode="[$-10409]#\ ##0;\(#\ ##0\)">
                  <c:v>1.8867924527999999E-2</c:v>
                </c:pt>
                <c:pt idx="601" formatCode="[$-10409]#\ ##0;\(#\ ##0\)">
                  <c:v>1.8676627534000002E-2</c:v>
                </c:pt>
                <c:pt idx="602" formatCode="[$-10409]#\ ##0;\(#\ ##0\)">
                  <c:v>2.0114285714000001E-2</c:v>
                </c:pt>
                <c:pt idx="603" formatCode="[$-10409]#\ ##0;\(#\ ##0\)">
                  <c:v>2.5561580170000001E-2</c:v>
                </c:pt>
                <c:pt idx="604" formatCode="[$-10409]#\ ##0;\(#\ ##0\)">
                  <c:v>1.8081366147E-2</c:v>
                </c:pt>
                <c:pt idx="605" formatCode="[$-10409]#\ ##0;\(#\ ##0\)">
                  <c:v>2.3094170402999999E-2</c:v>
                </c:pt>
                <c:pt idx="606" formatCode="[$-10409]#\ ##0;\(#\ ##0\)">
                  <c:v>2.1251275076000001E-2</c:v>
                </c:pt>
                <c:pt idx="607" formatCode="[$-10409]#\ ##0;\(#\ ##0\)">
                  <c:v>2.4489008869999999E-2</c:v>
                </c:pt>
                <c:pt idx="608" formatCode="[$-10409]#\ ##0;\(#\ ##0\)">
                  <c:v>2.2408963585E-2</c:v>
                </c:pt>
                <c:pt idx="609" formatCode="[$-10409]#\ ##0;\(#\ ##0\)">
                  <c:v>2.7085728887000001E-2</c:v>
                </c:pt>
                <c:pt idx="610" formatCode="[$-10409]#\ ##0;\(#\ ##0\)">
                  <c:v>1.0846850432E-2</c:v>
                </c:pt>
                <c:pt idx="611" formatCode="[$-10409]#\ ##0;\(#\ ##0\)">
                  <c:v>2.2572665429000001E-2</c:v>
                </c:pt>
                <c:pt idx="612" formatCode="[$-10409]#\ ##0;\(#\ ##0\)">
                  <c:v>3.3128415299999998E-2</c:v>
                </c:pt>
                <c:pt idx="613" formatCode="[$-10409]#\ ##0;\(#\ ##0\)">
                  <c:v>2.2909628378000001E-2</c:v>
                </c:pt>
                <c:pt idx="614" formatCode="[$-10409]#\ ##0;\(#\ ##0\)">
                  <c:v>2.0964717912999999E-2</c:v>
                </c:pt>
                <c:pt idx="615" formatCode="[$-10409]#\ ##0;\(#\ ##0\)">
                  <c:v>2.8082633956999999E-2</c:v>
                </c:pt>
                <c:pt idx="616" formatCode="[$-10409]#\ ##0;\(#\ ##0\)">
                  <c:v>2.2112245972E-2</c:v>
                </c:pt>
                <c:pt idx="617" formatCode="[$-10409]#\ ##0;\(#\ ##0\)">
                  <c:v>1.9762048800000001E-2</c:v>
                </c:pt>
                <c:pt idx="618" formatCode="[$-10409]#\ ##0;\(#\ ##0\)">
                  <c:v>2.4025320097000001E-2</c:v>
                </c:pt>
                <c:pt idx="619" formatCode="[$-10409]#\ ##0;\(#\ ##0\)">
                  <c:v>2.0983606557E-2</c:v>
                </c:pt>
                <c:pt idx="620" formatCode="[$-10409]#\ ##0;\(#\ ##0\)">
                  <c:v>2.6755852842000001E-2</c:v>
                </c:pt>
                <c:pt idx="621" formatCode="[$-10409]#\ ##0;\(#\ ##0\)">
                  <c:v>2.4130966300999999E-2</c:v>
                </c:pt>
                <c:pt idx="622" formatCode="[$-10409]#\ ##0;\(#\ ##0\)">
                  <c:v>1.9621342512000001E-2</c:v>
                </c:pt>
                <c:pt idx="623" formatCode="[$-10409]#\ ##0;\(#\ ##0\)">
                  <c:v>2.2406358332000002E-2</c:v>
                </c:pt>
                <c:pt idx="624" formatCode="[$-10409]#\ ##0;\(#\ ##0\)">
                  <c:v>2.4711126497999999E-2</c:v>
                </c:pt>
                <c:pt idx="625" formatCode="[$-10409]#\ ##0;\(#\ ##0\)">
                  <c:v>2.4410369248999999E-2</c:v>
                </c:pt>
                <c:pt idx="626" formatCode="[$-10409]#\ ##0;\(#\ ##0\)">
                  <c:v>2.3838763273E-2</c:v>
                </c:pt>
                <c:pt idx="627" formatCode="[$-10409]#\ ##0;\(#\ ##0\)">
                  <c:v>2.7560221836000001E-2</c:v>
                </c:pt>
                <c:pt idx="628" formatCode="[$-10409]#\ ##0;\(#\ ##0\)">
                  <c:v>2.2381985892000002E-2</c:v>
                </c:pt>
                <c:pt idx="629" formatCode="[$-10409]#\ ##0;\(#\ ##0\)">
                  <c:v>2.4053767244000001E-2</c:v>
                </c:pt>
                <c:pt idx="630" formatCode="[$-10409]#\ ##0;\(#\ ##0\)">
                  <c:v>2.3216689097999999E-2</c:v>
                </c:pt>
                <c:pt idx="631" formatCode="[$-10409]#\ ##0;\(#\ ##0\)">
                  <c:v>2.5242645399000001E-2</c:v>
                </c:pt>
                <c:pt idx="632" formatCode="[$-10409]#\ ##0;\(#\ ##0\)">
                  <c:v>2.2588158821000001E-2</c:v>
                </c:pt>
                <c:pt idx="633" formatCode="[$-10409]#\ ##0;\(#\ ##0\)">
                  <c:v>2.2121880359E-2</c:v>
                </c:pt>
                <c:pt idx="634" formatCode="[$-10409]#\ ##0;\(#\ ##0\)">
                  <c:v>3.2061938916000003E-2</c:v>
                </c:pt>
                <c:pt idx="635" formatCode="[$-10409]#\ ##0;\(#\ ##0\)">
                  <c:v>2.5285925463999999E-2</c:v>
                </c:pt>
                <c:pt idx="636" formatCode="[$-10409]#\ ##0;\(#\ ##0\)">
                  <c:v>2.0320067381999998E-2</c:v>
                </c:pt>
                <c:pt idx="637" formatCode="[$-10409]#\ ##0;\(#\ ##0\)">
                  <c:v>2.5828217465000001E-2</c:v>
                </c:pt>
                <c:pt idx="638" formatCode="[$-10409]#\ ##0;\(#\ ##0\)">
                  <c:v>2.4195692634E-2</c:v>
                </c:pt>
                <c:pt idx="639" formatCode="[$-10409]#\ ##0;\(#\ ##0\)">
                  <c:v>2.3497368663999998E-2</c:v>
                </c:pt>
                <c:pt idx="640" formatCode="[$-10409]#\ ##0;\(#\ ##0\)">
                  <c:v>2.6051475203999998E-2</c:v>
                </c:pt>
                <c:pt idx="641" formatCode="[$-10409]#\ ##0;\(#\ ##0\)">
                  <c:v>2.4277201500000001E-2</c:v>
                </c:pt>
                <c:pt idx="642" formatCode="[$-10409]#\ ##0;\(#\ ##0\)">
                  <c:v>2.5813891599000001E-2</c:v>
                </c:pt>
                <c:pt idx="643" formatCode="[$-10409]#\ ##0;\(#\ ##0\)">
                  <c:v>1.9656399937999999E-2</c:v>
                </c:pt>
                <c:pt idx="644" formatCode="[$-10409]#\ ##0;\(#\ ##0\)">
                  <c:v>2.5409938664999999E-2</c:v>
                </c:pt>
                <c:pt idx="645" formatCode="[$-10409]#\ ##0;\(#\ ##0\)">
                  <c:v>2.5450371775000001E-2</c:v>
                </c:pt>
                <c:pt idx="646" formatCode="[$-10409]#\ ##0;\(#\ ##0\)">
                  <c:v>2.7606073336E-2</c:v>
                </c:pt>
                <c:pt idx="647" formatCode="[$-10409]#\ ##0;\(#\ ##0\)">
                  <c:v>2.6015705018000001E-2</c:v>
                </c:pt>
                <c:pt idx="648" formatCode="[$-10409]#\ ##0;\(#\ ##0\)">
                  <c:v>2.4161813316000001E-2</c:v>
                </c:pt>
                <c:pt idx="649" formatCode="[$-10409]#\ ##0;\(#\ ##0\)">
                  <c:v>2.5737265414999998E-2</c:v>
                </c:pt>
                <c:pt idx="650" formatCode="[$-10409]#\ ##0;\(#\ ##0\)">
                  <c:v>2.4592102150999998E-2</c:v>
                </c:pt>
                <c:pt idx="651" formatCode="[$-10409]#\ ##0;\(#\ ##0\)">
                  <c:v>2.4504179641999999E-2</c:v>
                </c:pt>
                <c:pt idx="652" formatCode="[$-10409]#\ ##0;\(#\ ##0\)">
                  <c:v>2.6005830902999998E-2</c:v>
                </c:pt>
                <c:pt idx="653" formatCode="[$-10409]#\ ##0;\(#\ ##0\)">
                  <c:v>3.0057610419E-2</c:v>
                </c:pt>
                <c:pt idx="654" formatCode="[$-10409]#\ ##0;\(#\ ##0\)">
                  <c:v>2.6545044582999999E-2</c:v>
                </c:pt>
                <c:pt idx="655" formatCode="[$-10409]#\ ##0;\(#\ ##0\)">
                  <c:v>2.9774794282999999E-2</c:v>
                </c:pt>
                <c:pt idx="656" formatCode="[$-10409]#\ ##0;\(#\ ##0\)">
                  <c:v>2.6991869918000001E-2</c:v>
                </c:pt>
                <c:pt idx="657" formatCode="[$-10409]#\ ##0;\(#\ ##0\)">
                  <c:v>2.2976501305000001E-2</c:v>
                </c:pt>
                <c:pt idx="658" formatCode="[$-10409]#\ ##0;\(#\ ##0\)">
                  <c:v>2.3398455246999999E-2</c:v>
                </c:pt>
                <c:pt idx="659" formatCode="[$-10409]#\ ##0;\(#\ ##0\)">
                  <c:v>2.7273474081000001E-2</c:v>
                </c:pt>
                <c:pt idx="660" formatCode="[$-10409]#\ ##0;\(#\ ##0\)">
                  <c:v>2.9029408052000001E-2</c:v>
                </c:pt>
                <c:pt idx="661" formatCode="[$-10409]#\ ##0;\(#\ ##0\)">
                  <c:v>3.5644083344000002E-2</c:v>
                </c:pt>
                <c:pt idx="662" formatCode="[$-10409]#\ ##0;\(#\ ##0\)">
                  <c:v>4.394576905E-2</c:v>
                </c:pt>
                <c:pt idx="663" formatCode="[$-10409]#\ ##0;\(#\ ##0\)">
                  <c:v>3.2859680283999999E-2</c:v>
                </c:pt>
                <c:pt idx="664" formatCode="[$-10409]#\ ##0;\(#\ ##0\)">
                  <c:v>3.4515819750000003E-2</c:v>
                </c:pt>
                <c:pt idx="665" formatCode="[$-10409]#\ ##0;\(#\ ##0\)">
                  <c:v>2.9981615047000001E-2</c:v>
                </c:pt>
                <c:pt idx="666" formatCode="[$-10409]#\ ##0;\(#\ ##0\)">
                  <c:v>2.9295413236E-2</c:v>
                </c:pt>
                <c:pt idx="667" formatCode="[$-10409]#\ ##0;\(#\ ##0\)">
                  <c:v>3.6172878169999999E-2</c:v>
                </c:pt>
                <c:pt idx="668" formatCode="[$-10409]#\ ##0;\(#\ ##0\)">
                  <c:v>3.6336235766000001E-2</c:v>
                </c:pt>
                <c:pt idx="669" formatCode="[$-10409]#\ ##0;\(#\ ##0\)">
                  <c:v>4.3836140888000003E-2</c:v>
                </c:pt>
                <c:pt idx="670" formatCode="[$-10409]#\ ##0;\(#\ ##0\)">
                  <c:v>4.3859649122000001E-2</c:v>
                </c:pt>
                <c:pt idx="671" formatCode="[$-10409]#\ ##0;\(#\ ##0\)">
                  <c:v>6.3684978123000002E-2</c:v>
                </c:pt>
                <c:pt idx="672" formatCode="[$-10409]#\ ##0;\(#\ ##0\)">
                  <c:v>6.2142355184999998E-2</c:v>
                </c:pt>
                <c:pt idx="673" formatCode="[$-10409]#\ ##0;\(#\ ##0\)">
                  <c:v>6.4803750344000002E-2</c:v>
                </c:pt>
                <c:pt idx="674" formatCode="[$-10409]#\ ##0;\(#\ ##0\)">
                  <c:v>7.8756864701999996E-2</c:v>
                </c:pt>
                <c:pt idx="675" formatCode="[$-10409]#\ ##0;\(#\ ##0\)">
                  <c:v>8.6579490708000001E-2</c:v>
                </c:pt>
                <c:pt idx="676" formatCode="[$-10409]#\ ##0;\(#\ ##0\)">
                  <c:v>8.1691693070000002E-2</c:v>
                </c:pt>
                <c:pt idx="677" formatCode="[$-10409]#\ ##0;\(#\ ##0\)">
                  <c:v>7.6707857308999997E-2</c:v>
                </c:pt>
                <c:pt idx="678" formatCode="[$-10409]#\ ##0;\(#\ ##0\)">
                  <c:v>7.7488309953000004E-2</c:v>
                </c:pt>
                <c:pt idx="679" formatCode="[$-10409]#\ ##0;\(#\ ##0\)">
                  <c:v>8.7723658051000006E-2</c:v>
                </c:pt>
                <c:pt idx="680" formatCode="[$-10409]#\ ##0;\(#\ ##0\)">
                  <c:v>9.5819324659999996E-2</c:v>
                </c:pt>
                <c:pt idx="681" formatCode="[$-10409]#\ ##0;\(#\ ##0\)">
                  <c:v>0.10628170113099999</c:v>
                </c:pt>
                <c:pt idx="682" formatCode="[$-10409]#\ ##0;\(#\ ##0\)">
                  <c:v>0.109942857142</c:v>
                </c:pt>
                <c:pt idx="683" formatCode="[$-10409]#\ ##0;\(#\ ##0\)">
                  <c:v>0.110984058653</c:v>
                </c:pt>
                <c:pt idx="684" formatCode="[$-10409]#\ ##0;\(#\ ##0\)">
                  <c:v>0.11270296084</c:v>
                </c:pt>
                <c:pt idx="685">
                  <c:v>0.107112042401</c:v>
                </c:pt>
                <c:pt idx="686">
                  <c:v>9.0415994262000005E-2</c:v>
                </c:pt>
                <c:pt idx="687">
                  <c:v>0.115182595182</c:v>
                </c:pt>
              </c:numCache>
            </c:numRef>
          </c:val>
          <c:smooth val="0"/>
          <c:extLst>
            <c:ext xmlns:c16="http://schemas.microsoft.com/office/drawing/2014/chart" uri="{C3380CC4-5D6E-409C-BE32-E72D297353CC}">
              <c16:uniqueId val="{00000001-A2AA-4F52-BE7C-1E30AA74DE35}"/>
            </c:ext>
          </c:extLst>
        </c:ser>
        <c:dLbls>
          <c:showLegendKey val="0"/>
          <c:showVal val="0"/>
          <c:showCatName val="0"/>
          <c:showSerName val="0"/>
          <c:showPercent val="0"/>
          <c:showBubbleSize val="0"/>
        </c:dLbls>
        <c:marker val="1"/>
        <c:smooth val="0"/>
        <c:axId val="414862472"/>
        <c:axId val="414859336"/>
      </c:lineChart>
      <c:catAx>
        <c:axId val="414862472"/>
        <c:scaling>
          <c:orientation val="minMax"/>
          <c:min val="246"/>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414859336"/>
        <c:crosses val="autoZero"/>
        <c:auto val="1"/>
        <c:lblAlgn val="ctr"/>
        <c:lblOffset val="100"/>
        <c:noMultiLvlLbl val="1"/>
      </c:catAx>
      <c:valAx>
        <c:axId val="414859336"/>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48624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cs-CZ"/>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27928087982371"/>
          <c:y val="2.4852292975710399E-2"/>
          <c:w val="0.85679636904293355"/>
          <c:h val="0.81486627194877481"/>
        </c:manualLayout>
      </c:layout>
      <c:lineChart>
        <c:grouping val="standard"/>
        <c:varyColors val="0"/>
        <c:ser>
          <c:idx val="0"/>
          <c:order val="0"/>
          <c:tx>
            <c:strRef>
              <c:f>List1!$B$1</c:f>
              <c:strCache>
                <c:ptCount val="1"/>
                <c:pt idx="0">
                  <c:v>Bez očkování</c:v>
                </c:pt>
              </c:strCache>
            </c:strRef>
          </c:tx>
          <c:spPr>
            <a:ln w="28575" cap="rnd">
              <a:solidFill>
                <a:schemeClr val="bg1"/>
              </a:solidFill>
              <a:round/>
            </a:ln>
            <a:effectLst/>
          </c:spPr>
          <c:marker>
            <c:symbol val="none"/>
          </c:marker>
          <c:trendline>
            <c:spPr>
              <a:ln w="28575" cap="rnd" cmpd="sng">
                <a:solidFill>
                  <a:srgbClr val="C00000"/>
                </a:solidFill>
                <a:prstDash val="solid"/>
              </a:ln>
              <a:effectLst/>
            </c:spPr>
            <c:trendlineType val="movingAvg"/>
            <c:period val="7"/>
            <c:dispRSqr val="0"/>
            <c:dispEq val="0"/>
          </c:trendline>
          <c:cat>
            <c:numRef>
              <c:f>List1!$A$2:$A$387</c:f>
              <c:numCache>
                <c:formatCode>m/d/yyyy</c:formatCode>
                <c:ptCount val="386"/>
                <c:pt idx="0">
                  <c:v>44191</c:v>
                </c:pt>
                <c:pt idx="1">
                  <c:v>44192</c:v>
                </c:pt>
                <c:pt idx="2">
                  <c:v>44193</c:v>
                </c:pt>
                <c:pt idx="3">
                  <c:v>44194</c:v>
                </c:pt>
                <c:pt idx="4">
                  <c:v>44195</c:v>
                </c:pt>
                <c:pt idx="5">
                  <c:v>44196</c:v>
                </c:pt>
                <c:pt idx="6">
                  <c:v>44197</c:v>
                </c:pt>
                <c:pt idx="7">
                  <c:v>44198</c:v>
                </c:pt>
                <c:pt idx="8">
                  <c:v>44199</c:v>
                </c:pt>
                <c:pt idx="9">
                  <c:v>44200</c:v>
                </c:pt>
                <c:pt idx="10">
                  <c:v>44201</c:v>
                </c:pt>
                <c:pt idx="11">
                  <c:v>44202</c:v>
                </c:pt>
                <c:pt idx="12">
                  <c:v>44203</c:v>
                </c:pt>
                <c:pt idx="13">
                  <c:v>44204</c:v>
                </c:pt>
                <c:pt idx="14">
                  <c:v>44205</c:v>
                </c:pt>
                <c:pt idx="15">
                  <c:v>44206</c:v>
                </c:pt>
                <c:pt idx="16">
                  <c:v>44207</c:v>
                </c:pt>
                <c:pt idx="17">
                  <c:v>44208</c:v>
                </c:pt>
                <c:pt idx="18">
                  <c:v>44209</c:v>
                </c:pt>
                <c:pt idx="19">
                  <c:v>44210</c:v>
                </c:pt>
                <c:pt idx="20">
                  <c:v>44211</c:v>
                </c:pt>
                <c:pt idx="21">
                  <c:v>44212</c:v>
                </c:pt>
                <c:pt idx="22">
                  <c:v>44213</c:v>
                </c:pt>
                <c:pt idx="23">
                  <c:v>44214</c:v>
                </c:pt>
                <c:pt idx="24">
                  <c:v>44215</c:v>
                </c:pt>
                <c:pt idx="25">
                  <c:v>44216</c:v>
                </c:pt>
                <c:pt idx="26">
                  <c:v>44217</c:v>
                </c:pt>
                <c:pt idx="27">
                  <c:v>44218</c:v>
                </c:pt>
                <c:pt idx="28">
                  <c:v>44219</c:v>
                </c:pt>
                <c:pt idx="29">
                  <c:v>44220</c:v>
                </c:pt>
                <c:pt idx="30">
                  <c:v>44221</c:v>
                </c:pt>
                <c:pt idx="31">
                  <c:v>44222</c:v>
                </c:pt>
                <c:pt idx="32">
                  <c:v>44223</c:v>
                </c:pt>
                <c:pt idx="33">
                  <c:v>44224</c:v>
                </c:pt>
                <c:pt idx="34">
                  <c:v>44225</c:v>
                </c:pt>
                <c:pt idx="35">
                  <c:v>44226</c:v>
                </c:pt>
                <c:pt idx="36">
                  <c:v>44227</c:v>
                </c:pt>
                <c:pt idx="37">
                  <c:v>44228</c:v>
                </c:pt>
                <c:pt idx="38">
                  <c:v>44229</c:v>
                </c:pt>
                <c:pt idx="39">
                  <c:v>44230</c:v>
                </c:pt>
                <c:pt idx="40">
                  <c:v>44231</c:v>
                </c:pt>
                <c:pt idx="41">
                  <c:v>44232</c:v>
                </c:pt>
                <c:pt idx="42">
                  <c:v>44233</c:v>
                </c:pt>
                <c:pt idx="43">
                  <c:v>44234</c:v>
                </c:pt>
                <c:pt idx="44">
                  <c:v>44235</c:v>
                </c:pt>
                <c:pt idx="45">
                  <c:v>44236</c:v>
                </c:pt>
                <c:pt idx="46">
                  <c:v>44237</c:v>
                </c:pt>
                <c:pt idx="47">
                  <c:v>44238</c:v>
                </c:pt>
                <c:pt idx="48">
                  <c:v>44239</c:v>
                </c:pt>
                <c:pt idx="49">
                  <c:v>44240</c:v>
                </c:pt>
                <c:pt idx="50">
                  <c:v>44241</c:v>
                </c:pt>
                <c:pt idx="51">
                  <c:v>44242</c:v>
                </c:pt>
                <c:pt idx="52">
                  <c:v>44243</c:v>
                </c:pt>
                <c:pt idx="53">
                  <c:v>44244</c:v>
                </c:pt>
                <c:pt idx="54">
                  <c:v>44245</c:v>
                </c:pt>
                <c:pt idx="55">
                  <c:v>44246</c:v>
                </c:pt>
                <c:pt idx="56">
                  <c:v>44247</c:v>
                </c:pt>
                <c:pt idx="57">
                  <c:v>44248</c:v>
                </c:pt>
                <c:pt idx="58">
                  <c:v>44249</c:v>
                </c:pt>
                <c:pt idx="59">
                  <c:v>44250</c:v>
                </c:pt>
                <c:pt idx="60">
                  <c:v>44251</c:v>
                </c:pt>
                <c:pt idx="61">
                  <c:v>44252</c:v>
                </c:pt>
                <c:pt idx="62">
                  <c:v>44253</c:v>
                </c:pt>
                <c:pt idx="63">
                  <c:v>44254</c:v>
                </c:pt>
                <c:pt idx="64">
                  <c:v>44255</c:v>
                </c:pt>
                <c:pt idx="65">
                  <c:v>44256</c:v>
                </c:pt>
                <c:pt idx="66">
                  <c:v>44257</c:v>
                </c:pt>
                <c:pt idx="67">
                  <c:v>44258</c:v>
                </c:pt>
                <c:pt idx="68">
                  <c:v>44259</c:v>
                </c:pt>
                <c:pt idx="69">
                  <c:v>44260</c:v>
                </c:pt>
                <c:pt idx="70">
                  <c:v>44261</c:v>
                </c:pt>
                <c:pt idx="71">
                  <c:v>44262</c:v>
                </c:pt>
                <c:pt idx="72">
                  <c:v>44263</c:v>
                </c:pt>
                <c:pt idx="73">
                  <c:v>44264</c:v>
                </c:pt>
                <c:pt idx="74">
                  <c:v>44265</c:v>
                </c:pt>
                <c:pt idx="75">
                  <c:v>44266</c:v>
                </c:pt>
                <c:pt idx="76">
                  <c:v>44267</c:v>
                </c:pt>
                <c:pt idx="77">
                  <c:v>44268</c:v>
                </c:pt>
                <c:pt idx="78">
                  <c:v>44269</c:v>
                </c:pt>
                <c:pt idx="79">
                  <c:v>44270</c:v>
                </c:pt>
                <c:pt idx="80">
                  <c:v>44271</c:v>
                </c:pt>
                <c:pt idx="81">
                  <c:v>44272</c:v>
                </c:pt>
                <c:pt idx="82">
                  <c:v>44273</c:v>
                </c:pt>
                <c:pt idx="83">
                  <c:v>44274</c:v>
                </c:pt>
                <c:pt idx="84">
                  <c:v>44275</c:v>
                </c:pt>
                <c:pt idx="85">
                  <c:v>44276</c:v>
                </c:pt>
                <c:pt idx="86">
                  <c:v>44277</c:v>
                </c:pt>
                <c:pt idx="87">
                  <c:v>44278</c:v>
                </c:pt>
                <c:pt idx="88">
                  <c:v>44279</c:v>
                </c:pt>
                <c:pt idx="89">
                  <c:v>44280</c:v>
                </c:pt>
                <c:pt idx="90">
                  <c:v>44281</c:v>
                </c:pt>
                <c:pt idx="91">
                  <c:v>44282</c:v>
                </c:pt>
                <c:pt idx="92">
                  <c:v>44283</c:v>
                </c:pt>
                <c:pt idx="93">
                  <c:v>44284</c:v>
                </c:pt>
                <c:pt idx="94">
                  <c:v>44285</c:v>
                </c:pt>
                <c:pt idx="95">
                  <c:v>44286</c:v>
                </c:pt>
                <c:pt idx="96">
                  <c:v>44287</c:v>
                </c:pt>
                <c:pt idx="97">
                  <c:v>44288</c:v>
                </c:pt>
                <c:pt idx="98">
                  <c:v>44289</c:v>
                </c:pt>
                <c:pt idx="99">
                  <c:v>44290</c:v>
                </c:pt>
                <c:pt idx="100">
                  <c:v>44291</c:v>
                </c:pt>
                <c:pt idx="101">
                  <c:v>44292</c:v>
                </c:pt>
                <c:pt idx="102">
                  <c:v>44293</c:v>
                </c:pt>
                <c:pt idx="103">
                  <c:v>44294</c:v>
                </c:pt>
                <c:pt idx="104">
                  <c:v>44295</c:v>
                </c:pt>
                <c:pt idx="105">
                  <c:v>44296</c:v>
                </c:pt>
                <c:pt idx="106">
                  <c:v>44297</c:v>
                </c:pt>
                <c:pt idx="107">
                  <c:v>44298</c:v>
                </c:pt>
                <c:pt idx="108">
                  <c:v>44299</c:v>
                </c:pt>
                <c:pt idx="109">
                  <c:v>44300</c:v>
                </c:pt>
                <c:pt idx="110">
                  <c:v>44301</c:v>
                </c:pt>
                <c:pt idx="111">
                  <c:v>44302</c:v>
                </c:pt>
                <c:pt idx="112">
                  <c:v>44303</c:v>
                </c:pt>
                <c:pt idx="113">
                  <c:v>44304</c:v>
                </c:pt>
                <c:pt idx="114">
                  <c:v>44305</c:v>
                </c:pt>
                <c:pt idx="115">
                  <c:v>44306</c:v>
                </c:pt>
                <c:pt idx="116">
                  <c:v>44307</c:v>
                </c:pt>
                <c:pt idx="117">
                  <c:v>44308</c:v>
                </c:pt>
                <c:pt idx="118">
                  <c:v>44309</c:v>
                </c:pt>
                <c:pt idx="119">
                  <c:v>44310</c:v>
                </c:pt>
                <c:pt idx="120">
                  <c:v>44311</c:v>
                </c:pt>
                <c:pt idx="121">
                  <c:v>44312</c:v>
                </c:pt>
                <c:pt idx="122">
                  <c:v>44313</c:v>
                </c:pt>
                <c:pt idx="123">
                  <c:v>44314</c:v>
                </c:pt>
                <c:pt idx="124">
                  <c:v>44315</c:v>
                </c:pt>
                <c:pt idx="125">
                  <c:v>44316</c:v>
                </c:pt>
                <c:pt idx="126">
                  <c:v>44317</c:v>
                </c:pt>
                <c:pt idx="127">
                  <c:v>44318</c:v>
                </c:pt>
                <c:pt idx="128">
                  <c:v>44319</c:v>
                </c:pt>
                <c:pt idx="129">
                  <c:v>44320</c:v>
                </c:pt>
                <c:pt idx="130">
                  <c:v>44321</c:v>
                </c:pt>
                <c:pt idx="131">
                  <c:v>44322</c:v>
                </c:pt>
                <c:pt idx="132">
                  <c:v>44323</c:v>
                </c:pt>
                <c:pt idx="133">
                  <c:v>44324</c:v>
                </c:pt>
                <c:pt idx="134">
                  <c:v>44325</c:v>
                </c:pt>
                <c:pt idx="135">
                  <c:v>44326</c:v>
                </c:pt>
                <c:pt idx="136">
                  <c:v>44327</c:v>
                </c:pt>
                <c:pt idx="137">
                  <c:v>44328</c:v>
                </c:pt>
                <c:pt idx="138">
                  <c:v>44329</c:v>
                </c:pt>
                <c:pt idx="139">
                  <c:v>44330</c:v>
                </c:pt>
                <c:pt idx="140">
                  <c:v>44331</c:v>
                </c:pt>
                <c:pt idx="141">
                  <c:v>44332</c:v>
                </c:pt>
                <c:pt idx="142">
                  <c:v>44333</c:v>
                </c:pt>
                <c:pt idx="143">
                  <c:v>44334</c:v>
                </c:pt>
                <c:pt idx="144">
                  <c:v>44335</c:v>
                </c:pt>
                <c:pt idx="145">
                  <c:v>44336</c:v>
                </c:pt>
                <c:pt idx="146">
                  <c:v>44337</c:v>
                </c:pt>
                <c:pt idx="147">
                  <c:v>44338</c:v>
                </c:pt>
                <c:pt idx="148">
                  <c:v>44339</c:v>
                </c:pt>
                <c:pt idx="149">
                  <c:v>44340</c:v>
                </c:pt>
                <c:pt idx="150">
                  <c:v>44341</c:v>
                </c:pt>
                <c:pt idx="151">
                  <c:v>44342</c:v>
                </c:pt>
                <c:pt idx="152">
                  <c:v>44343</c:v>
                </c:pt>
                <c:pt idx="153">
                  <c:v>44344</c:v>
                </c:pt>
                <c:pt idx="154">
                  <c:v>44345</c:v>
                </c:pt>
                <c:pt idx="155">
                  <c:v>44346</c:v>
                </c:pt>
                <c:pt idx="156">
                  <c:v>44347</c:v>
                </c:pt>
                <c:pt idx="157">
                  <c:v>44348</c:v>
                </c:pt>
                <c:pt idx="158">
                  <c:v>44349</c:v>
                </c:pt>
                <c:pt idx="159">
                  <c:v>44350</c:v>
                </c:pt>
                <c:pt idx="160">
                  <c:v>44351</c:v>
                </c:pt>
                <c:pt idx="161">
                  <c:v>44352</c:v>
                </c:pt>
                <c:pt idx="162">
                  <c:v>44353</c:v>
                </c:pt>
                <c:pt idx="163">
                  <c:v>44354</c:v>
                </c:pt>
                <c:pt idx="164">
                  <c:v>44355</c:v>
                </c:pt>
                <c:pt idx="165">
                  <c:v>44356</c:v>
                </c:pt>
                <c:pt idx="166">
                  <c:v>44357</c:v>
                </c:pt>
                <c:pt idx="167">
                  <c:v>44358</c:v>
                </c:pt>
                <c:pt idx="168">
                  <c:v>44359</c:v>
                </c:pt>
                <c:pt idx="169">
                  <c:v>44360</c:v>
                </c:pt>
                <c:pt idx="170">
                  <c:v>44361</c:v>
                </c:pt>
                <c:pt idx="171">
                  <c:v>44362</c:v>
                </c:pt>
                <c:pt idx="172">
                  <c:v>44363</c:v>
                </c:pt>
                <c:pt idx="173">
                  <c:v>44364</c:v>
                </c:pt>
                <c:pt idx="174">
                  <c:v>44365</c:v>
                </c:pt>
                <c:pt idx="175">
                  <c:v>44366</c:v>
                </c:pt>
                <c:pt idx="176">
                  <c:v>44367</c:v>
                </c:pt>
                <c:pt idx="177">
                  <c:v>44368</c:v>
                </c:pt>
                <c:pt idx="178">
                  <c:v>44369</c:v>
                </c:pt>
                <c:pt idx="179">
                  <c:v>44370</c:v>
                </c:pt>
                <c:pt idx="180">
                  <c:v>44371</c:v>
                </c:pt>
                <c:pt idx="181">
                  <c:v>44372</c:v>
                </c:pt>
                <c:pt idx="182">
                  <c:v>44373</c:v>
                </c:pt>
                <c:pt idx="183">
                  <c:v>44374</c:v>
                </c:pt>
                <c:pt idx="184">
                  <c:v>44375</c:v>
                </c:pt>
                <c:pt idx="185">
                  <c:v>44376</c:v>
                </c:pt>
                <c:pt idx="186">
                  <c:v>44377</c:v>
                </c:pt>
                <c:pt idx="187">
                  <c:v>44378</c:v>
                </c:pt>
                <c:pt idx="188">
                  <c:v>44379</c:v>
                </c:pt>
                <c:pt idx="189">
                  <c:v>44380</c:v>
                </c:pt>
                <c:pt idx="190">
                  <c:v>44381</c:v>
                </c:pt>
                <c:pt idx="191">
                  <c:v>44382</c:v>
                </c:pt>
                <c:pt idx="192">
                  <c:v>44383</c:v>
                </c:pt>
                <c:pt idx="193">
                  <c:v>44384</c:v>
                </c:pt>
                <c:pt idx="194">
                  <c:v>44385</c:v>
                </c:pt>
                <c:pt idx="195">
                  <c:v>44386</c:v>
                </c:pt>
                <c:pt idx="196">
                  <c:v>44387</c:v>
                </c:pt>
                <c:pt idx="197">
                  <c:v>44388</c:v>
                </c:pt>
                <c:pt idx="198">
                  <c:v>44389</c:v>
                </c:pt>
                <c:pt idx="199">
                  <c:v>44390</c:v>
                </c:pt>
                <c:pt idx="200">
                  <c:v>44391</c:v>
                </c:pt>
                <c:pt idx="201">
                  <c:v>44392</c:v>
                </c:pt>
                <c:pt idx="202">
                  <c:v>44393</c:v>
                </c:pt>
                <c:pt idx="203">
                  <c:v>44394</c:v>
                </c:pt>
                <c:pt idx="204">
                  <c:v>44395</c:v>
                </c:pt>
                <c:pt idx="205">
                  <c:v>44396</c:v>
                </c:pt>
                <c:pt idx="206">
                  <c:v>44397</c:v>
                </c:pt>
                <c:pt idx="207">
                  <c:v>44398</c:v>
                </c:pt>
                <c:pt idx="208">
                  <c:v>44399</c:v>
                </c:pt>
                <c:pt idx="209">
                  <c:v>44400</c:v>
                </c:pt>
                <c:pt idx="210">
                  <c:v>44401</c:v>
                </c:pt>
                <c:pt idx="211">
                  <c:v>44402</c:v>
                </c:pt>
                <c:pt idx="212">
                  <c:v>44403</c:v>
                </c:pt>
                <c:pt idx="213">
                  <c:v>44404</c:v>
                </c:pt>
                <c:pt idx="214">
                  <c:v>44405</c:v>
                </c:pt>
                <c:pt idx="215">
                  <c:v>44406</c:v>
                </c:pt>
                <c:pt idx="216">
                  <c:v>44407</c:v>
                </c:pt>
                <c:pt idx="217">
                  <c:v>44408</c:v>
                </c:pt>
                <c:pt idx="218">
                  <c:v>44409</c:v>
                </c:pt>
                <c:pt idx="219">
                  <c:v>44410</c:v>
                </c:pt>
                <c:pt idx="220">
                  <c:v>44411</c:v>
                </c:pt>
                <c:pt idx="221">
                  <c:v>44412</c:v>
                </c:pt>
                <c:pt idx="222">
                  <c:v>44413</c:v>
                </c:pt>
                <c:pt idx="223">
                  <c:v>44414</c:v>
                </c:pt>
                <c:pt idx="224">
                  <c:v>44415</c:v>
                </c:pt>
                <c:pt idx="225">
                  <c:v>44416</c:v>
                </c:pt>
                <c:pt idx="226">
                  <c:v>44417</c:v>
                </c:pt>
                <c:pt idx="227">
                  <c:v>44418</c:v>
                </c:pt>
                <c:pt idx="228">
                  <c:v>44419</c:v>
                </c:pt>
                <c:pt idx="229">
                  <c:v>44420</c:v>
                </c:pt>
                <c:pt idx="230">
                  <c:v>44421</c:v>
                </c:pt>
                <c:pt idx="231">
                  <c:v>44422</c:v>
                </c:pt>
                <c:pt idx="232">
                  <c:v>44423</c:v>
                </c:pt>
                <c:pt idx="233">
                  <c:v>44424</c:v>
                </c:pt>
                <c:pt idx="234">
                  <c:v>44425</c:v>
                </c:pt>
                <c:pt idx="235">
                  <c:v>44426</c:v>
                </c:pt>
                <c:pt idx="236">
                  <c:v>44427</c:v>
                </c:pt>
                <c:pt idx="237">
                  <c:v>44428</c:v>
                </c:pt>
                <c:pt idx="238">
                  <c:v>44429</c:v>
                </c:pt>
                <c:pt idx="239">
                  <c:v>44430</c:v>
                </c:pt>
                <c:pt idx="240">
                  <c:v>44431</c:v>
                </c:pt>
                <c:pt idx="241">
                  <c:v>44432</c:v>
                </c:pt>
                <c:pt idx="242">
                  <c:v>44433</c:v>
                </c:pt>
                <c:pt idx="243">
                  <c:v>44434</c:v>
                </c:pt>
                <c:pt idx="244">
                  <c:v>44435</c:v>
                </c:pt>
                <c:pt idx="245">
                  <c:v>44436</c:v>
                </c:pt>
                <c:pt idx="246">
                  <c:v>44437</c:v>
                </c:pt>
                <c:pt idx="247">
                  <c:v>44438</c:v>
                </c:pt>
                <c:pt idx="248">
                  <c:v>44439</c:v>
                </c:pt>
                <c:pt idx="249">
                  <c:v>44440</c:v>
                </c:pt>
                <c:pt idx="250">
                  <c:v>44441</c:v>
                </c:pt>
                <c:pt idx="251">
                  <c:v>44442</c:v>
                </c:pt>
                <c:pt idx="252">
                  <c:v>44443</c:v>
                </c:pt>
                <c:pt idx="253">
                  <c:v>44444</c:v>
                </c:pt>
                <c:pt idx="254">
                  <c:v>44445</c:v>
                </c:pt>
                <c:pt idx="255">
                  <c:v>44446</c:v>
                </c:pt>
                <c:pt idx="256">
                  <c:v>44447</c:v>
                </c:pt>
                <c:pt idx="257">
                  <c:v>44448</c:v>
                </c:pt>
                <c:pt idx="258">
                  <c:v>44449</c:v>
                </c:pt>
                <c:pt idx="259">
                  <c:v>44450</c:v>
                </c:pt>
                <c:pt idx="260">
                  <c:v>44451</c:v>
                </c:pt>
                <c:pt idx="261">
                  <c:v>44452</c:v>
                </c:pt>
                <c:pt idx="262">
                  <c:v>44453</c:v>
                </c:pt>
                <c:pt idx="263">
                  <c:v>44454</c:v>
                </c:pt>
                <c:pt idx="264">
                  <c:v>44455</c:v>
                </c:pt>
                <c:pt idx="265">
                  <c:v>44456</c:v>
                </c:pt>
                <c:pt idx="266">
                  <c:v>44457</c:v>
                </c:pt>
                <c:pt idx="267">
                  <c:v>44458</c:v>
                </c:pt>
                <c:pt idx="268">
                  <c:v>44459</c:v>
                </c:pt>
                <c:pt idx="269">
                  <c:v>44460</c:v>
                </c:pt>
                <c:pt idx="270">
                  <c:v>44461</c:v>
                </c:pt>
                <c:pt idx="271">
                  <c:v>44462</c:v>
                </c:pt>
                <c:pt idx="272">
                  <c:v>44463</c:v>
                </c:pt>
                <c:pt idx="273">
                  <c:v>44464</c:v>
                </c:pt>
                <c:pt idx="274">
                  <c:v>44465</c:v>
                </c:pt>
                <c:pt idx="275">
                  <c:v>44466</c:v>
                </c:pt>
                <c:pt idx="276">
                  <c:v>44467</c:v>
                </c:pt>
                <c:pt idx="277">
                  <c:v>44468</c:v>
                </c:pt>
                <c:pt idx="278">
                  <c:v>44469</c:v>
                </c:pt>
                <c:pt idx="279">
                  <c:v>44470</c:v>
                </c:pt>
                <c:pt idx="280">
                  <c:v>44471</c:v>
                </c:pt>
                <c:pt idx="281">
                  <c:v>44472</c:v>
                </c:pt>
                <c:pt idx="282">
                  <c:v>44473</c:v>
                </c:pt>
                <c:pt idx="283">
                  <c:v>44474</c:v>
                </c:pt>
                <c:pt idx="284">
                  <c:v>44475</c:v>
                </c:pt>
                <c:pt idx="285">
                  <c:v>44476</c:v>
                </c:pt>
                <c:pt idx="286">
                  <c:v>44477</c:v>
                </c:pt>
                <c:pt idx="287">
                  <c:v>44478</c:v>
                </c:pt>
                <c:pt idx="288">
                  <c:v>44479</c:v>
                </c:pt>
                <c:pt idx="289">
                  <c:v>44480</c:v>
                </c:pt>
                <c:pt idx="290">
                  <c:v>44481</c:v>
                </c:pt>
                <c:pt idx="291">
                  <c:v>44482</c:v>
                </c:pt>
                <c:pt idx="292">
                  <c:v>44483</c:v>
                </c:pt>
                <c:pt idx="293">
                  <c:v>44484</c:v>
                </c:pt>
                <c:pt idx="294">
                  <c:v>44485</c:v>
                </c:pt>
                <c:pt idx="295">
                  <c:v>44486</c:v>
                </c:pt>
                <c:pt idx="296">
                  <c:v>44487</c:v>
                </c:pt>
                <c:pt idx="297">
                  <c:v>44488</c:v>
                </c:pt>
                <c:pt idx="298">
                  <c:v>44489</c:v>
                </c:pt>
                <c:pt idx="299">
                  <c:v>44490</c:v>
                </c:pt>
                <c:pt idx="300">
                  <c:v>44491</c:v>
                </c:pt>
                <c:pt idx="301">
                  <c:v>44492</c:v>
                </c:pt>
                <c:pt idx="302">
                  <c:v>44493</c:v>
                </c:pt>
                <c:pt idx="303">
                  <c:v>44494</c:v>
                </c:pt>
                <c:pt idx="304">
                  <c:v>44495</c:v>
                </c:pt>
                <c:pt idx="305">
                  <c:v>44496</c:v>
                </c:pt>
                <c:pt idx="306">
                  <c:v>44497</c:v>
                </c:pt>
                <c:pt idx="307">
                  <c:v>44498</c:v>
                </c:pt>
                <c:pt idx="308">
                  <c:v>44499</c:v>
                </c:pt>
                <c:pt idx="309">
                  <c:v>44500</c:v>
                </c:pt>
                <c:pt idx="310">
                  <c:v>44501</c:v>
                </c:pt>
                <c:pt idx="311">
                  <c:v>44502</c:v>
                </c:pt>
                <c:pt idx="312">
                  <c:v>44503</c:v>
                </c:pt>
                <c:pt idx="313">
                  <c:v>44504</c:v>
                </c:pt>
                <c:pt idx="314">
                  <c:v>44505</c:v>
                </c:pt>
                <c:pt idx="315">
                  <c:v>44506</c:v>
                </c:pt>
                <c:pt idx="316">
                  <c:v>44507</c:v>
                </c:pt>
                <c:pt idx="317">
                  <c:v>44508</c:v>
                </c:pt>
                <c:pt idx="318">
                  <c:v>44509</c:v>
                </c:pt>
                <c:pt idx="319">
                  <c:v>44510</c:v>
                </c:pt>
                <c:pt idx="320">
                  <c:v>44511</c:v>
                </c:pt>
                <c:pt idx="321">
                  <c:v>44512</c:v>
                </c:pt>
                <c:pt idx="322">
                  <c:v>44513</c:v>
                </c:pt>
                <c:pt idx="323">
                  <c:v>44514</c:v>
                </c:pt>
                <c:pt idx="324">
                  <c:v>44515</c:v>
                </c:pt>
                <c:pt idx="325">
                  <c:v>44516</c:v>
                </c:pt>
                <c:pt idx="326">
                  <c:v>44517</c:v>
                </c:pt>
                <c:pt idx="327">
                  <c:v>44518</c:v>
                </c:pt>
                <c:pt idx="328">
                  <c:v>44519</c:v>
                </c:pt>
                <c:pt idx="329">
                  <c:v>44520</c:v>
                </c:pt>
                <c:pt idx="330">
                  <c:v>44521</c:v>
                </c:pt>
                <c:pt idx="331">
                  <c:v>44522</c:v>
                </c:pt>
                <c:pt idx="332">
                  <c:v>44523</c:v>
                </c:pt>
                <c:pt idx="333">
                  <c:v>44524</c:v>
                </c:pt>
                <c:pt idx="334">
                  <c:v>44525</c:v>
                </c:pt>
                <c:pt idx="335">
                  <c:v>44526</c:v>
                </c:pt>
                <c:pt idx="336">
                  <c:v>44527</c:v>
                </c:pt>
                <c:pt idx="337">
                  <c:v>44528</c:v>
                </c:pt>
                <c:pt idx="338">
                  <c:v>44529</c:v>
                </c:pt>
                <c:pt idx="339">
                  <c:v>44530</c:v>
                </c:pt>
                <c:pt idx="340">
                  <c:v>44531</c:v>
                </c:pt>
                <c:pt idx="341">
                  <c:v>44532</c:v>
                </c:pt>
                <c:pt idx="342">
                  <c:v>44533</c:v>
                </c:pt>
                <c:pt idx="343">
                  <c:v>44534</c:v>
                </c:pt>
                <c:pt idx="344">
                  <c:v>44535</c:v>
                </c:pt>
                <c:pt idx="345">
                  <c:v>44536</c:v>
                </c:pt>
                <c:pt idx="346">
                  <c:v>44537</c:v>
                </c:pt>
                <c:pt idx="347">
                  <c:v>44538</c:v>
                </c:pt>
                <c:pt idx="348">
                  <c:v>44539</c:v>
                </c:pt>
                <c:pt idx="349">
                  <c:v>44540</c:v>
                </c:pt>
                <c:pt idx="350">
                  <c:v>44541</c:v>
                </c:pt>
                <c:pt idx="351">
                  <c:v>44542</c:v>
                </c:pt>
                <c:pt idx="352">
                  <c:v>44543</c:v>
                </c:pt>
                <c:pt idx="353">
                  <c:v>44544</c:v>
                </c:pt>
                <c:pt idx="354">
                  <c:v>44545</c:v>
                </c:pt>
                <c:pt idx="355">
                  <c:v>44546</c:v>
                </c:pt>
                <c:pt idx="356">
                  <c:v>44547</c:v>
                </c:pt>
                <c:pt idx="357">
                  <c:v>44548</c:v>
                </c:pt>
                <c:pt idx="358">
                  <c:v>44549</c:v>
                </c:pt>
                <c:pt idx="359">
                  <c:v>44550</c:v>
                </c:pt>
                <c:pt idx="360">
                  <c:v>44551</c:v>
                </c:pt>
                <c:pt idx="361">
                  <c:v>44552</c:v>
                </c:pt>
                <c:pt idx="362">
                  <c:v>44553</c:v>
                </c:pt>
                <c:pt idx="363">
                  <c:v>44554</c:v>
                </c:pt>
                <c:pt idx="364">
                  <c:v>44555</c:v>
                </c:pt>
                <c:pt idx="365">
                  <c:v>44556</c:v>
                </c:pt>
                <c:pt idx="366">
                  <c:v>44557</c:v>
                </c:pt>
                <c:pt idx="367">
                  <c:v>44558</c:v>
                </c:pt>
                <c:pt idx="368">
                  <c:v>44559</c:v>
                </c:pt>
                <c:pt idx="369">
                  <c:v>44560</c:v>
                </c:pt>
                <c:pt idx="370">
                  <c:v>44561</c:v>
                </c:pt>
                <c:pt idx="371">
                  <c:v>44562</c:v>
                </c:pt>
                <c:pt idx="372">
                  <c:v>44563</c:v>
                </c:pt>
                <c:pt idx="373">
                  <c:v>44564</c:v>
                </c:pt>
                <c:pt idx="374">
                  <c:v>44565</c:v>
                </c:pt>
                <c:pt idx="375">
                  <c:v>44566</c:v>
                </c:pt>
                <c:pt idx="376">
                  <c:v>44567</c:v>
                </c:pt>
                <c:pt idx="377">
                  <c:v>44568</c:v>
                </c:pt>
                <c:pt idx="378">
                  <c:v>44569</c:v>
                </c:pt>
                <c:pt idx="379">
                  <c:v>44570</c:v>
                </c:pt>
                <c:pt idx="380">
                  <c:v>44571</c:v>
                </c:pt>
                <c:pt idx="381">
                  <c:v>44572</c:v>
                </c:pt>
                <c:pt idx="382">
                  <c:v>44573</c:v>
                </c:pt>
                <c:pt idx="383">
                  <c:v>44574</c:v>
                </c:pt>
                <c:pt idx="384">
                  <c:v>44575</c:v>
                </c:pt>
                <c:pt idx="385">
                  <c:v>44576</c:v>
                </c:pt>
              </c:numCache>
            </c:numRef>
          </c:cat>
          <c:val>
            <c:numRef>
              <c:f>List1!$B$2:$B$387</c:f>
              <c:numCache>
                <c:formatCode>General</c:formatCode>
                <c:ptCount val="386"/>
                <c:pt idx="1">
                  <c:v>4.1699060659159999</c:v>
                </c:pt>
                <c:pt idx="2">
                  <c:v>4.7258935413709997</c:v>
                </c:pt>
                <c:pt idx="3">
                  <c:v>5.606207044175</c:v>
                </c:pt>
                <c:pt idx="4">
                  <c:v>4.4015675140220001</c:v>
                </c:pt>
                <c:pt idx="5">
                  <c:v>5.3282133064480002</c:v>
                </c:pt>
                <c:pt idx="6">
                  <c:v>3.8919123281879999</c:v>
                </c:pt>
                <c:pt idx="7">
                  <c:v>3.2432602734899998</c:v>
                </c:pt>
                <c:pt idx="8">
                  <c:v>4.8648904102349997</c:v>
                </c:pt>
                <c:pt idx="9">
                  <c:v>6.2548590988740003</c:v>
                </c:pt>
                <c:pt idx="10">
                  <c:v>5.0038872790989997</c:v>
                </c:pt>
                <c:pt idx="11">
                  <c:v>5.3745455960689998</c:v>
                </c:pt>
                <c:pt idx="12">
                  <c:v>4.6332289621280003</c:v>
                </c:pt>
                <c:pt idx="13">
                  <c:v>5.0965518583409999</c:v>
                </c:pt>
                <c:pt idx="14">
                  <c:v>4.5405643828860001</c:v>
                </c:pt>
                <c:pt idx="15">
                  <c:v>4.8648904102349997</c:v>
                </c:pt>
                <c:pt idx="16">
                  <c:v>4.9575549894769999</c:v>
                </c:pt>
                <c:pt idx="17">
                  <c:v>5.3745455960689998</c:v>
                </c:pt>
                <c:pt idx="18">
                  <c:v>5.0965518583409999</c:v>
                </c:pt>
                <c:pt idx="19">
                  <c:v>5.4208778856900004</c:v>
                </c:pt>
                <c:pt idx="20">
                  <c:v>5.1892164375840002</c:v>
                </c:pt>
                <c:pt idx="21">
                  <c:v>4.3089029347789998</c:v>
                </c:pt>
                <c:pt idx="22">
                  <c:v>3.1505956942469999</c:v>
                </c:pt>
                <c:pt idx="23">
                  <c:v>5.0502219086029996</c:v>
                </c:pt>
                <c:pt idx="24">
                  <c:v>4.9112249753389996</c:v>
                </c:pt>
                <c:pt idx="25">
                  <c:v>4.4015736320709999</c:v>
                </c:pt>
                <c:pt idx="26">
                  <c:v>4.5405706941370001</c:v>
                </c:pt>
                <c:pt idx="27">
                  <c:v>4.5869030481589999</c:v>
                </c:pt>
                <c:pt idx="28">
                  <c:v>3.2895986596969999</c:v>
                </c:pt>
                <c:pt idx="29">
                  <c:v>2.8726072802979998</c:v>
                </c:pt>
                <c:pt idx="30">
                  <c:v>4.0772490430039996</c:v>
                </c:pt>
                <c:pt idx="31">
                  <c:v>4.2162481229580004</c:v>
                </c:pt>
                <c:pt idx="32">
                  <c:v>3.7065917564470001</c:v>
                </c:pt>
                <c:pt idx="33">
                  <c:v>4.4942466692760004</c:v>
                </c:pt>
                <c:pt idx="34">
                  <c:v>4.0772547102710002</c:v>
                </c:pt>
                <c:pt idx="35">
                  <c:v>4.1235871501609997</c:v>
                </c:pt>
                <c:pt idx="36">
                  <c:v>3.3360206833279999</c:v>
                </c:pt>
                <c:pt idx="37">
                  <c:v>4.0315648356720004</c:v>
                </c:pt>
                <c:pt idx="38">
                  <c:v>5.0524691973199998</c:v>
                </c:pt>
                <c:pt idx="39">
                  <c:v>3.7090027696969998</c:v>
                </c:pt>
                <c:pt idx="40">
                  <c:v>4.404912543939</c:v>
                </c:pt>
                <c:pt idx="41">
                  <c:v>4.080703327767</c:v>
                </c:pt>
                <c:pt idx="42">
                  <c:v>4.4054804176389997</c:v>
                </c:pt>
                <c:pt idx="43">
                  <c:v>4.0810136866990003</c:v>
                </c:pt>
                <c:pt idx="44">
                  <c:v>4.4526034279479996</c:v>
                </c:pt>
                <c:pt idx="45">
                  <c:v>4.8244301721709997</c:v>
                </c:pt>
                <c:pt idx="46">
                  <c:v>4.2685116535000001</c:v>
                </c:pt>
                <c:pt idx="47">
                  <c:v>4.7808313726499998</c:v>
                </c:pt>
                <c:pt idx="48">
                  <c:v>3.8547600713730001</c:v>
                </c:pt>
                <c:pt idx="49">
                  <c:v>3.4836634762499998</c:v>
                </c:pt>
                <c:pt idx="50">
                  <c:v>3.2518920204600001</c:v>
                </c:pt>
                <c:pt idx="51">
                  <c:v>4.9273884237049996</c:v>
                </c:pt>
                <c:pt idx="52">
                  <c:v>5.1183192556280002</c:v>
                </c:pt>
                <c:pt idx="53">
                  <c:v>5.5437976318200004</c:v>
                </c:pt>
                <c:pt idx="54">
                  <c:v>4.1995436495899998</c:v>
                </c:pt>
                <c:pt idx="55">
                  <c:v>5.0929177138680002</c:v>
                </c:pt>
                <c:pt idx="56">
                  <c:v>4.0674656977049999</c:v>
                </c:pt>
                <c:pt idx="57">
                  <c:v>4.2576744582100003</c:v>
                </c:pt>
                <c:pt idx="58">
                  <c:v>5.5333777566649998</c:v>
                </c:pt>
                <c:pt idx="59">
                  <c:v>5.4078430653340002</c:v>
                </c:pt>
                <c:pt idx="60">
                  <c:v>4.3885996450420004</c:v>
                </c:pt>
                <c:pt idx="61">
                  <c:v>5.7840766266879999</c:v>
                </c:pt>
                <c:pt idx="62">
                  <c:v>4.3809377778260004</c:v>
                </c:pt>
                <c:pt idx="63">
                  <c:v>5.148473882697</c:v>
                </c:pt>
                <c:pt idx="64">
                  <c:v>4.8652980233529997</c:v>
                </c:pt>
                <c:pt idx="65">
                  <c:v>7.8928712543539996</c:v>
                </c:pt>
                <c:pt idx="66">
                  <c:v>6.2364716537970004</c:v>
                </c:pt>
                <c:pt idx="67">
                  <c:v>6.204351125873</c:v>
                </c:pt>
                <c:pt idx="68">
                  <c:v>6.2676367682710001</c:v>
                </c:pt>
                <c:pt idx="69">
                  <c:v>6.8143034646140004</c:v>
                </c:pt>
                <c:pt idx="70">
                  <c:v>4.7386215059910004</c:v>
                </c:pt>
                <c:pt idx="71">
                  <c:v>5.4179540354320004</c:v>
                </c:pt>
                <c:pt idx="72">
                  <c:v>6.9801970839249998</c:v>
                </c:pt>
                <c:pt idx="73">
                  <c:v>6.5109734196789999</c:v>
                </c:pt>
                <c:pt idx="74">
                  <c:v>6.9140366142060001</c:v>
                </c:pt>
                <c:pt idx="75">
                  <c:v>5.9999414639850004</c:v>
                </c:pt>
                <c:pt idx="76">
                  <c:v>6.1080549119020002</c:v>
                </c:pt>
                <c:pt idx="77">
                  <c:v>5.1319999257079996</c:v>
                </c:pt>
                <c:pt idx="78">
                  <c:v>5.4265434238359997</c:v>
                </c:pt>
                <c:pt idx="79">
                  <c:v>6.4120542704519998</c:v>
                </c:pt>
                <c:pt idx="80">
                  <c:v>6.125694347454</c:v>
                </c:pt>
                <c:pt idx="81">
                  <c:v>5.6437202815180001</c:v>
                </c:pt>
                <c:pt idx="82">
                  <c:v>5.8986146120480001</c:v>
                </c:pt>
                <c:pt idx="83">
                  <c:v>4.8260837020189999</c:v>
                </c:pt>
                <c:pt idx="84">
                  <c:v>4.9757224157769997</c:v>
                </c:pt>
                <c:pt idx="85">
                  <c:v>4.8790512758710003</c:v>
                </c:pt>
                <c:pt idx="86">
                  <c:v>5.8749214414389996</c:v>
                </c:pt>
                <c:pt idx="87">
                  <c:v>5.8387572749430001</c:v>
                </c:pt>
                <c:pt idx="88">
                  <c:v>5.2568361186289998</c:v>
                </c:pt>
                <c:pt idx="89">
                  <c:v>5.7680909210240001</c:v>
                </c:pt>
                <c:pt idx="90">
                  <c:v>4.2877798274909997</c:v>
                </c:pt>
                <c:pt idx="91">
                  <c:v>4.4397331171659999</c:v>
                </c:pt>
                <c:pt idx="92">
                  <c:v>4.2417857818330003</c:v>
                </c:pt>
                <c:pt idx="93">
                  <c:v>5.3559075660450004</c:v>
                </c:pt>
                <c:pt idx="94">
                  <c:v>4.6228461054530001</c:v>
                </c:pt>
                <c:pt idx="95">
                  <c:v>4.6901902401670004</c:v>
                </c:pt>
                <c:pt idx="96">
                  <c:v>4.4578178981379999</c:v>
                </c:pt>
                <c:pt idx="97">
                  <c:v>3.461061782497</c:v>
                </c:pt>
                <c:pt idx="98">
                  <c:v>3.8203303719830002</c:v>
                </c:pt>
                <c:pt idx="99">
                  <c:v>2.90527429612</c:v>
                </c:pt>
                <c:pt idx="100">
                  <c:v>3.1214020724060001</c:v>
                </c:pt>
                <c:pt idx="101">
                  <c:v>6.3211060188230004</c:v>
                </c:pt>
                <c:pt idx="102">
                  <c:v>5.1138080565720001</c:v>
                </c:pt>
                <c:pt idx="103">
                  <c:v>4.1058242416170003</c:v>
                </c:pt>
                <c:pt idx="104">
                  <c:v>2.8748759883030002</c:v>
                </c:pt>
                <c:pt idx="105">
                  <c:v>3.3511502823339998</c:v>
                </c:pt>
                <c:pt idx="106">
                  <c:v>2.9365603334669999</c:v>
                </c:pt>
                <c:pt idx="107">
                  <c:v>3.485131951848</c:v>
                </c:pt>
                <c:pt idx="108">
                  <c:v>3.6169731785480002</c:v>
                </c:pt>
                <c:pt idx="109">
                  <c:v>3.2223623353100002</c:v>
                </c:pt>
                <c:pt idx="110">
                  <c:v>3.423092617475</c:v>
                </c:pt>
                <c:pt idx="111">
                  <c:v>3.3853808335019999</c:v>
                </c:pt>
                <c:pt idx="112">
                  <c:v>2.4122754116760001</c:v>
                </c:pt>
                <c:pt idx="113">
                  <c:v>2.1452617219299999</c:v>
                </c:pt>
                <c:pt idx="114">
                  <c:v>3.4747731469529999</c:v>
                </c:pt>
                <c:pt idx="115">
                  <c:v>2.4517834495700002</c:v>
                </c:pt>
                <c:pt idx="116">
                  <c:v>2.6405488296459998</c:v>
                </c:pt>
                <c:pt idx="117">
                  <c:v>2.1621818463209999</c:v>
                </c:pt>
                <c:pt idx="118">
                  <c:v>2.5898833401429999</c:v>
                </c:pt>
                <c:pt idx="119">
                  <c:v>1.738007027341</c:v>
                </c:pt>
                <c:pt idx="120">
                  <c:v>1.5128496210019999</c:v>
                </c:pt>
                <c:pt idx="121">
                  <c:v>2.3521829433799999</c:v>
                </c:pt>
                <c:pt idx="122">
                  <c:v>1.9607645080230001</c:v>
                </c:pt>
                <c:pt idx="123">
                  <c:v>2.5849377480859999</c:v>
                </c:pt>
                <c:pt idx="124">
                  <c:v>1.7627839829800001</c:v>
                </c:pt>
                <c:pt idx="125">
                  <c:v>1.6566348224630001</c:v>
                </c:pt>
                <c:pt idx="126">
                  <c:v>1.354546350113</c:v>
                </c:pt>
                <c:pt idx="127">
                  <c:v>1.6043430801280001</c:v>
                </c:pt>
                <c:pt idx="128">
                  <c:v>1.863468623225</c:v>
                </c:pt>
                <c:pt idx="129">
                  <c:v>2.3766175853439999</c:v>
                </c:pt>
                <c:pt idx="130">
                  <c:v>1.698710427125</c:v>
                </c:pt>
                <c:pt idx="131">
                  <c:v>1.2669165026</c:v>
                </c:pt>
                <c:pt idx="132">
                  <c:v>1.0815749257839999</c:v>
                </c:pt>
                <c:pt idx="133">
                  <c:v>1.2116551017370001</c:v>
                </c:pt>
                <c:pt idx="134">
                  <c:v>1.0218516590710001</c:v>
                </c:pt>
                <c:pt idx="135">
                  <c:v>1.9218695947410001</c:v>
                </c:pt>
                <c:pt idx="136">
                  <c:v>1.7381631092259999</c:v>
                </c:pt>
                <c:pt idx="137">
                  <c:v>0.84157592212400001</c:v>
                </c:pt>
                <c:pt idx="138">
                  <c:v>0.91196478252500002</c:v>
                </c:pt>
                <c:pt idx="139">
                  <c:v>1.3726755210770001</c:v>
                </c:pt>
                <c:pt idx="140">
                  <c:v>0.52366885014700004</c:v>
                </c:pt>
                <c:pt idx="141">
                  <c:v>0.52412412307400003</c:v>
                </c:pt>
                <c:pt idx="142">
                  <c:v>0.78780736796799999</c:v>
                </c:pt>
                <c:pt idx="143">
                  <c:v>1.0542587440869999</c:v>
                </c:pt>
                <c:pt idx="144">
                  <c:v>0.86008870822600003</c:v>
                </c:pt>
                <c:pt idx="145">
                  <c:v>0.265858456957</c:v>
                </c:pt>
                <c:pt idx="146">
                  <c:v>0.73387738109800005</c:v>
                </c:pt>
                <c:pt idx="147">
                  <c:v>0.66762626815600001</c:v>
                </c:pt>
                <c:pt idx="148">
                  <c:v>0.26715484762399999</c:v>
                </c:pt>
                <c:pt idx="149">
                  <c:v>0.736873766155</c:v>
                </c:pt>
                <c:pt idx="150">
                  <c:v>0.40356346539900001</c:v>
                </c:pt>
                <c:pt idx="151">
                  <c:v>0.54028463545299998</c:v>
                </c:pt>
                <c:pt idx="152">
                  <c:v>0.20342375745300001</c:v>
                </c:pt>
                <c:pt idx="153">
                  <c:v>0.20401446054399999</c:v>
                </c:pt>
                <c:pt idx="154">
                  <c:v>0.27223848090899999</c:v>
                </c:pt>
                <c:pt idx="155">
                  <c:v>0.27240033042099998</c:v>
                </c:pt>
                <c:pt idx="156">
                  <c:v>0.75117319595499998</c:v>
                </c:pt>
                <c:pt idx="157">
                  <c:v>0.13737754509</c:v>
                </c:pt>
                <c:pt idx="158">
                  <c:v>0.207422546692</c:v>
                </c:pt>
                <c:pt idx="159">
                  <c:v>0.210105809285</c:v>
                </c:pt>
                <c:pt idx="160">
                  <c:v>0.42519778783700002</c:v>
                </c:pt>
                <c:pt idx="161">
                  <c:v>7.1208790581999998E-2</c:v>
                </c:pt>
                <c:pt idx="162">
                  <c:v>0</c:v>
                </c:pt>
                <c:pt idx="163">
                  <c:v>0.14533764114100001</c:v>
                </c:pt>
                <c:pt idx="164">
                  <c:v>0.36920450458999998</c:v>
                </c:pt>
                <c:pt idx="165">
                  <c:v>0.15035366941799999</c:v>
                </c:pt>
                <c:pt idx="166">
                  <c:v>0.230620569202</c:v>
                </c:pt>
                <c:pt idx="168">
                  <c:v>0.23703048212</c:v>
                </c:pt>
                <c:pt idx="170">
                  <c:v>0.32569470680899998</c:v>
                </c:pt>
                <c:pt idx="172">
                  <c:v>0.25849923958100002</c:v>
                </c:pt>
                <c:pt idx="173">
                  <c:v>8.9344905284999998E-2</c:v>
                </c:pt>
                <c:pt idx="174">
                  <c:v>0.27635862505999997</c:v>
                </c:pt>
                <c:pt idx="176">
                  <c:v>9.3962884659999996E-2</c:v>
                </c:pt>
                <c:pt idx="180">
                  <c:v>0.217537432753</c:v>
                </c:pt>
                <c:pt idx="181">
                  <c:v>0.337058958352</c:v>
                </c:pt>
                <c:pt idx="184">
                  <c:v>0.11766242415100001</c:v>
                </c:pt>
                <c:pt idx="185">
                  <c:v>0.12142774745400001</c:v>
                </c:pt>
                <c:pt idx="187">
                  <c:v>0.12943777408400001</c:v>
                </c:pt>
                <c:pt idx="193">
                  <c:v>0.146282022963</c:v>
                </c:pt>
                <c:pt idx="194">
                  <c:v>0.150507435819</c:v>
                </c:pt>
                <c:pt idx="196">
                  <c:v>0.154851976995</c:v>
                </c:pt>
                <c:pt idx="198">
                  <c:v>0.159306189682</c:v>
                </c:pt>
                <c:pt idx="200">
                  <c:v>0</c:v>
                </c:pt>
                <c:pt idx="202">
                  <c:v>0</c:v>
                </c:pt>
                <c:pt idx="205">
                  <c:v>0.35804179779899997</c:v>
                </c:pt>
                <c:pt idx="206">
                  <c:v>0.17973521408199999</c:v>
                </c:pt>
                <c:pt idx="207">
                  <c:v>0</c:v>
                </c:pt>
                <c:pt idx="209">
                  <c:v>0</c:v>
                </c:pt>
                <c:pt idx="212">
                  <c:v>0.19581465750999999</c:v>
                </c:pt>
                <c:pt idx="213">
                  <c:v>0.199826550554</c:v>
                </c:pt>
                <c:pt idx="214">
                  <c:v>0.204005859048</c:v>
                </c:pt>
                <c:pt idx="215">
                  <c:v>0.20825697244300001</c:v>
                </c:pt>
                <c:pt idx="216">
                  <c:v>0.21142185425400001</c:v>
                </c:pt>
                <c:pt idx="217">
                  <c:v>0</c:v>
                </c:pt>
                <c:pt idx="219">
                  <c:v>0.43104098553199999</c:v>
                </c:pt>
                <c:pt idx="221">
                  <c:v>0.22269235051700001</c:v>
                </c:pt>
                <c:pt idx="223">
                  <c:v>0.228121963126</c:v>
                </c:pt>
                <c:pt idx="224">
                  <c:v>0.22879263836800001</c:v>
                </c:pt>
                <c:pt idx="225">
                  <c:v>0.22910452206500001</c:v>
                </c:pt>
                <c:pt idx="227">
                  <c:v>0</c:v>
                </c:pt>
                <c:pt idx="228">
                  <c:v>0.23681250370000001</c:v>
                </c:pt>
                <c:pt idx="229">
                  <c:v>0.23941945570299999</c:v>
                </c:pt>
                <c:pt idx="230">
                  <c:v>0.24126500065100001</c:v>
                </c:pt>
                <c:pt idx="231">
                  <c:v>0.24177949709800001</c:v>
                </c:pt>
                <c:pt idx="232">
                  <c:v>0.24207213749600001</c:v>
                </c:pt>
                <c:pt idx="233">
                  <c:v>0.243855452242</c:v>
                </c:pt>
                <c:pt idx="234">
                  <c:v>0.738141752742</c:v>
                </c:pt>
                <c:pt idx="235">
                  <c:v>0.24812479684700001</c:v>
                </c:pt>
                <c:pt idx="236">
                  <c:v>0.25035049068600002</c:v>
                </c:pt>
                <c:pt idx="237">
                  <c:v>0.504272448318</c:v>
                </c:pt>
                <c:pt idx="240">
                  <c:v>0.51014942276499997</c:v>
                </c:pt>
                <c:pt idx="241">
                  <c:v>0.257408208232</c:v>
                </c:pt>
                <c:pt idx="242">
                  <c:v>0.51947107455099994</c:v>
                </c:pt>
                <c:pt idx="243">
                  <c:v>0.26199820793200002</c:v>
                </c:pt>
                <c:pt idx="244">
                  <c:v>0</c:v>
                </c:pt>
                <c:pt idx="248">
                  <c:v>0.26796791887999999</c:v>
                </c:pt>
                <c:pt idx="249">
                  <c:v>0.810854640791</c:v>
                </c:pt>
                <c:pt idx="250">
                  <c:v>0.27266009919299999</c:v>
                </c:pt>
                <c:pt idx="251">
                  <c:v>1.0987592261429999</c:v>
                </c:pt>
                <c:pt idx="253">
                  <c:v>0.55129070937299995</c:v>
                </c:pt>
                <c:pt idx="254">
                  <c:v>0.83288912579899999</c:v>
                </c:pt>
                <c:pt idx="255">
                  <c:v>0.83897544318799999</c:v>
                </c:pt>
                <c:pt idx="257">
                  <c:v>0</c:v>
                </c:pt>
                <c:pt idx="258">
                  <c:v>0.28452739998799997</c:v>
                </c:pt>
                <c:pt idx="259">
                  <c:v>0.28480534978299998</c:v>
                </c:pt>
                <c:pt idx="260">
                  <c:v>0.56998244454000002</c:v>
                </c:pt>
                <c:pt idx="261">
                  <c:v>1.144678817432</c:v>
                </c:pt>
                <c:pt idx="262">
                  <c:v>0.86202190110300003</c:v>
                </c:pt>
                <c:pt idx="263">
                  <c:v>0.576538348448</c:v>
                </c:pt>
                <c:pt idx="264">
                  <c:v>0.57846602379800005</c:v>
                </c:pt>
                <c:pt idx="265">
                  <c:v>0.29001394966999999</c:v>
                </c:pt>
                <c:pt idx="266">
                  <c:v>0</c:v>
                </c:pt>
                <c:pt idx="267">
                  <c:v>0.29027576197299998</c:v>
                </c:pt>
                <c:pt idx="268">
                  <c:v>0.29099967116999997</c:v>
                </c:pt>
                <c:pt idx="269">
                  <c:v>0.58354462511600003</c:v>
                </c:pt>
                <c:pt idx="271">
                  <c:v>0.293201822542</c:v>
                </c:pt>
                <c:pt idx="272">
                  <c:v>0</c:v>
                </c:pt>
                <c:pt idx="273">
                  <c:v>0.88205200578599996</c:v>
                </c:pt>
                <c:pt idx="274">
                  <c:v>0.29408650848700002</c:v>
                </c:pt>
                <c:pt idx="275">
                  <c:v>0.29481827401499999</c:v>
                </c:pt>
                <c:pt idx="276">
                  <c:v>0.88654840110900002</c:v>
                </c:pt>
                <c:pt idx="277">
                  <c:v>0.29614712589199998</c:v>
                </c:pt>
                <c:pt idx="278">
                  <c:v>0.59362153658899997</c:v>
                </c:pt>
                <c:pt idx="279">
                  <c:v>0.59501496462600001</c:v>
                </c:pt>
                <c:pt idx="280">
                  <c:v>0.89289966188799996</c:v>
                </c:pt>
                <c:pt idx="281">
                  <c:v>1.190780973701</c:v>
                </c:pt>
                <c:pt idx="282">
                  <c:v>0.29825728269700003</c:v>
                </c:pt>
                <c:pt idx="283">
                  <c:v>0.89645898700100002</c:v>
                </c:pt>
                <c:pt idx="284">
                  <c:v>1.4965847935009999</c:v>
                </c:pt>
                <c:pt idx="285">
                  <c:v>0.89964464036699998</c:v>
                </c:pt>
                <c:pt idx="286">
                  <c:v>0.90144772504600001</c:v>
                </c:pt>
                <c:pt idx="287">
                  <c:v>0.901748490322</c:v>
                </c:pt>
                <c:pt idx="288">
                  <c:v>0</c:v>
                </c:pt>
                <c:pt idx="289">
                  <c:v>3.6132280278089999</c:v>
                </c:pt>
                <c:pt idx="290">
                  <c:v>3.01134977731</c:v>
                </c:pt>
                <c:pt idx="291">
                  <c:v>0.90534880071400003</c:v>
                </c:pt>
                <c:pt idx="292">
                  <c:v>1.8149149712329999</c:v>
                </c:pt>
                <c:pt idx="293">
                  <c:v>1.515220388805</c:v>
                </c:pt>
                <c:pt idx="294">
                  <c:v>1.515647545257</c:v>
                </c:pt>
                <c:pt idx="295">
                  <c:v>0</c:v>
                </c:pt>
                <c:pt idx="296">
                  <c:v>1.822041232793</c:v>
                </c:pt>
                <c:pt idx="297">
                  <c:v>1.520903294884</c:v>
                </c:pt>
                <c:pt idx="298">
                  <c:v>2.4373969818929999</c:v>
                </c:pt>
                <c:pt idx="299">
                  <c:v>1.2208856915240001</c:v>
                </c:pt>
                <c:pt idx="300">
                  <c:v>3.057430779767</c:v>
                </c:pt>
                <c:pt idx="301">
                  <c:v>1.8348174968190001</c:v>
                </c:pt>
                <c:pt idx="302">
                  <c:v>2.1408495502679998</c:v>
                </c:pt>
                <c:pt idx="303">
                  <c:v>3.9817086430640001</c:v>
                </c:pt>
                <c:pt idx="304">
                  <c:v>4.9078851309480003</c:v>
                </c:pt>
                <c:pt idx="305">
                  <c:v>2.457515697381</c:v>
                </c:pt>
                <c:pt idx="306">
                  <c:v>2.461992983319</c:v>
                </c:pt>
                <c:pt idx="307">
                  <c:v>4.9318632271030003</c:v>
                </c:pt>
                <c:pt idx="308">
                  <c:v>4.6247051750450003</c:v>
                </c:pt>
                <c:pt idx="309">
                  <c:v>4.9336425082630004</c:v>
                </c:pt>
                <c:pt idx="310">
                  <c:v>7.719146571155</c:v>
                </c:pt>
                <c:pt idx="311">
                  <c:v>4.3256738009379996</c:v>
                </c:pt>
                <c:pt idx="312">
                  <c:v>8.044579345851</c:v>
                </c:pt>
                <c:pt idx="313">
                  <c:v>6.2004352705550003</c:v>
                </c:pt>
                <c:pt idx="314">
                  <c:v>10.557989758749001</c:v>
                </c:pt>
                <c:pt idx="315">
                  <c:v>3.7274026216060001</c:v>
                </c:pt>
                <c:pt idx="316">
                  <c:v>7.1462971306060004</c:v>
                </c:pt>
                <c:pt idx="317">
                  <c:v>10.271030713494</c:v>
                </c:pt>
                <c:pt idx="318">
                  <c:v>9.0420987646620006</c:v>
                </c:pt>
                <c:pt idx="319">
                  <c:v>6.562541015881</c:v>
                </c:pt>
                <c:pt idx="320">
                  <c:v>7.5031184836189997</c:v>
                </c:pt>
                <c:pt idx="321">
                  <c:v>5.0114323300020001</c:v>
                </c:pt>
                <c:pt idx="322">
                  <c:v>5.3266656013329996</c:v>
                </c:pt>
                <c:pt idx="323">
                  <c:v>5.3285856679850001</c:v>
                </c:pt>
                <c:pt idx="324">
                  <c:v>10.052524440199999</c:v>
                </c:pt>
                <c:pt idx="325">
                  <c:v>5.3516001284380001</c:v>
                </c:pt>
                <c:pt idx="326">
                  <c:v>8.8355111816540006</c:v>
                </c:pt>
                <c:pt idx="327">
                  <c:v>9.8058442831920001</c:v>
                </c:pt>
                <c:pt idx="328">
                  <c:v>15.224803742763999</c:v>
                </c:pt>
                <c:pt idx="329">
                  <c:v>10.471104511142</c:v>
                </c:pt>
                <c:pt idx="330">
                  <c:v>10.791595251698</c:v>
                </c:pt>
                <c:pt idx="331">
                  <c:v>10.814834135432999</c:v>
                </c:pt>
                <c:pt idx="332">
                  <c:v>14.660747124421</c:v>
                </c:pt>
                <c:pt idx="333">
                  <c:v>10.54013395552</c:v>
                </c:pt>
                <c:pt idx="334">
                  <c:v>11.528005046703999</c:v>
                </c:pt>
                <c:pt idx="335">
                  <c:v>11.560879269095</c:v>
                </c:pt>
                <c:pt idx="336">
                  <c:v>7.3894632679410002</c:v>
                </c:pt>
                <c:pt idx="337">
                  <c:v>7.7134950810390004</c:v>
                </c:pt>
                <c:pt idx="338">
                  <c:v>16.116658823226</c:v>
                </c:pt>
                <c:pt idx="339">
                  <c:v>13.256338793219999</c:v>
                </c:pt>
                <c:pt idx="340">
                  <c:v>11.647507595144999</c:v>
                </c:pt>
                <c:pt idx="341">
                  <c:v>9.7365927118349997</c:v>
                </c:pt>
                <c:pt idx="342">
                  <c:v>15.631971289279001</c:v>
                </c:pt>
                <c:pt idx="343">
                  <c:v>7.8205700543849996</c:v>
                </c:pt>
                <c:pt idx="344">
                  <c:v>7.824113919098</c:v>
                </c:pt>
                <c:pt idx="345">
                  <c:v>11.778100584978</c:v>
                </c:pt>
                <c:pt idx="346">
                  <c:v>11.164195767456</c:v>
                </c:pt>
                <c:pt idx="347">
                  <c:v>13.853659180193</c:v>
                </c:pt>
                <c:pt idx="348">
                  <c:v>9.9384808038239996</c:v>
                </c:pt>
                <c:pt idx="349">
                  <c:v>9.3163155302970004</c:v>
                </c:pt>
                <c:pt idx="350">
                  <c:v>10.322460341773001</c:v>
                </c:pt>
                <c:pt idx="351">
                  <c:v>8.9939740373940005</c:v>
                </c:pt>
                <c:pt idx="352">
                  <c:v>6.3551526909050002</c:v>
                </c:pt>
                <c:pt idx="353">
                  <c:v>13.764486282514</c:v>
                </c:pt>
                <c:pt idx="354">
                  <c:v>8.0899330895109998</c:v>
                </c:pt>
                <c:pt idx="355">
                  <c:v>9.4782879503869992</c:v>
                </c:pt>
                <c:pt idx="356">
                  <c:v>10.536225923873999</c:v>
                </c:pt>
                <c:pt idx="357">
                  <c:v>9.863610081289</c:v>
                </c:pt>
                <c:pt idx="358">
                  <c:v>5.7843590930120001</c:v>
                </c:pt>
                <c:pt idx="359">
                  <c:v>10.928775123375001</c:v>
                </c:pt>
                <c:pt idx="360">
                  <c:v>10.973748735446</c:v>
                </c:pt>
                <c:pt idx="361">
                  <c:v>7.9036714271959996</c:v>
                </c:pt>
                <c:pt idx="362">
                  <c:v>9.3220456020659999</c:v>
                </c:pt>
                <c:pt idx="363">
                  <c:v>5.5488891817460004</c:v>
                </c:pt>
                <c:pt idx="364">
                  <c:v>4.1655384999890002</c:v>
                </c:pt>
                <c:pt idx="365">
                  <c:v>10.073536818777001</c:v>
                </c:pt>
                <c:pt idx="366">
                  <c:v>16.738969716412999</c:v>
                </c:pt>
                <c:pt idx="367">
                  <c:v>10.860578203169</c:v>
                </c:pt>
                <c:pt idx="368">
                  <c:v>10.208679489706</c:v>
                </c:pt>
                <c:pt idx="369">
                  <c:v>7.7876381863289996</c:v>
                </c:pt>
                <c:pt idx="370">
                  <c:v>7.4720598334080002</c:v>
                </c:pt>
                <c:pt idx="371">
                  <c:v>6.7688164190110003</c:v>
                </c:pt>
                <c:pt idx="372">
                  <c:v>4.276900815106</c:v>
                </c:pt>
                <c:pt idx="373">
                  <c:v>6.0901121655360004</c:v>
                </c:pt>
                <c:pt idx="374">
                  <c:v>6.8398714104170004</c:v>
                </c:pt>
                <c:pt idx="375">
                  <c:v>7.9614665021290003</c:v>
                </c:pt>
                <c:pt idx="376">
                  <c:v>11.239947498567</c:v>
                </c:pt>
                <c:pt idx="377">
                  <c:v>5.0762157536729999</c:v>
                </c:pt>
                <c:pt idx="378">
                  <c:v>6.163976272317</c:v>
                </c:pt>
                <c:pt idx="379">
                  <c:v>3.9885275444079999</c:v>
                </c:pt>
                <c:pt idx="380">
                  <c:v>7.6413930623419999</c:v>
                </c:pt>
                <c:pt idx="381">
                  <c:v>7.6690197166839997</c:v>
                </c:pt>
                <c:pt idx="382">
                  <c:v>4.7637020560870003</c:v>
                </c:pt>
                <c:pt idx="383">
                  <c:v>4.0403595185360004</c:v>
                </c:pt>
                <c:pt idx="384">
                  <c:v>2.2048042685009999</c:v>
                </c:pt>
                <c:pt idx="385">
                  <c:v>1.102410236246</c:v>
                </c:pt>
              </c:numCache>
            </c:numRef>
          </c:val>
          <c:smooth val="0"/>
          <c:extLst>
            <c:ext xmlns:c16="http://schemas.microsoft.com/office/drawing/2014/chart" uri="{C3380CC4-5D6E-409C-BE32-E72D297353CC}">
              <c16:uniqueId val="{00000001-7EF0-41A2-ADBC-1FC75FE6D1E6}"/>
            </c:ext>
          </c:extLst>
        </c:ser>
        <c:ser>
          <c:idx val="1"/>
          <c:order val="1"/>
          <c:tx>
            <c:strRef>
              <c:f>List1!$C$1</c:f>
              <c:strCache>
                <c:ptCount val="1"/>
                <c:pt idx="0">
                  <c:v>Ukončené očkování - bez posilující dávky</c:v>
                </c:pt>
              </c:strCache>
            </c:strRef>
          </c:tx>
          <c:spPr>
            <a:ln w="28575" cap="rnd">
              <a:solidFill>
                <a:schemeClr val="bg1"/>
              </a:solidFill>
              <a:round/>
            </a:ln>
            <a:effectLst/>
          </c:spPr>
          <c:marker>
            <c:symbol val="none"/>
          </c:marker>
          <c:trendline>
            <c:spPr>
              <a:ln w="28575" cap="rnd">
                <a:solidFill>
                  <a:schemeClr val="accent1"/>
                </a:solidFill>
                <a:prstDash val="solid"/>
              </a:ln>
              <a:effectLst/>
            </c:spPr>
            <c:trendlineType val="movingAvg"/>
            <c:period val="7"/>
            <c:dispRSqr val="0"/>
            <c:dispEq val="0"/>
          </c:trendline>
          <c:cat>
            <c:numRef>
              <c:f>List1!$A$2:$A$387</c:f>
              <c:numCache>
                <c:formatCode>m/d/yyyy</c:formatCode>
                <c:ptCount val="386"/>
                <c:pt idx="0">
                  <c:v>44191</c:v>
                </c:pt>
                <c:pt idx="1">
                  <c:v>44192</c:v>
                </c:pt>
                <c:pt idx="2">
                  <c:v>44193</c:v>
                </c:pt>
                <c:pt idx="3">
                  <c:v>44194</c:v>
                </c:pt>
                <c:pt idx="4">
                  <c:v>44195</c:v>
                </c:pt>
                <c:pt idx="5">
                  <c:v>44196</c:v>
                </c:pt>
                <c:pt idx="6">
                  <c:v>44197</c:v>
                </c:pt>
                <c:pt idx="7">
                  <c:v>44198</c:v>
                </c:pt>
                <c:pt idx="8">
                  <c:v>44199</c:v>
                </c:pt>
                <c:pt idx="9">
                  <c:v>44200</c:v>
                </c:pt>
                <c:pt idx="10">
                  <c:v>44201</c:v>
                </c:pt>
                <c:pt idx="11">
                  <c:v>44202</c:v>
                </c:pt>
                <c:pt idx="12">
                  <c:v>44203</c:v>
                </c:pt>
                <c:pt idx="13">
                  <c:v>44204</c:v>
                </c:pt>
                <c:pt idx="14">
                  <c:v>44205</c:v>
                </c:pt>
                <c:pt idx="15">
                  <c:v>44206</c:v>
                </c:pt>
                <c:pt idx="16">
                  <c:v>44207</c:v>
                </c:pt>
                <c:pt idx="17">
                  <c:v>44208</c:v>
                </c:pt>
                <c:pt idx="18">
                  <c:v>44209</c:v>
                </c:pt>
                <c:pt idx="19">
                  <c:v>44210</c:v>
                </c:pt>
                <c:pt idx="20">
                  <c:v>44211</c:v>
                </c:pt>
                <c:pt idx="21">
                  <c:v>44212</c:v>
                </c:pt>
                <c:pt idx="22">
                  <c:v>44213</c:v>
                </c:pt>
                <c:pt idx="23">
                  <c:v>44214</c:v>
                </c:pt>
                <c:pt idx="24">
                  <c:v>44215</c:v>
                </c:pt>
                <c:pt idx="25">
                  <c:v>44216</c:v>
                </c:pt>
                <c:pt idx="26">
                  <c:v>44217</c:v>
                </c:pt>
                <c:pt idx="27">
                  <c:v>44218</c:v>
                </c:pt>
                <c:pt idx="28">
                  <c:v>44219</c:v>
                </c:pt>
                <c:pt idx="29">
                  <c:v>44220</c:v>
                </c:pt>
                <c:pt idx="30">
                  <c:v>44221</c:v>
                </c:pt>
                <c:pt idx="31">
                  <c:v>44222</c:v>
                </c:pt>
                <c:pt idx="32">
                  <c:v>44223</c:v>
                </c:pt>
                <c:pt idx="33">
                  <c:v>44224</c:v>
                </c:pt>
                <c:pt idx="34">
                  <c:v>44225</c:v>
                </c:pt>
                <c:pt idx="35">
                  <c:v>44226</c:v>
                </c:pt>
                <c:pt idx="36">
                  <c:v>44227</c:v>
                </c:pt>
                <c:pt idx="37">
                  <c:v>44228</c:v>
                </c:pt>
                <c:pt idx="38">
                  <c:v>44229</c:v>
                </c:pt>
                <c:pt idx="39">
                  <c:v>44230</c:v>
                </c:pt>
                <c:pt idx="40">
                  <c:v>44231</c:v>
                </c:pt>
                <c:pt idx="41">
                  <c:v>44232</c:v>
                </c:pt>
                <c:pt idx="42">
                  <c:v>44233</c:v>
                </c:pt>
                <c:pt idx="43">
                  <c:v>44234</c:v>
                </c:pt>
                <c:pt idx="44">
                  <c:v>44235</c:v>
                </c:pt>
                <c:pt idx="45">
                  <c:v>44236</c:v>
                </c:pt>
                <c:pt idx="46">
                  <c:v>44237</c:v>
                </c:pt>
                <c:pt idx="47">
                  <c:v>44238</c:v>
                </c:pt>
                <c:pt idx="48">
                  <c:v>44239</c:v>
                </c:pt>
                <c:pt idx="49">
                  <c:v>44240</c:v>
                </c:pt>
                <c:pt idx="50">
                  <c:v>44241</c:v>
                </c:pt>
                <c:pt idx="51">
                  <c:v>44242</c:v>
                </c:pt>
                <c:pt idx="52">
                  <c:v>44243</c:v>
                </c:pt>
                <c:pt idx="53">
                  <c:v>44244</c:v>
                </c:pt>
                <c:pt idx="54">
                  <c:v>44245</c:v>
                </c:pt>
                <c:pt idx="55">
                  <c:v>44246</c:v>
                </c:pt>
                <c:pt idx="56">
                  <c:v>44247</c:v>
                </c:pt>
                <c:pt idx="57">
                  <c:v>44248</c:v>
                </c:pt>
                <c:pt idx="58">
                  <c:v>44249</c:v>
                </c:pt>
                <c:pt idx="59">
                  <c:v>44250</c:v>
                </c:pt>
                <c:pt idx="60">
                  <c:v>44251</c:v>
                </c:pt>
                <c:pt idx="61">
                  <c:v>44252</c:v>
                </c:pt>
                <c:pt idx="62">
                  <c:v>44253</c:v>
                </c:pt>
                <c:pt idx="63">
                  <c:v>44254</c:v>
                </c:pt>
                <c:pt idx="64">
                  <c:v>44255</c:v>
                </c:pt>
                <c:pt idx="65">
                  <c:v>44256</c:v>
                </c:pt>
                <c:pt idx="66">
                  <c:v>44257</c:v>
                </c:pt>
                <c:pt idx="67">
                  <c:v>44258</c:v>
                </c:pt>
                <c:pt idx="68">
                  <c:v>44259</c:v>
                </c:pt>
                <c:pt idx="69">
                  <c:v>44260</c:v>
                </c:pt>
                <c:pt idx="70">
                  <c:v>44261</c:v>
                </c:pt>
                <c:pt idx="71">
                  <c:v>44262</c:v>
                </c:pt>
                <c:pt idx="72">
                  <c:v>44263</c:v>
                </c:pt>
                <c:pt idx="73">
                  <c:v>44264</c:v>
                </c:pt>
                <c:pt idx="74">
                  <c:v>44265</c:v>
                </c:pt>
                <c:pt idx="75">
                  <c:v>44266</c:v>
                </c:pt>
                <c:pt idx="76">
                  <c:v>44267</c:v>
                </c:pt>
                <c:pt idx="77">
                  <c:v>44268</c:v>
                </c:pt>
                <c:pt idx="78">
                  <c:v>44269</c:v>
                </c:pt>
                <c:pt idx="79">
                  <c:v>44270</c:v>
                </c:pt>
                <c:pt idx="80">
                  <c:v>44271</c:v>
                </c:pt>
                <c:pt idx="81">
                  <c:v>44272</c:v>
                </c:pt>
                <c:pt idx="82">
                  <c:v>44273</c:v>
                </c:pt>
                <c:pt idx="83">
                  <c:v>44274</c:v>
                </c:pt>
                <c:pt idx="84">
                  <c:v>44275</c:v>
                </c:pt>
                <c:pt idx="85">
                  <c:v>44276</c:v>
                </c:pt>
                <c:pt idx="86">
                  <c:v>44277</c:v>
                </c:pt>
                <c:pt idx="87">
                  <c:v>44278</c:v>
                </c:pt>
                <c:pt idx="88">
                  <c:v>44279</c:v>
                </c:pt>
                <c:pt idx="89">
                  <c:v>44280</c:v>
                </c:pt>
                <c:pt idx="90">
                  <c:v>44281</c:v>
                </c:pt>
                <c:pt idx="91">
                  <c:v>44282</c:v>
                </c:pt>
                <c:pt idx="92">
                  <c:v>44283</c:v>
                </c:pt>
                <c:pt idx="93">
                  <c:v>44284</c:v>
                </c:pt>
                <c:pt idx="94">
                  <c:v>44285</c:v>
                </c:pt>
                <c:pt idx="95">
                  <c:v>44286</c:v>
                </c:pt>
                <c:pt idx="96">
                  <c:v>44287</c:v>
                </c:pt>
                <c:pt idx="97">
                  <c:v>44288</c:v>
                </c:pt>
                <c:pt idx="98">
                  <c:v>44289</c:v>
                </c:pt>
                <c:pt idx="99">
                  <c:v>44290</c:v>
                </c:pt>
                <c:pt idx="100">
                  <c:v>44291</c:v>
                </c:pt>
                <c:pt idx="101">
                  <c:v>44292</c:v>
                </c:pt>
                <c:pt idx="102">
                  <c:v>44293</c:v>
                </c:pt>
                <c:pt idx="103">
                  <c:v>44294</c:v>
                </c:pt>
                <c:pt idx="104">
                  <c:v>44295</c:v>
                </c:pt>
                <c:pt idx="105">
                  <c:v>44296</c:v>
                </c:pt>
                <c:pt idx="106">
                  <c:v>44297</c:v>
                </c:pt>
                <c:pt idx="107">
                  <c:v>44298</c:v>
                </c:pt>
                <c:pt idx="108">
                  <c:v>44299</c:v>
                </c:pt>
                <c:pt idx="109">
                  <c:v>44300</c:v>
                </c:pt>
                <c:pt idx="110">
                  <c:v>44301</c:v>
                </c:pt>
                <c:pt idx="111">
                  <c:v>44302</c:v>
                </c:pt>
                <c:pt idx="112">
                  <c:v>44303</c:v>
                </c:pt>
                <c:pt idx="113">
                  <c:v>44304</c:v>
                </c:pt>
                <c:pt idx="114">
                  <c:v>44305</c:v>
                </c:pt>
                <c:pt idx="115">
                  <c:v>44306</c:v>
                </c:pt>
                <c:pt idx="116">
                  <c:v>44307</c:v>
                </c:pt>
                <c:pt idx="117">
                  <c:v>44308</c:v>
                </c:pt>
                <c:pt idx="118">
                  <c:v>44309</c:v>
                </c:pt>
                <c:pt idx="119">
                  <c:v>44310</c:v>
                </c:pt>
                <c:pt idx="120">
                  <c:v>44311</c:v>
                </c:pt>
                <c:pt idx="121">
                  <c:v>44312</c:v>
                </c:pt>
                <c:pt idx="122">
                  <c:v>44313</c:v>
                </c:pt>
                <c:pt idx="123">
                  <c:v>44314</c:v>
                </c:pt>
                <c:pt idx="124">
                  <c:v>44315</c:v>
                </c:pt>
                <c:pt idx="125">
                  <c:v>44316</c:v>
                </c:pt>
                <c:pt idx="126">
                  <c:v>44317</c:v>
                </c:pt>
                <c:pt idx="127">
                  <c:v>44318</c:v>
                </c:pt>
                <c:pt idx="128">
                  <c:v>44319</c:v>
                </c:pt>
                <c:pt idx="129">
                  <c:v>44320</c:v>
                </c:pt>
                <c:pt idx="130">
                  <c:v>44321</c:v>
                </c:pt>
                <c:pt idx="131">
                  <c:v>44322</c:v>
                </c:pt>
                <c:pt idx="132">
                  <c:v>44323</c:v>
                </c:pt>
                <c:pt idx="133">
                  <c:v>44324</c:v>
                </c:pt>
                <c:pt idx="134">
                  <c:v>44325</c:v>
                </c:pt>
                <c:pt idx="135">
                  <c:v>44326</c:v>
                </c:pt>
                <c:pt idx="136">
                  <c:v>44327</c:v>
                </c:pt>
                <c:pt idx="137">
                  <c:v>44328</c:v>
                </c:pt>
                <c:pt idx="138">
                  <c:v>44329</c:v>
                </c:pt>
                <c:pt idx="139">
                  <c:v>44330</c:v>
                </c:pt>
                <c:pt idx="140">
                  <c:v>44331</c:v>
                </c:pt>
                <c:pt idx="141">
                  <c:v>44332</c:v>
                </c:pt>
                <c:pt idx="142">
                  <c:v>44333</c:v>
                </c:pt>
                <c:pt idx="143">
                  <c:v>44334</c:v>
                </c:pt>
                <c:pt idx="144">
                  <c:v>44335</c:v>
                </c:pt>
                <c:pt idx="145">
                  <c:v>44336</c:v>
                </c:pt>
                <c:pt idx="146">
                  <c:v>44337</c:v>
                </c:pt>
                <c:pt idx="147">
                  <c:v>44338</c:v>
                </c:pt>
                <c:pt idx="148">
                  <c:v>44339</c:v>
                </c:pt>
                <c:pt idx="149">
                  <c:v>44340</c:v>
                </c:pt>
                <c:pt idx="150">
                  <c:v>44341</c:v>
                </c:pt>
                <c:pt idx="151">
                  <c:v>44342</c:v>
                </c:pt>
                <c:pt idx="152">
                  <c:v>44343</c:v>
                </c:pt>
                <c:pt idx="153">
                  <c:v>44344</c:v>
                </c:pt>
                <c:pt idx="154">
                  <c:v>44345</c:v>
                </c:pt>
                <c:pt idx="155">
                  <c:v>44346</c:v>
                </c:pt>
                <c:pt idx="156">
                  <c:v>44347</c:v>
                </c:pt>
                <c:pt idx="157">
                  <c:v>44348</c:v>
                </c:pt>
                <c:pt idx="158">
                  <c:v>44349</c:v>
                </c:pt>
                <c:pt idx="159">
                  <c:v>44350</c:v>
                </c:pt>
                <c:pt idx="160">
                  <c:v>44351</c:v>
                </c:pt>
                <c:pt idx="161">
                  <c:v>44352</c:v>
                </c:pt>
                <c:pt idx="162">
                  <c:v>44353</c:v>
                </c:pt>
                <c:pt idx="163">
                  <c:v>44354</c:v>
                </c:pt>
                <c:pt idx="164">
                  <c:v>44355</c:v>
                </c:pt>
                <c:pt idx="165">
                  <c:v>44356</c:v>
                </c:pt>
                <c:pt idx="166">
                  <c:v>44357</c:v>
                </c:pt>
                <c:pt idx="167">
                  <c:v>44358</c:v>
                </c:pt>
                <c:pt idx="168">
                  <c:v>44359</c:v>
                </c:pt>
                <c:pt idx="169">
                  <c:v>44360</c:v>
                </c:pt>
                <c:pt idx="170">
                  <c:v>44361</c:v>
                </c:pt>
                <c:pt idx="171">
                  <c:v>44362</c:v>
                </c:pt>
                <c:pt idx="172">
                  <c:v>44363</c:v>
                </c:pt>
                <c:pt idx="173">
                  <c:v>44364</c:v>
                </c:pt>
                <c:pt idx="174">
                  <c:v>44365</c:v>
                </c:pt>
                <c:pt idx="175">
                  <c:v>44366</c:v>
                </c:pt>
                <c:pt idx="176">
                  <c:v>44367</c:v>
                </c:pt>
                <c:pt idx="177">
                  <c:v>44368</c:v>
                </c:pt>
                <c:pt idx="178">
                  <c:v>44369</c:v>
                </c:pt>
                <c:pt idx="179">
                  <c:v>44370</c:v>
                </c:pt>
                <c:pt idx="180">
                  <c:v>44371</c:v>
                </c:pt>
                <c:pt idx="181">
                  <c:v>44372</c:v>
                </c:pt>
                <c:pt idx="182">
                  <c:v>44373</c:v>
                </c:pt>
                <c:pt idx="183">
                  <c:v>44374</c:v>
                </c:pt>
                <c:pt idx="184">
                  <c:v>44375</c:v>
                </c:pt>
                <c:pt idx="185">
                  <c:v>44376</c:v>
                </c:pt>
                <c:pt idx="186">
                  <c:v>44377</c:v>
                </c:pt>
                <c:pt idx="187">
                  <c:v>44378</c:v>
                </c:pt>
                <c:pt idx="188">
                  <c:v>44379</c:v>
                </c:pt>
                <c:pt idx="189">
                  <c:v>44380</c:v>
                </c:pt>
                <c:pt idx="190">
                  <c:v>44381</c:v>
                </c:pt>
                <c:pt idx="191">
                  <c:v>44382</c:v>
                </c:pt>
                <c:pt idx="192">
                  <c:v>44383</c:v>
                </c:pt>
                <c:pt idx="193">
                  <c:v>44384</c:v>
                </c:pt>
                <c:pt idx="194">
                  <c:v>44385</c:v>
                </c:pt>
                <c:pt idx="195">
                  <c:v>44386</c:v>
                </c:pt>
                <c:pt idx="196">
                  <c:v>44387</c:v>
                </c:pt>
                <c:pt idx="197">
                  <c:v>44388</c:v>
                </c:pt>
                <c:pt idx="198">
                  <c:v>44389</c:v>
                </c:pt>
                <c:pt idx="199">
                  <c:v>44390</c:v>
                </c:pt>
                <c:pt idx="200">
                  <c:v>44391</c:v>
                </c:pt>
                <c:pt idx="201">
                  <c:v>44392</c:v>
                </c:pt>
                <c:pt idx="202">
                  <c:v>44393</c:v>
                </c:pt>
                <c:pt idx="203">
                  <c:v>44394</c:v>
                </c:pt>
                <c:pt idx="204">
                  <c:v>44395</c:v>
                </c:pt>
                <c:pt idx="205">
                  <c:v>44396</c:v>
                </c:pt>
                <c:pt idx="206">
                  <c:v>44397</c:v>
                </c:pt>
                <c:pt idx="207">
                  <c:v>44398</c:v>
                </c:pt>
                <c:pt idx="208">
                  <c:v>44399</c:v>
                </c:pt>
                <c:pt idx="209">
                  <c:v>44400</c:v>
                </c:pt>
                <c:pt idx="210">
                  <c:v>44401</c:v>
                </c:pt>
                <c:pt idx="211">
                  <c:v>44402</c:v>
                </c:pt>
                <c:pt idx="212">
                  <c:v>44403</c:v>
                </c:pt>
                <c:pt idx="213">
                  <c:v>44404</c:v>
                </c:pt>
                <c:pt idx="214">
                  <c:v>44405</c:v>
                </c:pt>
                <c:pt idx="215">
                  <c:v>44406</c:v>
                </c:pt>
                <c:pt idx="216">
                  <c:v>44407</c:v>
                </c:pt>
                <c:pt idx="217">
                  <c:v>44408</c:v>
                </c:pt>
                <c:pt idx="218">
                  <c:v>44409</c:v>
                </c:pt>
                <c:pt idx="219">
                  <c:v>44410</c:v>
                </c:pt>
                <c:pt idx="220">
                  <c:v>44411</c:v>
                </c:pt>
                <c:pt idx="221">
                  <c:v>44412</c:v>
                </c:pt>
                <c:pt idx="222">
                  <c:v>44413</c:v>
                </c:pt>
                <c:pt idx="223">
                  <c:v>44414</c:v>
                </c:pt>
                <c:pt idx="224">
                  <c:v>44415</c:v>
                </c:pt>
                <c:pt idx="225">
                  <c:v>44416</c:v>
                </c:pt>
                <c:pt idx="226">
                  <c:v>44417</c:v>
                </c:pt>
                <c:pt idx="227">
                  <c:v>44418</c:v>
                </c:pt>
                <c:pt idx="228">
                  <c:v>44419</c:v>
                </c:pt>
                <c:pt idx="229">
                  <c:v>44420</c:v>
                </c:pt>
                <c:pt idx="230">
                  <c:v>44421</c:v>
                </c:pt>
                <c:pt idx="231">
                  <c:v>44422</c:v>
                </c:pt>
                <c:pt idx="232">
                  <c:v>44423</c:v>
                </c:pt>
                <c:pt idx="233">
                  <c:v>44424</c:v>
                </c:pt>
                <c:pt idx="234">
                  <c:v>44425</c:v>
                </c:pt>
                <c:pt idx="235">
                  <c:v>44426</c:v>
                </c:pt>
                <c:pt idx="236">
                  <c:v>44427</c:v>
                </c:pt>
                <c:pt idx="237">
                  <c:v>44428</c:v>
                </c:pt>
                <c:pt idx="238">
                  <c:v>44429</c:v>
                </c:pt>
                <c:pt idx="239">
                  <c:v>44430</c:v>
                </c:pt>
                <c:pt idx="240">
                  <c:v>44431</c:v>
                </c:pt>
                <c:pt idx="241">
                  <c:v>44432</c:v>
                </c:pt>
                <c:pt idx="242">
                  <c:v>44433</c:v>
                </c:pt>
                <c:pt idx="243">
                  <c:v>44434</c:v>
                </c:pt>
                <c:pt idx="244">
                  <c:v>44435</c:v>
                </c:pt>
                <c:pt idx="245">
                  <c:v>44436</c:v>
                </c:pt>
                <c:pt idx="246">
                  <c:v>44437</c:v>
                </c:pt>
                <c:pt idx="247">
                  <c:v>44438</c:v>
                </c:pt>
                <c:pt idx="248">
                  <c:v>44439</c:v>
                </c:pt>
                <c:pt idx="249">
                  <c:v>44440</c:v>
                </c:pt>
                <c:pt idx="250">
                  <c:v>44441</c:v>
                </c:pt>
                <c:pt idx="251">
                  <c:v>44442</c:v>
                </c:pt>
                <c:pt idx="252">
                  <c:v>44443</c:v>
                </c:pt>
                <c:pt idx="253">
                  <c:v>44444</c:v>
                </c:pt>
                <c:pt idx="254">
                  <c:v>44445</c:v>
                </c:pt>
                <c:pt idx="255">
                  <c:v>44446</c:v>
                </c:pt>
                <c:pt idx="256">
                  <c:v>44447</c:v>
                </c:pt>
                <c:pt idx="257">
                  <c:v>44448</c:v>
                </c:pt>
                <c:pt idx="258">
                  <c:v>44449</c:v>
                </c:pt>
                <c:pt idx="259">
                  <c:v>44450</c:v>
                </c:pt>
                <c:pt idx="260">
                  <c:v>44451</c:v>
                </c:pt>
                <c:pt idx="261">
                  <c:v>44452</c:v>
                </c:pt>
                <c:pt idx="262">
                  <c:v>44453</c:v>
                </c:pt>
                <c:pt idx="263">
                  <c:v>44454</c:v>
                </c:pt>
                <c:pt idx="264">
                  <c:v>44455</c:v>
                </c:pt>
                <c:pt idx="265">
                  <c:v>44456</c:v>
                </c:pt>
                <c:pt idx="266">
                  <c:v>44457</c:v>
                </c:pt>
                <c:pt idx="267">
                  <c:v>44458</c:v>
                </c:pt>
                <c:pt idx="268">
                  <c:v>44459</c:v>
                </c:pt>
                <c:pt idx="269">
                  <c:v>44460</c:v>
                </c:pt>
                <c:pt idx="270">
                  <c:v>44461</c:v>
                </c:pt>
                <c:pt idx="271">
                  <c:v>44462</c:v>
                </c:pt>
                <c:pt idx="272">
                  <c:v>44463</c:v>
                </c:pt>
                <c:pt idx="273">
                  <c:v>44464</c:v>
                </c:pt>
                <c:pt idx="274">
                  <c:v>44465</c:v>
                </c:pt>
                <c:pt idx="275">
                  <c:v>44466</c:v>
                </c:pt>
                <c:pt idx="276">
                  <c:v>44467</c:v>
                </c:pt>
                <c:pt idx="277">
                  <c:v>44468</c:v>
                </c:pt>
                <c:pt idx="278">
                  <c:v>44469</c:v>
                </c:pt>
                <c:pt idx="279">
                  <c:v>44470</c:v>
                </c:pt>
                <c:pt idx="280">
                  <c:v>44471</c:v>
                </c:pt>
                <c:pt idx="281">
                  <c:v>44472</c:v>
                </c:pt>
                <c:pt idx="282">
                  <c:v>44473</c:v>
                </c:pt>
                <c:pt idx="283">
                  <c:v>44474</c:v>
                </c:pt>
                <c:pt idx="284">
                  <c:v>44475</c:v>
                </c:pt>
                <c:pt idx="285">
                  <c:v>44476</c:v>
                </c:pt>
                <c:pt idx="286">
                  <c:v>44477</c:v>
                </c:pt>
                <c:pt idx="287">
                  <c:v>44478</c:v>
                </c:pt>
                <c:pt idx="288">
                  <c:v>44479</c:v>
                </c:pt>
                <c:pt idx="289">
                  <c:v>44480</c:v>
                </c:pt>
                <c:pt idx="290">
                  <c:v>44481</c:v>
                </c:pt>
                <c:pt idx="291">
                  <c:v>44482</c:v>
                </c:pt>
                <c:pt idx="292">
                  <c:v>44483</c:v>
                </c:pt>
                <c:pt idx="293">
                  <c:v>44484</c:v>
                </c:pt>
                <c:pt idx="294">
                  <c:v>44485</c:v>
                </c:pt>
                <c:pt idx="295">
                  <c:v>44486</c:v>
                </c:pt>
                <c:pt idx="296">
                  <c:v>44487</c:v>
                </c:pt>
                <c:pt idx="297">
                  <c:v>44488</c:v>
                </c:pt>
                <c:pt idx="298">
                  <c:v>44489</c:v>
                </c:pt>
                <c:pt idx="299">
                  <c:v>44490</c:v>
                </c:pt>
                <c:pt idx="300">
                  <c:v>44491</c:v>
                </c:pt>
                <c:pt idx="301">
                  <c:v>44492</c:v>
                </c:pt>
                <c:pt idx="302">
                  <c:v>44493</c:v>
                </c:pt>
                <c:pt idx="303">
                  <c:v>44494</c:v>
                </c:pt>
                <c:pt idx="304">
                  <c:v>44495</c:v>
                </c:pt>
                <c:pt idx="305">
                  <c:v>44496</c:v>
                </c:pt>
                <c:pt idx="306">
                  <c:v>44497</c:v>
                </c:pt>
                <c:pt idx="307">
                  <c:v>44498</c:v>
                </c:pt>
                <c:pt idx="308">
                  <c:v>44499</c:v>
                </c:pt>
                <c:pt idx="309">
                  <c:v>44500</c:v>
                </c:pt>
                <c:pt idx="310">
                  <c:v>44501</c:v>
                </c:pt>
                <c:pt idx="311">
                  <c:v>44502</c:v>
                </c:pt>
                <c:pt idx="312">
                  <c:v>44503</c:v>
                </c:pt>
                <c:pt idx="313">
                  <c:v>44504</c:v>
                </c:pt>
                <c:pt idx="314">
                  <c:v>44505</c:v>
                </c:pt>
                <c:pt idx="315">
                  <c:v>44506</c:v>
                </c:pt>
                <c:pt idx="316">
                  <c:v>44507</c:v>
                </c:pt>
                <c:pt idx="317">
                  <c:v>44508</c:v>
                </c:pt>
                <c:pt idx="318">
                  <c:v>44509</c:v>
                </c:pt>
                <c:pt idx="319">
                  <c:v>44510</c:v>
                </c:pt>
                <c:pt idx="320">
                  <c:v>44511</c:v>
                </c:pt>
                <c:pt idx="321">
                  <c:v>44512</c:v>
                </c:pt>
                <c:pt idx="322">
                  <c:v>44513</c:v>
                </c:pt>
                <c:pt idx="323">
                  <c:v>44514</c:v>
                </c:pt>
                <c:pt idx="324">
                  <c:v>44515</c:v>
                </c:pt>
                <c:pt idx="325">
                  <c:v>44516</c:v>
                </c:pt>
                <c:pt idx="326">
                  <c:v>44517</c:v>
                </c:pt>
                <c:pt idx="327">
                  <c:v>44518</c:v>
                </c:pt>
                <c:pt idx="328">
                  <c:v>44519</c:v>
                </c:pt>
                <c:pt idx="329">
                  <c:v>44520</c:v>
                </c:pt>
                <c:pt idx="330">
                  <c:v>44521</c:v>
                </c:pt>
                <c:pt idx="331">
                  <c:v>44522</c:v>
                </c:pt>
                <c:pt idx="332">
                  <c:v>44523</c:v>
                </c:pt>
                <c:pt idx="333">
                  <c:v>44524</c:v>
                </c:pt>
                <c:pt idx="334">
                  <c:v>44525</c:v>
                </c:pt>
                <c:pt idx="335">
                  <c:v>44526</c:v>
                </c:pt>
                <c:pt idx="336">
                  <c:v>44527</c:v>
                </c:pt>
                <c:pt idx="337">
                  <c:v>44528</c:v>
                </c:pt>
                <c:pt idx="338">
                  <c:v>44529</c:v>
                </c:pt>
                <c:pt idx="339">
                  <c:v>44530</c:v>
                </c:pt>
                <c:pt idx="340">
                  <c:v>44531</c:v>
                </c:pt>
                <c:pt idx="341">
                  <c:v>44532</c:v>
                </c:pt>
                <c:pt idx="342">
                  <c:v>44533</c:v>
                </c:pt>
                <c:pt idx="343">
                  <c:v>44534</c:v>
                </c:pt>
                <c:pt idx="344">
                  <c:v>44535</c:v>
                </c:pt>
                <c:pt idx="345">
                  <c:v>44536</c:v>
                </c:pt>
                <c:pt idx="346">
                  <c:v>44537</c:v>
                </c:pt>
                <c:pt idx="347">
                  <c:v>44538</c:v>
                </c:pt>
                <c:pt idx="348">
                  <c:v>44539</c:v>
                </c:pt>
                <c:pt idx="349">
                  <c:v>44540</c:v>
                </c:pt>
                <c:pt idx="350">
                  <c:v>44541</c:v>
                </c:pt>
                <c:pt idx="351">
                  <c:v>44542</c:v>
                </c:pt>
                <c:pt idx="352">
                  <c:v>44543</c:v>
                </c:pt>
                <c:pt idx="353">
                  <c:v>44544</c:v>
                </c:pt>
                <c:pt idx="354">
                  <c:v>44545</c:v>
                </c:pt>
                <c:pt idx="355">
                  <c:v>44546</c:v>
                </c:pt>
                <c:pt idx="356">
                  <c:v>44547</c:v>
                </c:pt>
                <c:pt idx="357">
                  <c:v>44548</c:v>
                </c:pt>
                <c:pt idx="358">
                  <c:v>44549</c:v>
                </c:pt>
                <c:pt idx="359">
                  <c:v>44550</c:v>
                </c:pt>
                <c:pt idx="360">
                  <c:v>44551</c:v>
                </c:pt>
                <c:pt idx="361">
                  <c:v>44552</c:v>
                </c:pt>
                <c:pt idx="362">
                  <c:v>44553</c:v>
                </c:pt>
                <c:pt idx="363">
                  <c:v>44554</c:v>
                </c:pt>
                <c:pt idx="364">
                  <c:v>44555</c:v>
                </c:pt>
                <c:pt idx="365">
                  <c:v>44556</c:v>
                </c:pt>
                <c:pt idx="366">
                  <c:v>44557</c:v>
                </c:pt>
                <c:pt idx="367">
                  <c:v>44558</c:v>
                </c:pt>
                <c:pt idx="368">
                  <c:v>44559</c:v>
                </c:pt>
                <c:pt idx="369">
                  <c:v>44560</c:v>
                </c:pt>
                <c:pt idx="370">
                  <c:v>44561</c:v>
                </c:pt>
                <c:pt idx="371">
                  <c:v>44562</c:v>
                </c:pt>
                <c:pt idx="372">
                  <c:v>44563</c:v>
                </c:pt>
                <c:pt idx="373">
                  <c:v>44564</c:v>
                </c:pt>
                <c:pt idx="374">
                  <c:v>44565</c:v>
                </c:pt>
                <c:pt idx="375">
                  <c:v>44566</c:v>
                </c:pt>
                <c:pt idx="376">
                  <c:v>44567</c:v>
                </c:pt>
                <c:pt idx="377">
                  <c:v>44568</c:v>
                </c:pt>
                <c:pt idx="378">
                  <c:v>44569</c:v>
                </c:pt>
                <c:pt idx="379">
                  <c:v>44570</c:v>
                </c:pt>
                <c:pt idx="380">
                  <c:v>44571</c:v>
                </c:pt>
                <c:pt idx="381">
                  <c:v>44572</c:v>
                </c:pt>
                <c:pt idx="382">
                  <c:v>44573</c:v>
                </c:pt>
                <c:pt idx="383">
                  <c:v>44574</c:v>
                </c:pt>
                <c:pt idx="384">
                  <c:v>44575</c:v>
                </c:pt>
                <c:pt idx="385">
                  <c:v>44576</c:v>
                </c:pt>
              </c:numCache>
            </c:numRef>
          </c:cat>
          <c:val>
            <c:numRef>
              <c:f>List1!$C$2:$C$387</c:f>
              <c:numCache>
                <c:formatCode>General</c:formatCode>
                <c:ptCount val="38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5.1639555899809997</c:v>
                </c:pt>
                <c:pt idx="57">
                  <c:v>0</c:v>
                </c:pt>
                <c:pt idx="58">
                  <c:v>0</c:v>
                </c:pt>
                <c:pt idx="59">
                  <c:v>3.1483172244430002</c:v>
                </c:pt>
                <c:pt idx="60">
                  <c:v>0</c:v>
                </c:pt>
                <c:pt idx="61">
                  <c:v>2.0376558806739999</c:v>
                </c:pt>
                <c:pt idx="62">
                  <c:v>0</c:v>
                </c:pt>
                <c:pt idx="63">
                  <c:v>1.650001650001</c:v>
                </c:pt>
                <c:pt idx="64">
                  <c:v>0</c:v>
                </c:pt>
                <c:pt idx="65">
                  <c:v>0</c:v>
                </c:pt>
                <c:pt idx="66">
                  <c:v>0</c:v>
                </c:pt>
                <c:pt idx="67">
                  <c:v>0</c:v>
                </c:pt>
                <c:pt idx="68">
                  <c:v>0</c:v>
                </c:pt>
                <c:pt idx="69">
                  <c:v>0</c:v>
                </c:pt>
                <c:pt idx="70">
                  <c:v>0</c:v>
                </c:pt>
                <c:pt idx="71">
                  <c:v>0</c:v>
                </c:pt>
                <c:pt idx="72">
                  <c:v>1.0488666995310001</c:v>
                </c:pt>
                <c:pt idx="73">
                  <c:v>0</c:v>
                </c:pt>
                <c:pt idx="74">
                  <c:v>0</c:v>
                </c:pt>
                <c:pt idx="75">
                  <c:v>0</c:v>
                </c:pt>
                <c:pt idx="76">
                  <c:v>0.89411848858200005</c:v>
                </c:pt>
                <c:pt idx="77">
                  <c:v>2.6706072960989999</c:v>
                </c:pt>
                <c:pt idx="78">
                  <c:v>0</c:v>
                </c:pt>
                <c:pt idx="79">
                  <c:v>1.7347407863569999</c:v>
                </c:pt>
                <c:pt idx="80">
                  <c:v>0</c:v>
                </c:pt>
                <c:pt idx="81">
                  <c:v>0.82880941527399998</c:v>
                </c:pt>
                <c:pt idx="82">
                  <c:v>0</c:v>
                </c:pt>
                <c:pt idx="83">
                  <c:v>0.783171216891</c:v>
                </c:pt>
                <c:pt idx="84">
                  <c:v>0</c:v>
                </c:pt>
                <c:pt idx="85">
                  <c:v>1.547568383177</c:v>
                </c:pt>
                <c:pt idx="86">
                  <c:v>0.75324460111900005</c:v>
                </c:pt>
                <c:pt idx="87">
                  <c:v>2.1843599825250002</c:v>
                </c:pt>
                <c:pt idx="88">
                  <c:v>0</c:v>
                </c:pt>
                <c:pt idx="89">
                  <c:v>2.0373099359600002</c:v>
                </c:pt>
                <c:pt idx="90">
                  <c:v>0.65523500003199997</c:v>
                </c:pt>
                <c:pt idx="91">
                  <c:v>0</c:v>
                </c:pt>
                <c:pt idx="92">
                  <c:v>0.64748387765100002</c:v>
                </c:pt>
                <c:pt idx="93">
                  <c:v>0</c:v>
                </c:pt>
                <c:pt idx="94">
                  <c:v>1.1890677114599999</c:v>
                </c:pt>
                <c:pt idx="95">
                  <c:v>0</c:v>
                </c:pt>
                <c:pt idx="96">
                  <c:v>0.54274967841999999</c:v>
                </c:pt>
                <c:pt idx="97">
                  <c:v>0.51655027067199999</c:v>
                </c:pt>
                <c:pt idx="98">
                  <c:v>0</c:v>
                </c:pt>
                <c:pt idx="99">
                  <c:v>0.50927387730499996</c:v>
                </c:pt>
                <c:pt idx="100">
                  <c:v>0</c:v>
                </c:pt>
                <c:pt idx="101">
                  <c:v>0.94142456364899996</c:v>
                </c:pt>
                <c:pt idx="102">
                  <c:v>0</c:v>
                </c:pt>
                <c:pt idx="103">
                  <c:v>0.426976366858</c:v>
                </c:pt>
                <c:pt idx="104">
                  <c:v>0.40787359181600003</c:v>
                </c:pt>
                <c:pt idx="105">
                  <c:v>1.207209454864</c:v>
                </c:pt>
                <c:pt idx="106">
                  <c:v>0.39792125934099998</c:v>
                </c:pt>
                <c:pt idx="107">
                  <c:v>0.37802038285900003</c:v>
                </c:pt>
                <c:pt idx="108">
                  <c:v>0</c:v>
                </c:pt>
                <c:pt idx="109">
                  <c:v>0.67498928454499996</c:v>
                </c:pt>
                <c:pt idx="110">
                  <c:v>0.31461282172999999</c:v>
                </c:pt>
                <c:pt idx="111">
                  <c:v>0.61183409506599995</c:v>
                </c:pt>
                <c:pt idx="112">
                  <c:v>0.29914593834600001</c:v>
                </c:pt>
                <c:pt idx="113">
                  <c:v>0.58766664022100001</c:v>
                </c:pt>
                <c:pt idx="114">
                  <c:v>0.86901106540700002</c:v>
                </c:pt>
                <c:pt idx="115">
                  <c:v>0</c:v>
                </c:pt>
                <c:pt idx="116">
                  <c:v>0</c:v>
                </c:pt>
                <c:pt idx="117">
                  <c:v>0.99798158224900002</c:v>
                </c:pt>
                <c:pt idx="118">
                  <c:v>0.23766348276800001</c:v>
                </c:pt>
                <c:pt idx="119">
                  <c:v>0</c:v>
                </c:pt>
                <c:pt idx="120">
                  <c:v>0.68230975498199997</c:v>
                </c:pt>
                <c:pt idx="121">
                  <c:v>0.65537814226500002</c:v>
                </c:pt>
                <c:pt idx="122">
                  <c:v>0</c:v>
                </c:pt>
                <c:pt idx="123">
                  <c:v>0.20209205697300001</c:v>
                </c:pt>
                <c:pt idx="124">
                  <c:v>0</c:v>
                </c:pt>
                <c:pt idx="125">
                  <c:v>0.56764642439500002</c:v>
                </c:pt>
                <c:pt idx="126">
                  <c:v>0</c:v>
                </c:pt>
                <c:pt idx="127">
                  <c:v>0.371949087608</c:v>
                </c:pt>
                <c:pt idx="128">
                  <c:v>0.18234698808300001</c:v>
                </c:pt>
                <c:pt idx="129">
                  <c:v>0.35752911627700001</c:v>
                </c:pt>
                <c:pt idx="130">
                  <c:v>0.17578955880300001</c:v>
                </c:pt>
                <c:pt idx="131">
                  <c:v>0.51753851780399995</c:v>
                </c:pt>
                <c:pt idx="132">
                  <c:v>0.17049687905399999</c:v>
                </c:pt>
                <c:pt idx="133">
                  <c:v>0</c:v>
                </c:pt>
                <c:pt idx="134">
                  <c:v>0</c:v>
                </c:pt>
                <c:pt idx="135">
                  <c:v>0.16741389066500001</c:v>
                </c:pt>
                <c:pt idx="136">
                  <c:v>0.330616765576</c:v>
                </c:pt>
                <c:pt idx="137">
                  <c:v>0</c:v>
                </c:pt>
                <c:pt idx="138">
                  <c:v>0</c:v>
                </c:pt>
                <c:pt idx="139">
                  <c:v>0.15912569975499999</c:v>
                </c:pt>
                <c:pt idx="140">
                  <c:v>0</c:v>
                </c:pt>
                <c:pt idx="141">
                  <c:v>0</c:v>
                </c:pt>
                <c:pt idx="142">
                  <c:v>0.15746047741999999</c:v>
                </c:pt>
                <c:pt idx="143">
                  <c:v>0</c:v>
                </c:pt>
                <c:pt idx="144">
                  <c:v>0</c:v>
                </c:pt>
                <c:pt idx="145">
                  <c:v>0</c:v>
                </c:pt>
                <c:pt idx="146">
                  <c:v>0.151651637989</c:v>
                </c:pt>
                <c:pt idx="147">
                  <c:v>0</c:v>
                </c:pt>
                <c:pt idx="148">
                  <c:v>0.151278377932</c:v>
                </c:pt>
                <c:pt idx="149">
                  <c:v>0</c:v>
                </c:pt>
                <c:pt idx="150">
                  <c:v>0.14891101375599999</c:v>
                </c:pt>
                <c:pt idx="151">
                  <c:v>0.14758099983100001</c:v>
                </c:pt>
                <c:pt idx="152">
                  <c:v>0.29259272263300001</c:v>
                </c:pt>
                <c:pt idx="153">
                  <c:v>0</c:v>
                </c:pt>
                <c:pt idx="154">
                  <c:v>0</c:v>
                </c:pt>
                <c:pt idx="155">
                  <c:v>0.28991389557300001</c:v>
                </c:pt>
                <c:pt idx="156">
                  <c:v>0.14411132311399999</c:v>
                </c:pt>
                <c:pt idx="157">
                  <c:v>0</c:v>
                </c:pt>
                <c:pt idx="158">
                  <c:v>0.14045693449900001</c:v>
                </c:pt>
                <c:pt idx="159">
                  <c:v>0.13690472115899999</c:v>
                </c:pt>
                <c:pt idx="160">
                  <c:v>0</c:v>
                </c:pt>
                <c:pt idx="161">
                  <c:v>0</c:v>
                </c:pt>
                <c:pt idx="162">
                  <c:v>0.13157860110799999</c:v>
                </c:pt>
                <c:pt idx="163">
                  <c:v>0</c:v>
                </c:pt>
                <c:pt idx="164">
                  <c:v>0</c:v>
                </c:pt>
                <c:pt idx="165">
                  <c:v>0</c:v>
                </c:pt>
                <c:pt idx="166">
                  <c:v>0</c:v>
                </c:pt>
                <c:pt idx="168">
                  <c:v>0</c:v>
                </c:pt>
                <c:pt idx="170">
                  <c:v>0</c:v>
                </c:pt>
                <c:pt idx="172">
                  <c:v>0</c:v>
                </c:pt>
                <c:pt idx="173">
                  <c:v>0</c:v>
                </c:pt>
                <c:pt idx="174">
                  <c:v>9.3217060586000003E-2</c:v>
                </c:pt>
                <c:pt idx="176">
                  <c:v>9.1402665300999997E-2</c:v>
                </c:pt>
                <c:pt idx="180">
                  <c:v>0</c:v>
                </c:pt>
                <c:pt idx="181">
                  <c:v>0</c:v>
                </c:pt>
                <c:pt idx="184">
                  <c:v>0</c:v>
                </c:pt>
                <c:pt idx="185">
                  <c:v>0</c:v>
                </c:pt>
                <c:pt idx="187">
                  <c:v>0</c:v>
                </c:pt>
                <c:pt idx="193">
                  <c:v>0</c:v>
                </c:pt>
                <c:pt idx="194">
                  <c:v>0</c:v>
                </c:pt>
                <c:pt idx="196">
                  <c:v>0</c:v>
                </c:pt>
                <c:pt idx="198">
                  <c:v>0</c:v>
                </c:pt>
                <c:pt idx="200">
                  <c:v>6.3942748219999998E-2</c:v>
                </c:pt>
                <c:pt idx="202">
                  <c:v>6.2781851272999997E-2</c:v>
                </c:pt>
                <c:pt idx="205">
                  <c:v>0</c:v>
                </c:pt>
                <c:pt idx="206">
                  <c:v>0</c:v>
                </c:pt>
                <c:pt idx="207">
                  <c:v>6.1948081313000003E-2</c:v>
                </c:pt>
                <c:pt idx="209">
                  <c:v>6.1152841130000003E-2</c:v>
                </c:pt>
                <c:pt idx="212">
                  <c:v>0</c:v>
                </c:pt>
                <c:pt idx="213">
                  <c:v>0</c:v>
                </c:pt>
                <c:pt idx="214">
                  <c:v>0</c:v>
                </c:pt>
                <c:pt idx="215">
                  <c:v>5.958960638E-2</c:v>
                </c:pt>
                <c:pt idx="216">
                  <c:v>0</c:v>
                </c:pt>
                <c:pt idx="217">
                  <c:v>0.11856102484100001</c:v>
                </c:pt>
                <c:pt idx="219">
                  <c:v>0</c:v>
                </c:pt>
                <c:pt idx="221">
                  <c:v>0</c:v>
                </c:pt>
                <c:pt idx="223">
                  <c:v>5.8140920801000001E-2</c:v>
                </c:pt>
                <c:pt idx="224">
                  <c:v>0</c:v>
                </c:pt>
                <c:pt idx="225">
                  <c:v>5.8077439295999997E-2</c:v>
                </c:pt>
                <c:pt idx="227">
                  <c:v>0.115533609304</c:v>
                </c:pt>
                <c:pt idx="228">
                  <c:v>0</c:v>
                </c:pt>
                <c:pt idx="229">
                  <c:v>0</c:v>
                </c:pt>
                <c:pt idx="230">
                  <c:v>0</c:v>
                </c:pt>
                <c:pt idx="231">
                  <c:v>0</c:v>
                </c:pt>
                <c:pt idx="232">
                  <c:v>0</c:v>
                </c:pt>
                <c:pt idx="233">
                  <c:v>0</c:v>
                </c:pt>
                <c:pt idx="234">
                  <c:v>0</c:v>
                </c:pt>
                <c:pt idx="235">
                  <c:v>0</c:v>
                </c:pt>
                <c:pt idx="236">
                  <c:v>0.17056308559899999</c:v>
                </c:pt>
                <c:pt idx="237">
                  <c:v>0.113526127186</c:v>
                </c:pt>
                <c:pt idx="240">
                  <c:v>0</c:v>
                </c:pt>
                <c:pt idx="241">
                  <c:v>5.6502570018999998E-2</c:v>
                </c:pt>
                <c:pt idx="242">
                  <c:v>0</c:v>
                </c:pt>
                <c:pt idx="243">
                  <c:v>0</c:v>
                </c:pt>
                <c:pt idx="244">
                  <c:v>5.6197771196000001E-2</c:v>
                </c:pt>
                <c:pt idx="248">
                  <c:v>0</c:v>
                </c:pt>
                <c:pt idx="249">
                  <c:v>0</c:v>
                </c:pt>
                <c:pt idx="250">
                  <c:v>0</c:v>
                </c:pt>
                <c:pt idx="251">
                  <c:v>5.5733065367999997E-2</c:v>
                </c:pt>
                <c:pt idx="253">
                  <c:v>0</c:v>
                </c:pt>
                <c:pt idx="254">
                  <c:v>0</c:v>
                </c:pt>
                <c:pt idx="255">
                  <c:v>5.5532910467999998E-2</c:v>
                </c:pt>
                <c:pt idx="257">
                  <c:v>5.5393284006999999E-2</c:v>
                </c:pt>
                <c:pt idx="258">
                  <c:v>5.5344722908000001E-2</c:v>
                </c:pt>
                <c:pt idx="259">
                  <c:v>5.5334218679999998E-2</c:v>
                </c:pt>
                <c:pt idx="260">
                  <c:v>5.5327207873000002E-2</c:v>
                </c:pt>
                <c:pt idx="261">
                  <c:v>0.16584893925700001</c:v>
                </c:pt>
                <c:pt idx="262">
                  <c:v>0.11047910922900001</c:v>
                </c:pt>
                <c:pt idx="263">
                  <c:v>5.5205399970999998E-2</c:v>
                </c:pt>
                <c:pt idx="264">
                  <c:v>5.5170191766E-2</c:v>
                </c:pt>
                <c:pt idx="265">
                  <c:v>0.16542560700100001</c:v>
                </c:pt>
                <c:pt idx="266">
                  <c:v>5.5136487618000003E-2</c:v>
                </c:pt>
                <c:pt idx="267">
                  <c:v>5.5132414275E-2</c:v>
                </c:pt>
                <c:pt idx="268">
                  <c:v>0.11021269396699999</c:v>
                </c:pt>
                <c:pt idx="269">
                  <c:v>0.110157453556</c:v>
                </c:pt>
                <c:pt idx="271">
                  <c:v>0.11005616165900001</c:v>
                </c:pt>
                <c:pt idx="272">
                  <c:v>5.5004048297000001E-2</c:v>
                </c:pt>
                <c:pt idx="273">
                  <c:v>0.10999890001</c:v>
                </c:pt>
                <c:pt idx="274">
                  <c:v>0</c:v>
                </c:pt>
                <c:pt idx="275">
                  <c:v>0</c:v>
                </c:pt>
                <c:pt idx="276">
                  <c:v>0</c:v>
                </c:pt>
                <c:pt idx="277">
                  <c:v>5.4925559388999998E-2</c:v>
                </c:pt>
                <c:pt idx="278">
                  <c:v>0.16470837558500001</c:v>
                </c:pt>
                <c:pt idx="279">
                  <c:v>5.4879079435999997E-2</c:v>
                </c:pt>
                <c:pt idx="280">
                  <c:v>5.4874833248999999E-2</c:v>
                </c:pt>
                <c:pt idx="281">
                  <c:v>0.16461817637000001</c:v>
                </c:pt>
                <c:pt idx="282">
                  <c:v>0.109713122128</c:v>
                </c:pt>
                <c:pt idx="283">
                  <c:v>0.27420383545299998</c:v>
                </c:pt>
                <c:pt idx="284">
                  <c:v>0.43862150034800002</c:v>
                </c:pt>
                <c:pt idx="285">
                  <c:v>0</c:v>
                </c:pt>
                <c:pt idx="286">
                  <c:v>5.4805361497999999E-2</c:v>
                </c:pt>
                <c:pt idx="287">
                  <c:v>0.109605196601</c:v>
                </c:pt>
                <c:pt idx="288">
                  <c:v>0.164404281087</c:v>
                </c:pt>
                <c:pt idx="289">
                  <c:v>0.43833358720100002</c:v>
                </c:pt>
                <c:pt idx="290">
                  <c:v>0.109582075879</c:v>
                </c:pt>
                <c:pt idx="291">
                  <c:v>0.16432485490099999</c:v>
                </c:pt>
                <c:pt idx="292">
                  <c:v>0.38332996550499998</c:v>
                </c:pt>
                <c:pt idx="293">
                  <c:v>0.109502579059</c:v>
                </c:pt>
                <c:pt idx="294">
                  <c:v>0.109498622233</c:v>
                </c:pt>
                <c:pt idx="295">
                  <c:v>0.109497423251</c:v>
                </c:pt>
                <c:pt idx="296">
                  <c:v>0.71171805453500003</c:v>
                </c:pt>
                <c:pt idx="297">
                  <c:v>0.16425980425700001</c:v>
                </c:pt>
                <c:pt idx="298">
                  <c:v>0.49287791413999998</c:v>
                </c:pt>
                <c:pt idx="299">
                  <c:v>0.38338350180199998</c:v>
                </c:pt>
                <c:pt idx="300">
                  <c:v>0.54781433038399996</c:v>
                </c:pt>
                <c:pt idx="301">
                  <c:v>0.27392802376800002</c:v>
                </c:pt>
                <c:pt idx="302">
                  <c:v>0.43830500878500001</c:v>
                </c:pt>
                <c:pt idx="303">
                  <c:v>0.32884640680400001</c:v>
                </c:pt>
                <c:pt idx="304">
                  <c:v>0.76779473994699998</c:v>
                </c:pt>
                <c:pt idx="305">
                  <c:v>0.76859055863299997</c:v>
                </c:pt>
                <c:pt idx="306">
                  <c:v>0.38467435392499999</c:v>
                </c:pt>
                <c:pt idx="307">
                  <c:v>0.93510173906899996</c:v>
                </c:pt>
                <c:pt idx="308">
                  <c:v>0.605256931567</c:v>
                </c:pt>
                <c:pt idx="309">
                  <c:v>0.66038857263600004</c:v>
                </c:pt>
                <c:pt idx="310">
                  <c:v>1.103331398825</c:v>
                </c:pt>
                <c:pt idx="311">
                  <c:v>0.99706751365699997</c:v>
                </c:pt>
                <c:pt idx="312">
                  <c:v>0.61290009839799997</c:v>
                </c:pt>
                <c:pt idx="313">
                  <c:v>0.841428813439</c:v>
                </c:pt>
                <c:pt idx="314">
                  <c:v>0.79062633418100003</c:v>
                </c:pt>
                <c:pt idx="315">
                  <c:v>1.130986950107</c:v>
                </c:pt>
                <c:pt idx="316">
                  <c:v>0.735852249924</c:v>
                </c:pt>
                <c:pt idx="317">
                  <c:v>1.4265685263600001</c:v>
                </c:pt>
                <c:pt idx="318">
                  <c:v>1.2096418826399999</c:v>
                </c:pt>
                <c:pt idx="319">
                  <c:v>1.1056745545869999</c:v>
                </c:pt>
                <c:pt idx="320">
                  <c:v>0.99100054913000002</c:v>
                </c:pt>
                <c:pt idx="321">
                  <c:v>1.4684494818130001</c:v>
                </c:pt>
                <c:pt idx="322">
                  <c:v>1.41200723889</c:v>
                </c:pt>
                <c:pt idx="323">
                  <c:v>1.2963473645250001</c:v>
                </c:pt>
                <c:pt idx="324">
                  <c:v>1.3089674983370001</c:v>
                </c:pt>
                <c:pt idx="325">
                  <c:v>1.4440989304039999</c:v>
                </c:pt>
                <c:pt idx="326">
                  <c:v>2.1960901055769999</c:v>
                </c:pt>
                <c:pt idx="327">
                  <c:v>1.6696194195280001</c:v>
                </c:pt>
                <c:pt idx="328">
                  <c:v>1.877468871566</c:v>
                </c:pt>
                <c:pt idx="329">
                  <c:v>2.1969454925259999</c:v>
                </c:pt>
                <c:pt idx="330">
                  <c:v>1.8870796687289999</c:v>
                </c:pt>
                <c:pt idx="331">
                  <c:v>2.3552822296499998</c:v>
                </c:pt>
                <c:pt idx="332">
                  <c:v>1.419315464151</c:v>
                </c:pt>
                <c:pt idx="333">
                  <c:v>1.9623169730600001</c:v>
                </c:pt>
                <c:pt idx="334">
                  <c:v>1.8554916589020001</c:v>
                </c:pt>
                <c:pt idx="335">
                  <c:v>2.2113827240080002</c:v>
                </c:pt>
                <c:pt idx="336">
                  <c:v>2.015558769998</c:v>
                </c:pt>
                <c:pt idx="337">
                  <c:v>1.076895740338</c:v>
                </c:pt>
                <c:pt idx="338">
                  <c:v>2.5175565548660002</c:v>
                </c:pt>
                <c:pt idx="339">
                  <c:v>1.584196605686</c:v>
                </c:pt>
                <c:pt idx="340">
                  <c:v>2.2776637795550001</c:v>
                </c:pt>
                <c:pt idx="341">
                  <c:v>1.8866579740639999</c:v>
                </c:pt>
                <c:pt idx="342">
                  <c:v>1.4125750253910001</c:v>
                </c:pt>
                <c:pt idx="343">
                  <c:v>1.77009947959</c:v>
                </c:pt>
                <c:pt idx="344">
                  <c:v>1.7015484090520001</c:v>
                </c:pt>
                <c:pt idx="345">
                  <c:v>2.6519552435959999</c:v>
                </c:pt>
                <c:pt idx="346">
                  <c:v>2.6896024331450001</c:v>
                </c:pt>
                <c:pt idx="347">
                  <c:v>2.212177298636</c:v>
                </c:pt>
                <c:pt idx="348">
                  <c:v>2.4741692976579999</c:v>
                </c:pt>
                <c:pt idx="349">
                  <c:v>1.674442676977</c:v>
                </c:pt>
                <c:pt idx="350">
                  <c:v>2.062098177257</c:v>
                </c:pt>
                <c:pt idx="351">
                  <c:v>1.3027538684119999</c:v>
                </c:pt>
                <c:pt idx="352">
                  <c:v>2.2668009029679999</c:v>
                </c:pt>
                <c:pt idx="353">
                  <c:v>2.087454718289</c:v>
                </c:pt>
                <c:pt idx="354">
                  <c:v>1.3309520383110001</c:v>
                </c:pt>
                <c:pt idx="355">
                  <c:v>1.474761197124</c:v>
                </c:pt>
                <c:pt idx="356">
                  <c:v>1.625038594666</c:v>
                </c:pt>
                <c:pt idx="357">
                  <c:v>1.374086919242</c:v>
                </c:pt>
                <c:pt idx="358">
                  <c:v>0.55544240987899995</c:v>
                </c:pt>
                <c:pt idx="359">
                  <c:v>2.9875774601730001</c:v>
                </c:pt>
                <c:pt idx="360">
                  <c:v>1.7218031938430001</c:v>
                </c:pt>
                <c:pt idx="361">
                  <c:v>2.1402826885369999</c:v>
                </c:pt>
                <c:pt idx="362">
                  <c:v>1.808306001541</c:v>
                </c:pt>
                <c:pt idx="363">
                  <c:v>0.71013228580900001</c:v>
                </c:pt>
                <c:pt idx="364">
                  <c:v>1.202225078174</c:v>
                </c:pt>
                <c:pt idx="365">
                  <c:v>0.72777820231500001</c:v>
                </c:pt>
                <c:pt idx="366">
                  <c:v>2.145527332756</c:v>
                </c:pt>
                <c:pt idx="367">
                  <c:v>1.5902759923980001</c:v>
                </c:pt>
                <c:pt idx="368">
                  <c:v>1.809556686451</c:v>
                </c:pt>
                <c:pt idx="369">
                  <c:v>1.3161165786810001</c:v>
                </c:pt>
                <c:pt idx="370">
                  <c:v>1.370321873382</c:v>
                </c:pt>
                <c:pt idx="371">
                  <c:v>2.152610886368</c:v>
                </c:pt>
                <c:pt idx="372">
                  <c:v>1.390730318848</c:v>
                </c:pt>
                <c:pt idx="373">
                  <c:v>1.5934401256899999</c:v>
                </c:pt>
                <c:pt idx="374">
                  <c:v>1.646231446971</c:v>
                </c:pt>
                <c:pt idx="375">
                  <c:v>0.84165449073099996</c:v>
                </c:pt>
                <c:pt idx="376">
                  <c:v>1.524950735619</c:v>
                </c:pt>
                <c:pt idx="377">
                  <c:v>1.186117008748</c:v>
                </c:pt>
                <c:pt idx="378">
                  <c:v>1.3555668895999999</c:v>
                </c:pt>
                <c:pt idx="379">
                  <c:v>0.84731688634699998</c:v>
                </c:pt>
                <c:pt idx="380">
                  <c:v>1.0294826678010001</c:v>
                </c:pt>
                <c:pt idx="381">
                  <c:v>1.5694179726249999</c:v>
                </c:pt>
                <c:pt idx="382">
                  <c:v>0.88512964493900004</c:v>
                </c:pt>
                <c:pt idx="383">
                  <c:v>1.0734796843959999</c:v>
                </c:pt>
                <c:pt idx="384">
                  <c:v>1.075880025032</c:v>
                </c:pt>
                <c:pt idx="385">
                  <c:v>0.17931494518300001</c:v>
                </c:pt>
              </c:numCache>
            </c:numRef>
          </c:val>
          <c:smooth val="0"/>
          <c:extLst>
            <c:ext xmlns:c16="http://schemas.microsoft.com/office/drawing/2014/chart" uri="{C3380CC4-5D6E-409C-BE32-E72D297353CC}">
              <c16:uniqueId val="{00000003-7EF0-41A2-ADBC-1FC75FE6D1E6}"/>
            </c:ext>
          </c:extLst>
        </c:ser>
        <c:ser>
          <c:idx val="2"/>
          <c:order val="2"/>
          <c:tx>
            <c:strRef>
              <c:f>List1!$D$1</c:f>
              <c:strCache>
                <c:ptCount val="1"/>
                <c:pt idx="0">
                  <c:v>Ukončené očkování - s posilující dávkou</c:v>
                </c:pt>
              </c:strCache>
            </c:strRef>
          </c:tx>
          <c:spPr>
            <a:ln w="28575" cap="rnd">
              <a:solidFill>
                <a:schemeClr val="bg1"/>
              </a:solidFill>
              <a:round/>
            </a:ln>
            <a:effectLst/>
          </c:spPr>
          <c:marker>
            <c:symbol val="none"/>
          </c:marker>
          <c:trendline>
            <c:spPr>
              <a:ln w="28575" cap="rnd" cmpd="sng">
                <a:solidFill>
                  <a:srgbClr val="70AD47"/>
                </a:solidFill>
                <a:prstDash val="solid"/>
              </a:ln>
              <a:effectLst/>
            </c:spPr>
            <c:trendlineType val="movingAvg"/>
            <c:period val="7"/>
            <c:dispRSqr val="0"/>
            <c:dispEq val="0"/>
          </c:trendline>
          <c:cat>
            <c:numRef>
              <c:f>List1!$A$2:$A$387</c:f>
              <c:numCache>
                <c:formatCode>m/d/yyyy</c:formatCode>
                <c:ptCount val="386"/>
                <c:pt idx="0">
                  <c:v>44191</c:v>
                </c:pt>
                <c:pt idx="1">
                  <c:v>44192</c:v>
                </c:pt>
                <c:pt idx="2">
                  <c:v>44193</c:v>
                </c:pt>
                <c:pt idx="3">
                  <c:v>44194</c:v>
                </c:pt>
                <c:pt idx="4">
                  <c:v>44195</c:v>
                </c:pt>
                <c:pt idx="5">
                  <c:v>44196</c:v>
                </c:pt>
                <c:pt idx="6">
                  <c:v>44197</c:v>
                </c:pt>
                <c:pt idx="7">
                  <c:v>44198</c:v>
                </c:pt>
                <c:pt idx="8">
                  <c:v>44199</c:v>
                </c:pt>
                <c:pt idx="9">
                  <c:v>44200</c:v>
                </c:pt>
                <c:pt idx="10">
                  <c:v>44201</c:v>
                </c:pt>
                <c:pt idx="11">
                  <c:v>44202</c:v>
                </c:pt>
                <c:pt idx="12">
                  <c:v>44203</c:v>
                </c:pt>
                <c:pt idx="13">
                  <c:v>44204</c:v>
                </c:pt>
                <c:pt idx="14">
                  <c:v>44205</c:v>
                </c:pt>
                <c:pt idx="15">
                  <c:v>44206</c:v>
                </c:pt>
                <c:pt idx="16">
                  <c:v>44207</c:v>
                </c:pt>
                <c:pt idx="17">
                  <c:v>44208</c:v>
                </c:pt>
                <c:pt idx="18">
                  <c:v>44209</c:v>
                </c:pt>
                <c:pt idx="19">
                  <c:v>44210</c:v>
                </c:pt>
                <c:pt idx="20">
                  <c:v>44211</c:v>
                </c:pt>
                <c:pt idx="21">
                  <c:v>44212</c:v>
                </c:pt>
                <c:pt idx="22">
                  <c:v>44213</c:v>
                </c:pt>
                <c:pt idx="23">
                  <c:v>44214</c:v>
                </c:pt>
                <c:pt idx="24">
                  <c:v>44215</c:v>
                </c:pt>
                <c:pt idx="25">
                  <c:v>44216</c:v>
                </c:pt>
                <c:pt idx="26">
                  <c:v>44217</c:v>
                </c:pt>
                <c:pt idx="27">
                  <c:v>44218</c:v>
                </c:pt>
                <c:pt idx="28">
                  <c:v>44219</c:v>
                </c:pt>
                <c:pt idx="29">
                  <c:v>44220</c:v>
                </c:pt>
                <c:pt idx="30">
                  <c:v>44221</c:v>
                </c:pt>
                <c:pt idx="31">
                  <c:v>44222</c:v>
                </c:pt>
                <c:pt idx="32">
                  <c:v>44223</c:v>
                </c:pt>
                <c:pt idx="33">
                  <c:v>44224</c:v>
                </c:pt>
                <c:pt idx="34">
                  <c:v>44225</c:v>
                </c:pt>
                <c:pt idx="35">
                  <c:v>44226</c:v>
                </c:pt>
                <c:pt idx="36">
                  <c:v>44227</c:v>
                </c:pt>
                <c:pt idx="37">
                  <c:v>44228</c:v>
                </c:pt>
                <c:pt idx="38">
                  <c:v>44229</c:v>
                </c:pt>
                <c:pt idx="39">
                  <c:v>44230</c:v>
                </c:pt>
                <c:pt idx="40">
                  <c:v>44231</c:v>
                </c:pt>
                <c:pt idx="41">
                  <c:v>44232</c:v>
                </c:pt>
                <c:pt idx="42">
                  <c:v>44233</c:v>
                </c:pt>
                <c:pt idx="43">
                  <c:v>44234</c:v>
                </c:pt>
                <c:pt idx="44">
                  <c:v>44235</c:v>
                </c:pt>
                <c:pt idx="45">
                  <c:v>44236</c:v>
                </c:pt>
                <c:pt idx="46">
                  <c:v>44237</c:v>
                </c:pt>
                <c:pt idx="47">
                  <c:v>44238</c:v>
                </c:pt>
                <c:pt idx="48">
                  <c:v>44239</c:v>
                </c:pt>
                <c:pt idx="49">
                  <c:v>44240</c:v>
                </c:pt>
                <c:pt idx="50">
                  <c:v>44241</c:v>
                </c:pt>
                <c:pt idx="51">
                  <c:v>44242</c:v>
                </c:pt>
                <c:pt idx="52">
                  <c:v>44243</c:v>
                </c:pt>
                <c:pt idx="53">
                  <c:v>44244</c:v>
                </c:pt>
                <c:pt idx="54">
                  <c:v>44245</c:v>
                </c:pt>
                <c:pt idx="55">
                  <c:v>44246</c:v>
                </c:pt>
                <c:pt idx="56">
                  <c:v>44247</c:v>
                </c:pt>
                <c:pt idx="57">
                  <c:v>44248</c:v>
                </c:pt>
                <c:pt idx="58">
                  <c:v>44249</c:v>
                </c:pt>
                <c:pt idx="59">
                  <c:v>44250</c:v>
                </c:pt>
                <c:pt idx="60">
                  <c:v>44251</c:v>
                </c:pt>
                <c:pt idx="61">
                  <c:v>44252</c:v>
                </c:pt>
                <c:pt idx="62">
                  <c:v>44253</c:v>
                </c:pt>
                <c:pt idx="63">
                  <c:v>44254</c:v>
                </c:pt>
                <c:pt idx="64">
                  <c:v>44255</c:v>
                </c:pt>
                <c:pt idx="65">
                  <c:v>44256</c:v>
                </c:pt>
                <c:pt idx="66">
                  <c:v>44257</c:v>
                </c:pt>
                <c:pt idx="67">
                  <c:v>44258</c:v>
                </c:pt>
                <c:pt idx="68">
                  <c:v>44259</c:v>
                </c:pt>
                <c:pt idx="69">
                  <c:v>44260</c:v>
                </c:pt>
                <c:pt idx="70">
                  <c:v>44261</c:v>
                </c:pt>
                <c:pt idx="71">
                  <c:v>44262</c:v>
                </c:pt>
                <c:pt idx="72">
                  <c:v>44263</c:v>
                </c:pt>
                <c:pt idx="73">
                  <c:v>44264</c:v>
                </c:pt>
                <c:pt idx="74">
                  <c:v>44265</c:v>
                </c:pt>
                <c:pt idx="75">
                  <c:v>44266</c:v>
                </c:pt>
                <c:pt idx="76">
                  <c:v>44267</c:v>
                </c:pt>
                <c:pt idx="77">
                  <c:v>44268</c:v>
                </c:pt>
                <c:pt idx="78">
                  <c:v>44269</c:v>
                </c:pt>
                <c:pt idx="79">
                  <c:v>44270</c:v>
                </c:pt>
                <c:pt idx="80">
                  <c:v>44271</c:v>
                </c:pt>
                <c:pt idx="81">
                  <c:v>44272</c:v>
                </c:pt>
                <c:pt idx="82">
                  <c:v>44273</c:v>
                </c:pt>
                <c:pt idx="83">
                  <c:v>44274</c:v>
                </c:pt>
                <c:pt idx="84">
                  <c:v>44275</c:v>
                </c:pt>
                <c:pt idx="85">
                  <c:v>44276</c:v>
                </c:pt>
                <c:pt idx="86">
                  <c:v>44277</c:v>
                </c:pt>
                <c:pt idx="87">
                  <c:v>44278</c:v>
                </c:pt>
                <c:pt idx="88">
                  <c:v>44279</c:v>
                </c:pt>
                <c:pt idx="89">
                  <c:v>44280</c:v>
                </c:pt>
                <c:pt idx="90">
                  <c:v>44281</c:v>
                </c:pt>
                <c:pt idx="91">
                  <c:v>44282</c:v>
                </c:pt>
                <c:pt idx="92">
                  <c:v>44283</c:v>
                </c:pt>
                <c:pt idx="93">
                  <c:v>44284</c:v>
                </c:pt>
                <c:pt idx="94">
                  <c:v>44285</c:v>
                </c:pt>
                <c:pt idx="95">
                  <c:v>44286</c:v>
                </c:pt>
                <c:pt idx="96">
                  <c:v>44287</c:v>
                </c:pt>
                <c:pt idx="97">
                  <c:v>44288</c:v>
                </c:pt>
                <c:pt idx="98">
                  <c:v>44289</c:v>
                </c:pt>
                <c:pt idx="99">
                  <c:v>44290</c:v>
                </c:pt>
                <c:pt idx="100">
                  <c:v>44291</c:v>
                </c:pt>
                <c:pt idx="101">
                  <c:v>44292</c:v>
                </c:pt>
                <c:pt idx="102">
                  <c:v>44293</c:v>
                </c:pt>
                <c:pt idx="103">
                  <c:v>44294</c:v>
                </c:pt>
                <c:pt idx="104">
                  <c:v>44295</c:v>
                </c:pt>
                <c:pt idx="105">
                  <c:v>44296</c:v>
                </c:pt>
                <c:pt idx="106">
                  <c:v>44297</c:v>
                </c:pt>
                <c:pt idx="107">
                  <c:v>44298</c:v>
                </c:pt>
                <c:pt idx="108">
                  <c:v>44299</c:v>
                </c:pt>
                <c:pt idx="109">
                  <c:v>44300</c:v>
                </c:pt>
                <c:pt idx="110">
                  <c:v>44301</c:v>
                </c:pt>
                <c:pt idx="111">
                  <c:v>44302</c:v>
                </c:pt>
                <c:pt idx="112">
                  <c:v>44303</c:v>
                </c:pt>
                <c:pt idx="113">
                  <c:v>44304</c:v>
                </c:pt>
                <c:pt idx="114">
                  <c:v>44305</c:v>
                </c:pt>
                <c:pt idx="115">
                  <c:v>44306</c:v>
                </c:pt>
                <c:pt idx="116">
                  <c:v>44307</c:v>
                </c:pt>
                <c:pt idx="117">
                  <c:v>44308</c:v>
                </c:pt>
                <c:pt idx="118">
                  <c:v>44309</c:v>
                </c:pt>
                <c:pt idx="119">
                  <c:v>44310</c:v>
                </c:pt>
                <c:pt idx="120">
                  <c:v>44311</c:v>
                </c:pt>
                <c:pt idx="121">
                  <c:v>44312</c:v>
                </c:pt>
                <c:pt idx="122">
                  <c:v>44313</c:v>
                </c:pt>
                <c:pt idx="123">
                  <c:v>44314</c:v>
                </c:pt>
                <c:pt idx="124">
                  <c:v>44315</c:v>
                </c:pt>
                <c:pt idx="125">
                  <c:v>44316</c:v>
                </c:pt>
                <c:pt idx="126">
                  <c:v>44317</c:v>
                </c:pt>
                <c:pt idx="127">
                  <c:v>44318</c:v>
                </c:pt>
                <c:pt idx="128">
                  <c:v>44319</c:v>
                </c:pt>
                <c:pt idx="129">
                  <c:v>44320</c:v>
                </c:pt>
                <c:pt idx="130">
                  <c:v>44321</c:v>
                </c:pt>
                <c:pt idx="131">
                  <c:v>44322</c:v>
                </c:pt>
                <c:pt idx="132">
                  <c:v>44323</c:v>
                </c:pt>
                <c:pt idx="133">
                  <c:v>44324</c:v>
                </c:pt>
                <c:pt idx="134">
                  <c:v>44325</c:v>
                </c:pt>
                <c:pt idx="135">
                  <c:v>44326</c:v>
                </c:pt>
                <c:pt idx="136">
                  <c:v>44327</c:v>
                </c:pt>
                <c:pt idx="137">
                  <c:v>44328</c:v>
                </c:pt>
                <c:pt idx="138">
                  <c:v>44329</c:v>
                </c:pt>
                <c:pt idx="139">
                  <c:v>44330</c:v>
                </c:pt>
                <c:pt idx="140">
                  <c:v>44331</c:v>
                </c:pt>
                <c:pt idx="141">
                  <c:v>44332</c:v>
                </c:pt>
                <c:pt idx="142">
                  <c:v>44333</c:v>
                </c:pt>
                <c:pt idx="143">
                  <c:v>44334</c:v>
                </c:pt>
                <c:pt idx="144">
                  <c:v>44335</c:v>
                </c:pt>
                <c:pt idx="145">
                  <c:v>44336</c:v>
                </c:pt>
                <c:pt idx="146">
                  <c:v>44337</c:v>
                </c:pt>
                <c:pt idx="147">
                  <c:v>44338</c:v>
                </c:pt>
                <c:pt idx="148">
                  <c:v>44339</c:v>
                </c:pt>
                <c:pt idx="149">
                  <c:v>44340</c:v>
                </c:pt>
                <c:pt idx="150">
                  <c:v>44341</c:v>
                </c:pt>
                <c:pt idx="151">
                  <c:v>44342</c:v>
                </c:pt>
                <c:pt idx="152">
                  <c:v>44343</c:v>
                </c:pt>
                <c:pt idx="153">
                  <c:v>44344</c:v>
                </c:pt>
                <c:pt idx="154">
                  <c:v>44345</c:v>
                </c:pt>
                <c:pt idx="155">
                  <c:v>44346</c:v>
                </c:pt>
                <c:pt idx="156">
                  <c:v>44347</c:v>
                </c:pt>
                <c:pt idx="157">
                  <c:v>44348</c:v>
                </c:pt>
                <c:pt idx="158">
                  <c:v>44349</c:v>
                </c:pt>
                <c:pt idx="159">
                  <c:v>44350</c:v>
                </c:pt>
                <c:pt idx="160">
                  <c:v>44351</c:v>
                </c:pt>
                <c:pt idx="161">
                  <c:v>44352</c:v>
                </c:pt>
                <c:pt idx="162">
                  <c:v>44353</c:v>
                </c:pt>
                <c:pt idx="163">
                  <c:v>44354</c:v>
                </c:pt>
                <c:pt idx="164">
                  <c:v>44355</c:v>
                </c:pt>
                <c:pt idx="165">
                  <c:v>44356</c:v>
                </c:pt>
                <c:pt idx="166">
                  <c:v>44357</c:v>
                </c:pt>
                <c:pt idx="167">
                  <c:v>44358</c:v>
                </c:pt>
                <c:pt idx="168">
                  <c:v>44359</c:v>
                </c:pt>
                <c:pt idx="169">
                  <c:v>44360</c:v>
                </c:pt>
                <c:pt idx="170">
                  <c:v>44361</c:v>
                </c:pt>
                <c:pt idx="171">
                  <c:v>44362</c:v>
                </c:pt>
                <c:pt idx="172">
                  <c:v>44363</c:v>
                </c:pt>
                <c:pt idx="173">
                  <c:v>44364</c:v>
                </c:pt>
                <c:pt idx="174">
                  <c:v>44365</c:v>
                </c:pt>
                <c:pt idx="175">
                  <c:v>44366</c:v>
                </c:pt>
                <c:pt idx="176">
                  <c:v>44367</c:v>
                </c:pt>
                <c:pt idx="177">
                  <c:v>44368</c:v>
                </c:pt>
                <c:pt idx="178">
                  <c:v>44369</c:v>
                </c:pt>
                <c:pt idx="179">
                  <c:v>44370</c:v>
                </c:pt>
                <c:pt idx="180">
                  <c:v>44371</c:v>
                </c:pt>
                <c:pt idx="181">
                  <c:v>44372</c:v>
                </c:pt>
                <c:pt idx="182">
                  <c:v>44373</c:v>
                </c:pt>
                <c:pt idx="183">
                  <c:v>44374</c:v>
                </c:pt>
                <c:pt idx="184">
                  <c:v>44375</c:v>
                </c:pt>
                <c:pt idx="185">
                  <c:v>44376</c:v>
                </c:pt>
                <c:pt idx="186">
                  <c:v>44377</c:v>
                </c:pt>
                <c:pt idx="187">
                  <c:v>44378</c:v>
                </c:pt>
                <c:pt idx="188">
                  <c:v>44379</c:v>
                </c:pt>
                <c:pt idx="189">
                  <c:v>44380</c:v>
                </c:pt>
                <c:pt idx="190">
                  <c:v>44381</c:v>
                </c:pt>
                <c:pt idx="191">
                  <c:v>44382</c:v>
                </c:pt>
                <c:pt idx="192">
                  <c:v>44383</c:v>
                </c:pt>
                <c:pt idx="193">
                  <c:v>44384</c:v>
                </c:pt>
                <c:pt idx="194">
                  <c:v>44385</c:v>
                </c:pt>
                <c:pt idx="195">
                  <c:v>44386</c:v>
                </c:pt>
                <c:pt idx="196">
                  <c:v>44387</c:v>
                </c:pt>
                <c:pt idx="197">
                  <c:v>44388</c:v>
                </c:pt>
                <c:pt idx="198">
                  <c:v>44389</c:v>
                </c:pt>
                <c:pt idx="199">
                  <c:v>44390</c:v>
                </c:pt>
                <c:pt idx="200">
                  <c:v>44391</c:v>
                </c:pt>
                <c:pt idx="201">
                  <c:v>44392</c:v>
                </c:pt>
                <c:pt idx="202">
                  <c:v>44393</c:v>
                </c:pt>
                <c:pt idx="203">
                  <c:v>44394</c:v>
                </c:pt>
                <c:pt idx="204">
                  <c:v>44395</c:v>
                </c:pt>
                <c:pt idx="205">
                  <c:v>44396</c:v>
                </c:pt>
                <c:pt idx="206">
                  <c:v>44397</c:v>
                </c:pt>
                <c:pt idx="207">
                  <c:v>44398</c:v>
                </c:pt>
                <c:pt idx="208">
                  <c:v>44399</c:v>
                </c:pt>
                <c:pt idx="209">
                  <c:v>44400</c:v>
                </c:pt>
                <c:pt idx="210">
                  <c:v>44401</c:v>
                </c:pt>
                <c:pt idx="211">
                  <c:v>44402</c:v>
                </c:pt>
                <c:pt idx="212">
                  <c:v>44403</c:v>
                </c:pt>
                <c:pt idx="213">
                  <c:v>44404</c:v>
                </c:pt>
                <c:pt idx="214">
                  <c:v>44405</c:v>
                </c:pt>
                <c:pt idx="215">
                  <c:v>44406</c:v>
                </c:pt>
                <c:pt idx="216">
                  <c:v>44407</c:v>
                </c:pt>
                <c:pt idx="217">
                  <c:v>44408</c:v>
                </c:pt>
                <c:pt idx="218">
                  <c:v>44409</c:v>
                </c:pt>
                <c:pt idx="219">
                  <c:v>44410</c:v>
                </c:pt>
                <c:pt idx="220">
                  <c:v>44411</c:v>
                </c:pt>
                <c:pt idx="221">
                  <c:v>44412</c:v>
                </c:pt>
                <c:pt idx="222">
                  <c:v>44413</c:v>
                </c:pt>
                <c:pt idx="223">
                  <c:v>44414</c:v>
                </c:pt>
                <c:pt idx="224">
                  <c:v>44415</c:v>
                </c:pt>
                <c:pt idx="225">
                  <c:v>44416</c:v>
                </c:pt>
                <c:pt idx="226">
                  <c:v>44417</c:v>
                </c:pt>
                <c:pt idx="227">
                  <c:v>44418</c:v>
                </c:pt>
                <c:pt idx="228">
                  <c:v>44419</c:v>
                </c:pt>
                <c:pt idx="229">
                  <c:v>44420</c:v>
                </c:pt>
                <c:pt idx="230">
                  <c:v>44421</c:v>
                </c:pt>
                <c:pt idx="231">
                  <c:v>44422</c:v>
                </c:pt>
                <c:pt idx="232">
                  <c:v>44423</c:v>
                </c:pt>
                <c:pt idx="233">
                  <c:v>44424</c:v>
                </c:pt>
                <c:pt idx="234">
                  <c:v>44425</c:v>
                </c:pt>
                <c:pt idx="235">
                  <c:v>44426</c:v>
                </c:pt>
                <c:pt idx="236">
                  <c:v>44427</c:v>
                </c:pt>
                <c:pt idx="237">
                  <c:v>44428</c:v>
                </c:pt>
                <c:pt idx="238">
                  <c:v>44429</c:v>
                </c:pt>
                <c:pt idx="239">
                  <c:v>44430</c:v>
                </c:pt>
                <c:pt idx="240">
                  <c:v>44431</c:v>
                </c:pt>
                <c:pt idx="241">
                  <c:v>44432</c:v>
                </c:pt>
                <c:pt idx="242">
                  <c:v>44433</c:v>
                </c:pt>
                <c:pt idx="243">
                  <c:v>44434</c:v>
                </c:pt>
                <c:pt idx="244">
                  <c:v>44435</c:v>
                </c:pt>
                <c:pt idx="245">
                  <c:v>44436</c:v>
                </c:pt>
                <c:pt idx="246">
                  <c:v>44437</c:v>
                </c:pt>
                <c:pt idx="247">
                  <c:v>44438</c:v>
                </c:pt>
                <c:pt idx="248">
                  <c:v>44439</c:v>
                </c:pt>
                <c:pt idx="249">
                  <c:v>44440</c:v>
                </c:pt>
                <c:pt idx="250">
                  <c:v>44441</c:v>
                </c:pt>
                <c:pt idx="251">
                  <c:v>44442</c:v>
                </c:pt>
                <c:pt idx="252">
                  <c:v>44443</c:v>
                </c:pt>
                <c:pt idx="253">
                  <c:v>44444</c:v>
                </c:pt>
                <c:pt idx="254">
                  <c:v>44445</c:v>
                </c:pt>
                <c:pt idx="255">
                  <c:v>44446</c:v>
                </c:pt>
                <c:pt idx="256">
                  <c:v>44447</c:v>
                </c:pt>
                <c:pt idx="257">
                  <c:v>44448</c:v>
                </c:pt>
                <c:pt idx="258">
                  <c:v>44449</c:v>
                </c:pt>
                <c:pt idx="259">
                  <c:v>44450</c:v>
                </c:pt>
                <c:pt idx="260">
                  <c:v>44451</c:v>
                </c:pt>
                <c:pt idx="261">
                  <c:v>44452</c:v>
                </c:pt>
                <c:pt idx="262">
                  <c:v>44453</c:v>
                </c:pt>
                <c:pt idx="263">
                  <c:v>44454</c:v>
                </c:pt>
                <c:pt idx="264">
                  <c:v>44455</c:v>
                </c:pt>
                <c:pt idx="265">
                  <c:v>44456</c:v>
                </c:pt>
                <c:pt idx="266">
                  <c:v>44457</c:v>
                </c:pt>
                <c:pt idx="267">
                  <c:v>44458</c:v>
                </c:pt>
                <c:pt idx="268">
                  <c:v>44459</c:v>
                </c:pt>
                <c:pt idx="269">
                  <c:v>44460</c:v>
                </c:pt>
                <c:pt idx="270">
                  <c:v>44461</c:v>
                </c:pt>
                <c:pt idx="271">
                  <c:v>44462</c:v>
                </c:pt>
                <c:pt idx="272">
                  <c:v>44463</c:v>
                </c:pt>
                <c:pt idx="273">
                  <c:v>44464</c:v>
                </c:pt>
                <c:pt idx="274">
                  <c:v>44465</c:v>
                </c:pt>
                <c:pt idx="275">
                  <c:v>44466</c:v>
                </c:pt>
                <c:pt idx="276">
                  <c:v>44467</c:v>
                </c:pt>
                <c:pt idx="277">
                  <c:v>44468</c:v>
                </c:pt>
                <c:pt idx="278">
                  <c:v>44469</c:v>
                </c:pt>
                <c:pt idx="279">
                  <c:v>44470</c:v>
                </c:pt>
                <c:pt idx="280">
                  <c:v>44471</c:v>
                </c:pt>
                <c:pt idx="281">
                  <c:v>44472</c:v>
                </c:pt>
                <c:pt idx="282">
                  <c:v>44473</c:v>
                </c:pt>
                <c:pt idx="283">
                  <c:v>44474</c:v>
                </c:pt>
                <c:pt idx="284">
                  <c:v>44475</c:v>
                </c:pt>
                <c:pt idx="285">
                  <c:v>44476</c:v>
                </c:pt>
                <c:pt idx="286">
                  <c:v>44477</c:v>
                </c:pt>
                <c:pt idx="287">
                  <c:v>44478</c:v>
                </c:pt>
                <c:pt idx="288">
                  <c:v>44479</c:v>
                </c:pt>
                <c:pt idx="289">
                  <c:v>44480</c:v>
                </c:pt>
                <c:pt idx="290">
                  <c:v>44481</c:v>
                </c:pt>
                <c:pt idx="291">
                  <c:v>44482</c:v>
                </c:pt>
                <c:pt idx="292">
                  <c:v>44483</c:v>
                </c:pt>
                <c:pt idx="293">
                  <c:v>44484</c:v>
                </c:pt>
                <c:pt idx="294">
                  <c:v>44485</c:v>
                </c:pt>
                <c:pt idx="295">
                  <c:v>44486</c:v>
                </c:pt>
                <c:pt idx="296">
                  <c:v>44487</c:v>
                </c:pt>
                <c:pt idx="297">
                  <c:v>44488</c:v>
                </c:pt>
                <c:pt idx="298">
                  <c:v>44489</c:v>
                </c:pt>
                <c:pt idx="299">
                  <c:v>44490</c:v>
                </c:pt>
                <c:pt idx="300">
                  <c:v>44491</c:v>
                </c:pt>
                <c:pt idx="301">
                  <c:v>44492</c:v>
                </c:pt>
                <c:pt idx="302">
                  <c:v>44493</c:v>
                </c:pt>
                <c:pt idx="303">
                  <c:v>44494</c:v>
                </c:pt>
                <c:pt idx="304">
                  <c:v>44495</c:v>
                </c:pt>
                <c:pt idx="305">
                  <c:v>44496</c:v>
                </c:pt>
                <c:pt idx="306">
                  <c:v>44497</c:v>
                </c:pt>
                <c:pt idx="307">
                  <c:v>44498</c:v>
                </c:pt>
                <c:pt idx="308">
                  <c:v>44499</c:v>
                </c:pt>
                <c:pt idx="309">
                  <c:v>44500</c:v>
                </c:pt>
                <c:pt idx="310">
                  <c:v>44501</c:v>
                </c:pt>
                <c:pt idx="311">
                  <c:v>44502</c:v>
                </c:pt>
                <c:pt idx="312">
                  <c:v>44503</c:v>
                </c:pt>
                <c:pt idx="313">
                  <c:v>44504</c:v>
                </c:pt>
                <c:pt idx="314">
                  <c:v>44505</c:v>
                </c:pt>
                <c:pt idx="315">
                  <c:v>44506</c:v>
                </c:pt>
                <c:pt idx="316">
                  <c:v>44507</c:v>
                </c:pt>
                <c:pt idx="317">
                  <c:v>44508</c:v>
                </c:pt>
                <c:pt idx="318">
                  <c:v>44509</c:v>
                </c:pt>
                <c:pt idx="319">
                  <c:v>44510</c:v>
                </c:pt>
                <c:pt idx="320">
                  <c:v>44511</c:v>
                </c:pt>
                <c:pt idx="321">
                  <c:v>44512</c:v>
                </c:pt>
                <c:pt idx="322">
                  <c:v>44513</c:v>
                </c:pt>
                <c:pt idx="323">
                  <c:v>44514</c:v>
                </c:pt>
                <c:pt idx="324">
                  <c:v>44515</c:v>
                </c:pt>
                <c:pt idx="325">
                  <c:v>44516</c:v>
                </c:pt>
                <c:pt idx="326">
                  <c:v>44517</c:v>
                </c:pt>
                <c:pt idx="327">
                  <c:v>44518</c:v>
                </c:pt>
                <c:pt idx="328">
                  <c:v>44519</c:v>
                </c:pt>
                <c:pt idx="329">
                  <c:v>44520</c:v>
                </c:pt>
                <c:pt idx="330">
                  <c:v>44521</c:v>
                </c:pt>
                <c:pt idx="331">
                  <c:v>44522</c:v>
                </c:pt>
                <c:pt idx="332">
                  <c:v>44523</c:v>
                </c:pt>
                <c:pt idx="333">
                  <c:v>44524</c:v>
                </c:pt>
                <c:pt idx="334">
                  <c:v>44525</c:v>
                </c:pt>
                <c:pt idx="335">
                  <c:v>44526</c:v>
                </c:pt>
                <c:pt idx="336">
                  <c:v>44527</c:v>
                </c:pt>
                <c:pt idx="337">
                  <c:v>44528</c:v>
                </c:pt>
                <c:pt idx="338">
                  <c:v>44529</c:v>
                </c:pt>
                <c:pt idx="339">
                  <c:v>44530</c:v>
                </c:pt>
                <c:pt idx="340">
                  <c:v>44531</c:v>
                </c:pt>
                <c:pt idx="341">
                  <c:v>44532</c:v>
                </c:pt>
                <c:pt idx="342">
                  <c:v>44533</c:v>
                </c:pt>
                <c:pt idx="343">
                  <c:v>44534</c:v>
                </c:pt>
                <c:pt idx="344">
                  <c:v>44535</c:v>
                </c:pt>
                <c:pt idx="345">
                  <c:v>44536</c:v>
                </c:pt>
                <c:pt idx="346">
                  <c:v>44537</c:v>
                </c:pt>
                <c:pt idx="347">
                  <c:v>44538</c:v>
                </c:pt>
                <c:pt idx="348">
                  <c:v>44539</c:v>
                </c:pt>
                <c:pt idx="349">
                  <c:v>44540</c:v>
                </c:pt>
                <c:pt idx="350">
                  <c:v>44541</c:v>
                </c:pt>
                <c:pt idx="351">
                  <c:v>44542</c:v>
                </c:pt>
                <c:pt idx="352">
                  <c:v>44543</c:v>
                </c:pt>
                <c:pt idx="353">
                  <c:v>44544</c:v>
                </c:pt>
                <c:pt idx="354">
                  <c:v>44545</c:v>
                </c:pt>
                <c:pt idx="355">
                  <c:v>44546</c:v>
                </c:pt>
                <c:pt idx="356">
                  <c:v>44547</c:v>
                </c:pt>
                <c:pt idx="357">
                  <c:v>44548</c:v>
                </c:pt>
                <c:pt idx="358">
                  <c:v>44549</c:v>
                </c:pt>
                <c:pt idx="359">
                  <c:v>44550</c:v>
                </c:pt>
                <c:pt idx="360">
                  <c:v>44551</c:v>
                </c:pt>
                <c:pt idx="361">
                  <c:v>44552</c:v>
                </c:pt>
                <c:pt idx="362">
                  <c:v>44553</c:v>
                </c:pt>
                <c:pt idx="363">
                  <c:v>44554</c:v>
                </c:pt>
                <c:pt idx="364">
                  <c:v>44555</c:v>
                </c:pt>
                <c:pt idx="365">
                  <c:v>44556</c:v>
                </c:pt>
                <c:pt idx="366">
                  <c:v>44557</c:v>
                </c:pt>
                <c:pt idx="367">
                  <c:v>44558</c:v>
                </c:pt>
                <c:pt idx="368">
                  <c:v>44559</c:v>
                </c:pt>
                <c:pt idx="369">
                  <c:v>44560</c:v>
                </c:pt>
                <c:pt idx="370">
                  <c:v>44561</c:v>
                </c:pt>
                <c:pt idx="371">
                  <c:v>44562</c:v>
                </c:pt>
                <c:pt idx="372">
                  <c:v>44563</c:v>
                </c:pt>
                <c:pt idx="373">
                  <c:v>44564</c:v>
                </c:pt>
                <c:pt idx="374">
                  <c:v>44565</c:v>
                </c:pt>
                <c:pt idx="375">
                  <c:v>44566</c:v>
                </c:pt>
                <c:pt idx="376">
                  <c:v>44567</c:v>
                </c:pt>
                <c:pt idx="377">
                  <c:v>44568</c:v>
                </c:pt>
                <c:pt idx="378">
                  <c:v>44569</c:v>
                </c:pt>
                <c:pt idx="379">
                  <c:v>44570</c:v>
                </c:pt>
                <c:pt idx="380">
                  <c:v>44571</c:v>
                </c:pt>
                <c:pt idx="381">
                  <c:v>44572</c:v>
                </c:pt>
                <c:pt idx="382">
                  <c:v>44573</c:v>
                </c:pt>
                <c:pt idx="383">
                  <c:v>44574</c:v>
                </c:pt>
                <c:pt idx="384">
                  <c:v>44575</c:v>
                </c:pt>
                <c:pt idx="385">
                  <c:v>44576</c:v>
                </c:pt>
              </c:numCache>
            </c:numRef>
          </c:cat>
          <c:val>
            <c:numRef>
              <c:f>List1!$D$2:$D$387</c:f>
              <c:numCache>
                <c:formatCode>General</c:formatCode>
                <c:ptCount val="38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40">
                  <c:v>0</c:v>
                </c:pt>
                <c:pt idx="241">
                  <c:v>0</c:v>
                </c:pt>
                <c:pt idx="242">
                  <c:v>0</c:v>
                </c:pt>
                <c:pt idx="243">
                  <c:v>0</c:v>
                </c:pt>
                <c:pt idx="244">
                  <c:v>0</c:v>
                </c:pt>
                <c:pt idx="248">
                  <c:v>0</c:v>
                </c:pt>
                <c:pt idx="249">
                  <c:v>0</c:v>
                </c:pt>
                <c:pt idx="250">
                  <c:v>0</c:v>
                </c:pt>
                <c:pt idx="251">
                  <c:v>0</c:v>
                </c:pt>
                <c:pt idx="253">
                  <c:v>0</c:v>
                </c:pt>
                <c:pt idx="254">
                  <c:v>0</c:v>
                </c:pt>
                <c:pt idx="255">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2.4767188428760001</c:v>
                </c:pt>
                <c:pt idx="313">
                  <c:v>0</c:v>
                </c:pt>
                <c:pt idx="314">
                  <c:v>0</c:v>
                </c:pt>
                <c:pt idx="315">
                  <c:v>0</c:v>
                </c:pt>
                <c:pt idx="316">
                  <c:v>0</c:v>
                </c:pt>
                <c:pt idx="317">
                  <c:v>0</c:v>
                </c:pt>
                <c:pt idx="318">
                  <c:v>0.98476567500699996</c:v>
                </c:pt>
                <c:pt idx="319">
                  <c:v>0</c:v>
                </c:pt>
                <c:pt idx="320">
                  <c:v>0.81290899483800005</c:v>
                </c:pt>
                <c:pt idx="321">
                  <c:v>0</c:v>
                </c:pt>
                <c:pt idx="322">
                  <c:v>0.717036059743</c:v>
                </c:pt>
                <c:pt idx="323">
                  <c:v>0</c:v>
                </c:pt>
                <c:pt idx="324">
                  <c:v>0</c:v>
                </c:pt>
                <c:pt idx="325">
                  <c:v>1.119056411633</c:v>
                </c:pt>
                <c:pt idx="326">
                  <c:v>0</c:v>
                </c:pt>
                <c:pt idx="327">
                  <c:v>0.44434964985199998</c:v>
                </c:pt>
                <c:pt idx="328">
                  <c:v>0.40791352233299999</c:v>
                </c:pt>
                <c:pt idx="329">
                  <c:v>1.199774442404</c:v>
                </c:pt>
                <c:pt idx="330">
                  <c:v>0.39447264923800002</c:v>
                </c:pt>
                <c:pt idx="331">
                  <c:v>0.36629902454500002</c:v>
                </c:pt>
                <c:pt idx="332">
                  <c:v>0.33954012685200002</c:v>
                </c:pt>
                <c:pt idx="333">
                  <c:v>0.63205531748099997</c:v>
                </c:pt>
                <c:pt idx="334">
                  <c:v>0</c:v>
                </c:pt>
                <c:pt idx="335">
                  <c:v>0</c:v>
                </c:pt>
                <c:pt idx="336">
                  <c:v>0.27882569769100002</c:v>
                </c:pt>
                <c:pt idx="337">
                  <c:v>0.55336208971599998</c:v>
                </c:pt>
                <c:pt idx="338">
                  <c:v>0.52853563915799995</c:v>
                </c:pt>
                <c:pt idx="339">
                  <c:v>0.50353227893600006</c:v>
                </c:pt>
                <c:pt idx="340">
                  <c:v>0</c:v>
                </c:pt>
                <c:pt idx="341">
                  <c:v>0.47721079832500002</c:v>
                </c:pt>
                <c:pt idx="342">
                  <c:v>0</c:v>
                </c:pt>
                <c:pt idx="343">
                  <c:v>0</c:v>
                </c:pt>
                <c:pt idx="344">
                  <c:v>0.45341706435099999</c:v>
                </c:pt>
                <c:pt idx="345">
                  <c:v>0.43718713795399999</c:v>
                </c:pt>
                <c:pt idx="346">
                  <c:v>0.20915863845999999</c:v>
                </c:pt>
                <c:pt idx="347">
                  <c:v>0</c:v>
                </c:pt>
                <c:pt idx="348">
                  <c:v>0.38264256783700001</c:v>
                </c:pt>
                <c:pt idx="349">
                  <c:v>0.36771397735900002</c:v>
                </c:pt>
                <c:pt idx="350">
                  <c:v>0.72905294200199999</c:v>
                </c:pt>
                <c:pt idx="351">
                  <c:v>0.361539434913</c:v>
                </c:pt>
                <c:pt idx="352">
                  <c:v>0.172409631491</c:v>
                </c:pt>
                <c:pt idx="353">
                  <c:v>0.162623573587</c:v>
                </c:pt>
                <c:pt idx="354">
                  <c:v>0</c:v>
                </c:pt>
                <c:pt idx="355">
                  <c:v>0.14080937227099999</c:v>
                </c:pt>
                <c:pt idx="356">
                  <c:v>0.528797659541</c:v>
                </c:pt>
                <c:pt idx="357">
                  <c:v>0.25884003427000002</c:v>
                </c:pt>
                <c:pt idx="358">
                  <c:v>0.25503502906100001</c:v>
                </c:pt>
                <c:pt idx="359">
                  <c:v>0.84552601985499998</c:v>
                </c:pt>
                <c:pt idx="360">
                  <c:v>0.56858241033400003</c:v>
                </c:pt>
                <c:pt idx="361">
                  <c:v>0.107196991623</c:v>
                </c:pt>
                <c:pt idx="362">
                  <c:v>0</c:v>
                </c:pt>
                <c:pt idx="363">
                  <c:v>0.19510995909500001</c:v>
                </c:pt>
                <c:pt idx="364">
                  <c:v>9.6297088072000006E-2</c:v>
                </c:pt>
                <c:pt idx="365">
                  <c:v>0.28680359307499997</c:v>
                </c:pt>
                <c:pt idx="366">
                  <c:v>0.37063805340799999</c:v>
                </c:pt>
                <c:pt idx="367">
                  <c:v>0.26826432978600001</c:v>
                </c:pt>
                <c:pt idx="368">
                  <c:v>0.25955104590400002</c:v>
                </c:pt>
                <c:pt idx="369">
                  <c:v>8.3893110110000002E-2</c:v>
                </c:pt>
                <c:pt idx="370">
                  <c:v>0.40966984706999998</c:v>
                </c:pt>
                <c:pt idx="371">
                  <c:v>0</c:v>
                </c:pt>
                <c:pt idx="372">
                  <c:v>0.16252195061999999</c:v>
                </c:pt>
                <c:pt idx="373">
                  <c:v>7.9897220214999995E-2</c:v>
                </c:pt>
                <c:pt idx="374">
                  <c:v>0.39274490197400003</c:v>
                </c:pt>
                <c:pt idx="375">
                  <c:v>0.232933180011</c:v>
                </c:pt>
                <c:pt idx="376">
                  <c:v>0.15475839506200001</c:v>
                </c:pt>
                <c:pt idx="377">
                  <c:v>0.154755042112</c:v>
                </c:pt>
                <c:pt idx="378">
                  <c:v>0.154754802621</c:v>
                </c:pt>
                <c:pt idx="379">
                  <c:v>7.7373449918999998E-2</c:v>
                </c:pt>
                <c:pt idx="380">
                  <c:v>0.46129503969399999</c:v>
                </c:pt>
                <c:pt idx="381">
                  <c:v>0.228827366532</c:v>
                </c:pt>
                <c:pt idx="382">
                  <c:v>7.5726883421999999E-2</c:v>
                </c:pt>
                <c:pt idx="383">
                  <c:v>7.5350114305999999E-2</c:v>
                </c:pt>
                <c:pt idx="384">
                  <c:v>0.15054516166599999</c:v>
                </c:pt>
                <c:pt idx="385">
                  <c:v>7.5272184217999999E-2</c:v>
                </c:pt>
              </c:numCache>
            </c:numRef>
          </c:val>
          <c:smooth val="0"/>
          <c:extLst>
            <c:ext xmlns:c16="http://schemas.microsoft.com/office/drawing/2014/chart" uri="{C3380CC4-5D6E-409C-BE32-E72D297353CC}">
              <c16:uniqueId val="{00000005-7EF0-41A2-ADBC-1FC75FE6D1E6}"/>
            </c:ext>
          </c:extLst>
        </c:ser>
        <c:dLbls>
          <c:showLegendKey val="0"/>
          <c:showVal val="0"/>
          <c:showCatName val="0"/>
          <c:showSerName val="0"/>
          <c:showPercent val="0"/>
          <c:showBubbleSize val="0"/>
        </c:dLbls>
        <c:smooth val="0"/>
        <c:axId val="442360815"/>
        <c:axId val="692383071"/>
      </c:lineChart>
      <c:dateAx>
        <c:axId val="442360815"/>
        <c:scaling>
          <c:orientation val="minMax"/>
          <c:min val="44197"/>
        </c:scaling>
        <c:delete val="0"/>
        <c:axPos val="b"/>
        <c:numFmt formatCode="m/d/yy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692383071"/>
        <c:crosses val="autoZero"/>
        <c:auto val="1"/>
        <c:lblOffset val="100"/>
        <c:baseTimeUnit val="days"/>
      </c:dateAx>
      <c:valAx>
        <c:axId val="692383071"/>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cs-CZ" sz="1800" b="0" i="0" baseline="0" dirty="0">
                    <a:effectLst/>
                  </a:rPr>
                  <a:t>Počet nově hospitalizovaných na JIP na 100 tis. dané kategorie v populaci v daném dni</a:t>
                </a:r>
                <a:endParaRPr lang="cs-CZ" sz="1600" dirty="0">
                  <a:effectLst/>
                </a:endParaRPr>
              </a:p>
            </c:rich>
          </c:tx>
          <c:layout>
            <c:manualLayout>
              <c:xMode val="edge"/>
              <c:yMode val="edge"/>
              <c:x val="2.72039458206043E-2"/>
              <c:y val="0.12267840916700973"/>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cs-CZ"/>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4423608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27928087982371"/>
          <c:y val="2.4852292975710399E-2"/>
          <c:w val="0.85679636904293355"/>
          <c:h val="0.81486627194877481"/>
        </c:manualLayout>
      </c:layout>
      <c:lineChart>
        <c:grouping val="standard"/>
        <c:varyColors val="0"/>
        <c:ser>
          <c:idx val="0"/>
          <c:order val="0"/>
          <c:tx>
            <c:strRef>
              <c:f>List1!$B$1</c:f>
              <c:strCache>
                <c:ptCount val="1"/>
                <c:pt idx="0">
                  <c:v>Bez očkování</c:v>
                </c:pt>
              </c:strCache>
            </c:strRef>
          </c:tx>
          <c:spPr>
            <a:ln w="28575" cap="rnd">
              <a:solidFill>
                <a:schemeClr val="bg1"/>
              </a:solidFill>
              <a:round/>
            </a:ln>
            <a:effectLst/>
          </c:spPr>
          <c:marker>
            <c:symbol val="none"/>
          </c:marker>
          <c:trendline>
            <c:spPr>
              <a:ln w="28575" cap="rnd" cmpd="sng">
                <a:solidFill>
                  <a:srgbClr val="C00000"/>
                </a:solidFill>
                <a:prstDash val="solid"/>
              </a:ln>
              <a:effectLst/>
            </c:spPr>
            <c:trendlineType val="movingAvg"/>
            <c:period val="7"/>
            <c:dispRSqr val="0"/>
            <c:dispEq val="0"/>
          </c:trendline>
          <c:cat>
            <c:numRef>
              <c:f>List1!$A$2:$A$387</c:f>
              <c:numCache>
                <c:formatCode>m/d/yyyy</c:formatCode>
                <c:ptCount val="386"/>
                <c:pt idx="0">
                  <c:v>44191</c:v>
                </c:pt>
                <c:pt idx="1">
                  <c:v>44192</c:v>
                </c:pt>
                <c:pt idx="2">
                  <c:v>44193</c:v>
                </c:pt>
                <c:pt idx="3">
                  <c:v>44194</c:v>
                </c:pt>
                <c:pt idx="4">
                  <c:v>44195</c:v>
                </c:pt>
                <c:pt idx="5">
                  <c:v>44196</c:v>
                </c:pt>
                <c:pt idx="6">
                  <c:v>44197</c:v>
                </c:pt>
                <c:pt idx="7">
                  <c:v>44198</c:v>
                </c:pt>
                <c:pt idx="8">
                  <c:v>44199</c:v>
                </c:pt>
                <c:pt idx="9">
                  <c:v>44200</c:v>
                </c:pt>
                <c:pt idx="10">
                  <c:v>44201</c:v>
                </c:pt>
                <c:pt idx="11">
                  <c:v>44202</c:v>
                </c:pt>
                <c:pt idx="12">
                  <c:v>44203</c:v>
                </c:pt>
                <c:pt idx="13">
                  <c:v>44204</c:v>
                </c:pt>
                <c:pt idx="14">
                  <c:v>44205</c:v>
                </c:pt>
                <c:pt idx="15">
                  <c:v>44206</c:v>
                </c:pt>
                <c:pt idx="16">
                  <c:v>44207</c:v>
                </c:pt>
                <c:pt idx="17">
                  <c:v>44208</c:v>
                </c:pt>
                <c:pt idx="18">
                  <c:v>44209</c:v>
                </c:pt>
                <c:pt idx="19">
                  <c:v>44210</c:v>
                </c:pt>
                <c:pt idx="20">
                  <c:v>44211</c:v>
                </c:pt>
                <c:pt idx="21">
                  <c:v>44212</c:v>
                </c:pt>
                <c:pt idx="22">
                  <c:v>44213</c:v>
                </c:pt>
                <c:pt idx="23">
                  <c:v>44214</c:v>
                </c:pt>
                <c:pt idx="24">
                  <c:v>44215</c:v>
                </c:pt>
                <c:pt idx="25">
                  <c:v>44216</c:v>
                </c:pt>
                <c:pt idx="26">
                  <c:v>44217</c:v>
                </c:pt>
                <c:pt idx="27">
                  <c:v>44218</c:v>
                </c:pt>
                <c:pt idx="28">
                  <c:v>44219</c:v>
                </c:pt>
                <c:pt idx="29">
                  <c:v>44220</c:v>
                </c:pt>
                <c:pt idx="30">
                  <c:v>44221</c:v>
                </c:pt>
                <c:pt idx="31">
                  <c:v>44222</c:v>
                </c:pt>
                <c:pt idx="32">
                  <c:v>44223</c:v>
                </c:pt>
                <c:pt idx="33">
                  <c:v>44224</c:v>
                </c:pt>
                <c:pt idx="34">
                  <c:v>44225</c:v>
                </c:pt>
                <c:pt idx="35">
                  <c:v>44226</c:v>
                </c:pt>
                <c:pt idx="36">
                  <c:v>44227</c:v>
                </c:pt>
                <c:pt idx="37">
                  <c:v>44228</c:v>
                </c:pt>
                <c:pt idx="38">
                  <c:v>44229</c:v>
                </c:pt>
                <c:pt idx="39">
                  <c:v>44230</c:v>
                </c:pt>
                <c:pt idx="40">
                  <c:v>44231</c:v>
                </c:pt>
                <c:pt idx="41">
                  <c:v>44232</c:v>
                </c:pt>
                <c:pt idx="42">
                  <c:v>44233</c:v>
                </c:pt>
                <c:pt idx="43">
                  <c:v>44234</c:v>
                </c:pt>
                <c:pt idx="44">
                  <c:v>44235</c:v>
                </c:pt>
                <c:pt idx="45">
                  <c:v>44236</c:v>
                </c:pt>
                <c:pt idx="46">
                  <c:v>44237</c:v>
                </c:pt>
                <c:pt idx="47">
                  <c:v>44238</c:v>
                </c:pt>
                <c:pt idx="48">
                  <c:v>44239</c:v>
                </c:pt>
                <c:pt idx="49">
                  <c:v>44240</c:v>
                </c:pt>
                <c:pt idx="50">
                  <c:v>44241</c:v>
                </c:pt>
                <c:pt idx="51">
                  <c:v>44242</c:v>
                </c:pt>
                <c:pt idx="52">
                  <c:v>44243</c:v>
                </c:pt>
                <c:pt idx="53">
                  <c:v>44244</c:v>
                </c:pt>
                <c:pt idx="54">
                  <c:v>44245</c:v>
                </c:pt>
                <c:pt idx="55">
                  <c:v>44246</c:v>
                </c:pt>
                <c:pt idx="56">
                  <c:v>44247</c:v>
                </c:pt>
                <c:pt idx="57">
                  <c:v>44248</c:v>
                </c:pt>
                <c:pt idx="58">
                  <c:v>44249</c:v>
                </c:pt>
                <c:pt idx="59">
                  <c:v>44250</c:v>
                </c:pt>
                <c:pt idx="60">
                  <c:v>44251</c:v>
                </c:pt>
                <c:pt idx="61">
                  <c:v>44252</c:v>
                </c:pt>
                <c:pt idx="62">
                  <c:v>44253</c:v>
                </c:pt>
                <c:pt idx="63">
                  <c:v>44254</c:v>
                </c:pt>
                <c:pt idx="64">
                  <c:v>44255</c:v>
                </c:pt>
                <c:pt idx="65">
                  <c:v>44256</c:v>
                </c:pt>
                <c:pt idx="66">
                  <c:v>44257</c:v>
                </c:pt>
                <c:pt idx="67">
                  <c:v>44258</c:v>
                </c:pt>
                <c:pt idx="68">
                  <c:v>44259</c:v>
                </c:pt>
                <c:pt idx="69">
                  <c:v>44260</c:v>
                </c:pt>
                <c:pt idx="70">
                  <c:v>44261</c:v>
                </c:pt>
                <c:pt idx="71">
                  <c:v>44262</c:v>
                </c:pt>
                <c:pt idx="72">
                  <c:v>44263</c:v>
                </c:pt>
                <c:pt idx="73">
                  <c:v>44264</c:v>
                </c:pt>
                <c:pt idx="74">
                  <c:v>44265</c:v>
                </c:pt>
                <c:pt idx="75">
                  <c:v>44266</c:v>
                </c:pt>
                <c:pt idx="76">
                  <c:v>44267</c:v>
                </c:pt>
                <c:pt idx="77">
                  <c:v>44268</c:v>
                </c:pt>
                <c:pt idx="78">
                  <c:v>44269</c:v>
                </c:pt>
                <c:pt idx="79">
                  <c:v>44270</c:v>
                </c:pt>
                <c:pt idx="80">
                  <c:v>44271</c:v>
                </c:pt>
                <c:pt idx="81">
                  <c:v>44272</c:v>
                </c:pt>
                <c:pt idx="82">
                  <c:v>44273</c:v>
                </c:pt>
                <c:pt idx="83">
                  <c:v>44274</c:v>
                </c:pt>
                <c:pt idx="84">
                  <c:v>44275</c:v>
                </c:pt>
                <c:pt idx="85">
                  <c:v>44276</c:v>
                </c:pt>
                <c:pt idx="86">
                  <c:v>44277</c:v>
                </c:pt>
                <c:pt idx="87">
                  <c:v>44278</c:v>
                </c:pt>
                <c:pt idx="88">
                  <c:v>44279</c:v>
                </c:pt>
                <c:pt idx="89">
                  <c:v>44280</c:v>
                </c:pt>
                <c:pt idx="90">
                  <c:v>44281</c:v>
                </c:pt>
                <c:pt idx="91">
                  <c:v>44282</c:v>
                </c:pt>
                <c:pt idx="92">
                  <c:v>44283</c:v>
                </c:pt>
                <c:pt idx="93">
                  <c:v>44284</c:v>
                </c:pt>
                <c:pt idx="94">
                  <c:v>44285</c:v>
                </c:pt>
                <c:pt idx="95">
                  <c:v>44286</c:v>
                </c:pt>
                <c:pt idx="96">
                  <c:v>44287</c:v>
                </c:pt>
                <c:pt idx="97">
                  <c:v>44288</c:v>
                </c:pt>
                <c:pt idx="98">
                  <c:v>44289</c:v>
                </c:pt>
                <c:pt idx="99">
                  <c:v>44290</c:v>
                </c:pt>
                <c:pt idx="100">
                  <c:v>44291</c:v>
                </c:pt>
                <c:pt idx="101">
                  <c:v>44292</c:v>
                </c:pt>
                <c:pt idx="102">
                  <c:v>44293</c:v>
                </c:pt>
                <c:pt idx="103">
                  <c:v>44294</c:v>
                </c:pt>
                <c:pt idx="104">
                  <c:v>44295</c:v>
                </c:pt>
                <c:pt idx="105">
                  <c:v>44296</c:v>
                </c:pt>
                <c:pt idx="106">
                  <c:v>44297</c:v>
                </c:pt>
                <c:pt idx="107">
                  <c:v>44298</c:v>
                </c:pt>
                <c:pt idx="108">
                  <c:v>44299</c:v>
                </c:pt>
                <c:pt idx="109">
                  <c:v>44300</c:v>
                </c:pt>
                <c:pt idx="110">
                  <c:v>44301</c:v>
                </c:pt>
                <c:pt idx="111">
                  <c:v>44302</c:v>
                </c:pt>
                <c:pt idx="112">
                  <c:v>44303</c:v>
                </c:pt>
                <c:pt idx="113">
                  <c:v>44304</c:v>
                </c:pt>
                <c:pt idx="114">
                  <c:v>44305</c:v>
                </c:pt>
                <c:pt idx="115">
                  <c:v>44306</c:v>
                </c:pt>
                <c:pt idx="116">
                  <c:v>44307</c:v>
                </c:pt>
                <c:pt idx="117">
                  <c:v>44308</c:v>
                </c:pt>
                <c:pt idx="118">
                  <c:v>44309</c:v>
                </c:pt>
                <c:pt idx="119">
                  <c:v>44310</c:v>
                </c:pt>
                <c:pt idx="120">
                  <c:v>44311</c:v>
                </c:pt>
                <c:pt idx="121">
                  <c:v>44312</c:v>
                </c:pt>
                <c:pt idx="122">
                  <c:v>44313</c:v>
                </c:pt>
                <c:pt idx="123">
                  <c:v>44314</c:v>
                </c:pt>
                <c:pt idx="124">
                  <c:v>44315</c:v>
                </c:pt>
                <c:pt idx="125">
                  <c:v>44316</c:v>
                </c:pt>
                <c:pt idx="126">
                  <c:v>44317</c:v>
                </c:pt>
                <c:pt idx="127">
                  <c:v>44318</c:v>
                </c:pt>
                <c:pt idx="128">
                  <c:v>44319</c:v>
                </c:pt>
                <c:pt idx="129">
                  <c:v>44320</c:v>
                </c:pt>
                <c:pt idx="130">
                  <c:v>44321</c:v>
                </c:pt>
                <c:pt idx="131">
                  <c:v>44322</c:v>
                </c:pt>
                <c:pt idx="132">
                  <c:v>44323</c:v>
                </c:pt>
                <c:pt idx="133">
                  <c:v>44324</c:v>
                </c:pt>
                <c:pt idx="134">
                  <c:v>44325</c:v>
                </c:pt>
                <c:pt idx="135">
                  <c:v>44326</c:v>
                </c:pt>
                <c:pt idx="136">
                  <c:v>44327</c:v>
                </c:pt>
                <c:pt idx="137">
                  <c:v>44328</c:v>
                </c:pt>
                <c:pt idx="138">
                  <c:v>44329</c:v>
                </c:pt>
                <c:pt idx="139">
                  <c:v>44330</c:v>
                </c:pt>
                <c:pt idx="140">
                  <c:v>44331</c:v>
                </c:pt>
                <c:pt idx="141">
                  <c:v>44332</c:v>
                </c:pt>
                <c:pt idx="142">
                  <c:v>44333</c:v>
                </c:pt>
                <c:pt idx="143">
                  <c:v>44334</c:v>
                </c:pt>
                <c:pt idx="144">
                  <c:v>44335</c:v>
                </c:pt>
                <c:pt idx="145">
                  <c:v>44336</c:v>
                </c:pt>
                <c:pt idx="146">
                  <c:v>44337</c:v>
                </c:pt>
                <c:pt idx="147">
                  <c:v>44338</c:v>
                </c:pt>
                <c:pt idx="148">
                  <c:v>44339</c:v>
                </c:pt>
                <c:pt idx="149">
                  <c:v>44340</c:v>
                </c:pt>
                <c:pt idx="150">
                  <c:v>44341</c:v>
                </c:pt>
                <c:pt idx="151">
                  <c:v>44342</c:v>
                </c:pt>
                <c:pt idx="152">
                  <c:v>44343</c:v>
                </c:pt>
                <c:pt idx="153">
                  <c:v>44344</c:v>
                </c:pt>
                <c:pt idx="154">
                  <c:v>44345</c:v>
                </c:pt>
                <c:pt idx="155">
                  <c:v>44346</c:v>
                </c:pt>
                <c:pt idx="156">
                  <c:v>44347</c:v>
                </c:pt>
                <c:pt idx="157">
                  <c:v>44348</c:v>
                </c:pt>
                <c:pt idx="158">
                  <c:v>44349</c:v>
                </c:pt>
                <c:pt idx="159">
                  <c:v>44350</c:v>
                </c:pt>
                <c:pt idx="160">
                  <c:v>44351</c:v>
                </c:pt>
                <c:pt idx="161">
                  <c:v>44352</c:v>
                </c:pt>
                <c:pt idx="162">
                  <c:v>44353</c:v>
                </c:pt>
                <c:pt idx="163">
                  <c:v>44354</c:v>
                </c:pt>
                <c:pt idx="164">
                  <c:v>44355</c:v>
                </c:pt>
                <c:pt idx="165">
                  <c:v>44356</c:v>
                </c:pt>
                <c:pt idx="166">
                  <c:v>44357</c:v>
                </c:pt>
                <c:pt idx="167">
                  <c:v>44358</c:v>
                </c:pt>
                <c:pt idx="168">
                  <c:v>44359</c:v>
                </c:pt>
                <c:pt idx="169">
                  <c:v>44360</c:v>
                </c:pt>
                <c:pt idx="170">
                  <c:v>44361</c:v>
                </c:pt>
                <c:pt idx="171">
                  <c:v>44362</c:v>
                </c:pt>
                <c:pt idx="172">
                  <c:v>44363</c:v>
                </c:pt>
                <c:pt idx="173">
                  <c:v>44364</c:v>
                </c:pt>
                <c:pt idx="174">
                  <c:v>44365</c:v>
                </c:pt>
                <c:pt idx="175">
                  <c:v>44366</c:v>
                </c:pt>
                <c:pt idx="176">
                  <c:v>44367</c:v>
                </c:pt>
                <c:pt idx="177">
                  <c:v>44368</c:v>
                </c:pt>
                <c:pt idx="178">
                  <c:v>44369</c:v>
                </c:pt>
                <c:pt idx="179">
                  <c:v>44370</c:v>
                </c:pt>
                <c:pt idx="180">
                  <c:v>44371</c:v>
                </c:pt>
                <c:pt idx="181">
                  <c:v>44372</c:v>
                </c:pt>
                <c:pt idx="182">
                  <c:v>44373</c:v>
                </c:pt>
                <c:pt idx="183">
                  <c:v>44374</c:v>
                </c:pt>
                <c:pt idx="184">
                  <c:v>44375</c:v>
                </c:pt>
                <c:pt idx="185">
                  <c:v>44376</c:v>
                </c:pt>
                <c:pt idx="186">
                  <c:v>44377</c:v>
                </c:pt>
                <c:pt idx="187">
                  <c:v>44378</c:v>
                </c:pt>
                <c:pt idx="188">
                  <c:v>44379</c:v>
                </c:pt>
                <c:pt idx="189">
                  <c:v>44380</c:v>
                </c:pt>
                <c:pt idx="190">
                  <c:v>44381</c:v>
                </c:pt>
                <c:pt idx="191">
                  <c:v>44382</c:v>
                </c:pt>
                <c:pt idx="192">
                  <c:v>44383</c:v>
                </c:pt>
                <c:pt idx="193">
                  <c:v>44384</c:v>
                </c:pt>
                <c:pt idx="194">
                  <c:v>44385</c:v>
                </c:pt>
                <c:pt idx="195">
                  <c:v>44386</c:v>
                </c:pt>
                <c:pt idx="196">
                  <c:v>44387</c:v>
                </c:pt>
                <c:pt idx="197">
                  <c:v>44388</c:v>
                </c:pt>
                <c:pt idx="198">
                  <c:v>44389</c:v>
                </c:pt>
                <c:pt idx="199">
                  <c:v>44390</c:v>
                </c:pt>
                <c:pt idx="200">
                  <c:v>44391</c:v>
                </c:pt>
                <c:pt idx="201">
                  <c:v>44392</c:v>
                </c:pt>
                <c:pt idx="202">
                  <c:v>44393</c:v>
                </c:pt>
                <c:pt idx="203">
                  <c:v>44394</c:v>
                </c:pt>
                <c:pt idx="204">
                  <c:v>44395</c:v>
                </c:pt>
                <c:pt idx="205">
                  <c:v>44396</c:v>
                </c:pt>
                <c:pt idx="206">
                  <c:v>44397</c:v>
                </c:pt>
                <c:pt idx="207">
                  <c:v>44398</c:v>
                </c:pt>
                <c:pt idx="208">
                  <c:v>44399</c:v>
                </c:pt>
                <c:pt idx="209">
                  <c:v>44400</c:v>
                </c:pt>
                <c:pt idx="210">
                  <c:v>44401</c:v>
                </c:pt>
                <c:pt idx="211">
                  <c:v>44402</c:v>
                </c:pt>
                <c:pt idx="212">
                  <c:v>44403</c:v>
                </c:pt>
                <c:pt idx="213">
                  <c:v>44404</c:v>
                </c:pt>
                <c:pt idx="214">
                  <c:v>44405</c:v>
                </c:pt>
                <c:pt idx="215">
                  <c:v>44406</c:v>
                </c:pt>
                <c:pt idx="216">
                  <c:v>44407</c:v>
                </c:pt>
                <c:pt idx="217">
                  <c:v>44408</c:v>
                </c:pt>
                <c:pt idx="218">
                  <c:v>44409</c:v>
                </c:pt>
                <c:pt idx="219">
                  <c:v>44410</c:v>
                </c:pt>
                <c:pt idx="220">
                  <c:v>44411</c:v>
                </c:pt>
                <c:pt idx="221">
                  <c:v>44412</c:v>
                </c:pt>
                <c:pt idx="222">
                  <c:v>44413</c:v>
                </c:pt>
                <c:pt idx="223">
                  <c:v>44414</c:v>
                </c:pt>
                <c:pt idx="224">
                  <c:v>44415</c:v>
                </c:pt>
                <c:pt idx="225">
                  <c:v>44416</c:v>
                </c:pt>
                <c:pt idx="226">
                  <c:v>44417</c:v>
                </c:pt>
                <c:pt idx="227">
                  <c:v>44418</c:v>
                </c:pt>
                <c:pt idx="228">
                  <c:v>44419</c:v>
                </c:pt>
                <c:pt idx="229">
                  <c:v>44420</c:v>
                </c:pt>
                <c:pt idx="230">
                  <c:v>44421</c:v>
                </c:pt>
                <c:pt idx="231">
                  <c:v>44422</c:v>
                </c:pt>
                <c:pt idx="232">
                  <c:v>44423</c:v>
                </c:pt>
                <c:pt idx="233">
                  <c:v>44424</c:v>
                </c:pt>
                <c:pt idx="234">
                  <c:v>44425</c:v>
                </c:pt>
                <c:pt idx="235">
                  <c:v>44426</c:v>
                </c:pt>
                <c:pt idx="236">
                  <c:v>44427</c:v>
                </c:pt>
                <c:pt idx="237">
                  <c:v>44428</c:v>
                </c:pt>
                <c:pt idx="238">
                  <c:v>44429</c:v>
                </c:pt>
                <c:pt idx="239">
                  <c:v>44430</c:v>
                </c:pt>
                <c:pt idx="240">
                  <c:v>44431</c:v>
                </c:pt>
                <c:pt idx="241">
                  <c:v>44432</c:v>
                </c:pt>
                <c:pt idx="242">
                  <c:v>44433</c:v>
                </c:pt>
                <c:pt idx="243">
                  <c:v>44434</c:v>
                </c:pt>
                <c:pt idx="244">
                  <c:v>44435</c:v>
                </c:pt>
                <c:pt idx="245">
                  <c:v>44436</c:v>
                </c:pt>
                <c:pt idx="246">
                  <c:v>44437</c:v>
                </c:pt>
                <c:pt idx="247">
                  <c:v>44438</c:v>
                </c:pt>
                <c:pt idx="248">
                  <c:v>44439</c:v>
                </c:pt>
                <c:pt idx="249">
                  <c:v>44440</c:v>
                </c:pt>
                <c:pt idx="250">
                  <c:v>44441</c:v>
                </c:pt>
                <c:pt idx="251">
                  <c:v>44442</c:v>
                </c:pt>
                <c:pt idx="252">
                  <c:v>44443</c:v>
                </c:pt>
                <c:pt idx="253">
                  <c:v>44444</c:v>
                </c:pt>
                <c:pt idx="254">
                  <c:v>44445</c:v>
                </c:pt>
                <c:pt idx="255">
                  <c:v>44446</c:v>
                </c:pt>
                <c:pt idx="256">
                  <c:v>44447</c:v>
                </c:pt>
                <c:pt idx="257">
                  <c:v>44448</c:v>
                </c:pt>
                <c:pt idx="258">
                  <c:v>44449</c:v>
                </c:pt>
                <c:pt idx="259">
                  <c:v>44450</c:v>
                </c:pt>
                <c:pt idx="260">
                  <c:v>44451</c:v>
                </c:pt>
                <c:pt idx="261">
                  <c:v>44452</c:v>
                </c:pt>
                <c:pt idx="262">
                  <c:v>44453</c:v>
                </c:pt>
                <c:pt idx="263">
                  <c:v>44454</c:v>
                </c:pt>
                <c:pt idx="264">
                  <c:v>44455</c:v>
                </c:pt>
                <c:pt idx="265">
                  <c:v>44456</c:v>
                </c:pt>
                <c:pt idx="266">
                  <c:v>44457</c:v>
                </c:pt>
                <c:pt idx="267">
                  <c:v>44458</c:v>
                </c:pt>
                <c:pt idx="268">
                  <c:v>44459</c:v>
                </c:pt>
                <c:pt idx="269">
                  <c:v>44460</c:v>
                </c:pt>
                <c:pt idx="270">
                  <c:v>44461</c:v>
                </c:pt>
                <c:pt idx="271">
                  <c:v>44462</c:v>
                </c:pt>
                <c:pt idx="272">
                  <c:v>44463</c:v>
                </c:pt>
                <c:pt idx="273">
                  <c:v>44464</c:v>
                </c:pt>
                <c:pt idx="274">
                  <c:v>44465</c:v>
                </c:pt>
                <c:pt idx="275">
                  <c:v>44466</c:v>
                </c:pt>
                <c:pt idx="276">
                  <c:v>44467</c:v>
                </c:pt>
                <c:pt idx="277">
                  <c:v>44468</c:v>
                </c:pt>
                <c:pt idx="278">
                  <c:v>44469</c:v>
                </c:pt>
                <c:pt idx="279">
                  <c:v>44470</c:v>
                </c:pt>
                <c:pt idx="280">
                  <c:v>44471</c:v>
                </c:pt>
                <c:pt idx="281">
                  <c:v>44472</c:v>
                </c:pt>
                <c:pt idx="282">
                  <c:v>44473</c:v>
                </c:pt>
                <c:pt idx="283">
                  <c:v>44474</c:v>
                </c:pt>
                <c:pt idx="284">
                  <c:v>44475</c:v>
                </c:pt>
                <c:pt idx="285">
                  <c:v>44476</c:v>
                </c:pt>
                <c:pt idx="286">
                  <c:v>44477</c:v>
                </c:pt>
                <c:pt idx="287">
                  <c:v>44478</c:v>
                </c:pt>
                <c:pt idx="288">
                  <c:v>44479</c:v>
                </c:pt>
                <c:pt idx="289">
                  <c:v>44480</c:v>
                </c:pt>
                <c:pt idx="290">
                  <c:v>44481</c:v>
                </c:pt>
                <c:pt idx="291">
                  <c:v>44482</c:v>
                </c:pt>
                <c:pt idx="292">
                  <c:v>44483</c:v>
                </c:pt>
                <c:pt idx="293">
                  <c:v>44484</c:v>
                </c:pt>
                <c:pt idx="294">
                  <c:v>44485</c:v>
                </c:pt>
                <c:pt idx="295">
                  <c:v>44486</c:v>
                </c:pt>
                <c:pt idx="296">
                  <c:v>44487</c:v>
                </c:pt>
                <c:pt idx="297">
                  <c:v>44488</c:v>
                </c:pt>
                <c:pt idx="298">
                  <c:v>44489</c:v>
                </c:pt>
                <c:pt idx="299">
                  <c:v>44490</c:v>
                </c:pt>
                <c:pt idx="300">
                  <c:v>44491</c:v>
                </c:pt>
                <c:pt idx="301">
                  <c:v>44492</c:v>
                </c:pt>
                <c:pt idx="302">
                  <c:v>44493</c:v>
                </c:pt>
                <c:pt idx="303">
                  <c:v>44494</c:v>
                </c:pt>
                <c:pt idx="304">
                  <c:v>44495</c:v>
                </c:pt>
                <c:pt idx="305">
                  <c:v>44496</c:v>
                </c:pt>
                <c:pt idx="306">
                  <c:v>44497</c:v>
                </c:pt>
                <c:pt idx="307">
                  <c:v>44498</c:v>
                </c:pt>
                <c:pt idx="308">
                  <c:v>44499</c:v>
                </c:pt>
                <c:pt idx="309">
                  <c:v>44500</c:v>
                </c:pt>
                <c:pt idx="310">
                  <c:v>44501</c:v>
                </c:pt>
                <c:pt idx="311">
                  <c:v>44502</c:v>
                </c:pt>
                <c:pt idx="312">
                  <c:v>44503</c:v>
                </c:pt>
                <c:pt idx="313">
                  <c:v>44504</c:v>
                </c:pt>
                <c:pt idx="314">
                  <c:v>44505</c:v>
                </c:pt>
                <c:pt idx="315">
                  <c:v>44506</c:v>
                </c:pt>
                <c:pt idx="316">
                  <c:v>44507</c:v>
                </c:pt>
                <c:pt idx="317">
                  <c:v>44508</c:v>
                </c:pt>
                <c:pt idx="318">
                  <c:v>44509</c:v>
                </c:pt>
                <c:pt idx="319">
                  <c:v>44510</c:v>
                </c:pt>
                <c:pt idx="320">
                  <c:v>44511</c:v>
                </c:pt>
                <c:pt idx="321">
                  <c:v>44512</c:v>
                </c:pt>
                <c:pt idx="322">
                  <c:v>44513</c:v>
                </c:pt>
                <c:pt idx="323">
                  <c:v>44514</c:v>
                </c:pt>
                <c:pt idx="324">
                  <c:v>44515</c:v>
                </c:pt>
                <c:pt idx="325">
                  <c:v>44516</c:v>
                </c:pt>
                <c:pt idx="326">
                  <c:v>44517</c:v>
                </c:pt>
                <c:pt idx="327">
                  <c:v>44518</c:v>
                </c:pt>
                <c:pt idx="328">
                  <c:v>44519</c:v>
                </c:pt>
                <c:pt idx="329">
                  <c:v>44520</c:v>
                </c:pt>
                <c:pt idx="330">
                  <c:v>44521</c:v>
                </c:pt>
                <c:pt idx="331">
                  <c:v>44522</c:v>
                </c:pt>
                <c:pt idx="332">
                  <c:v>44523</c:v>
                </c:pt>
                <c:pt idx="333">
                  <c:v>44524</c:v>
                </c:pt>
                <c:pt idx="334">
                  <c:v>44525</c:v>
                </c:pt>
                <c:pt idx="335">
                  <c:v>44526</c:v>
                </c:pt>
                <c:pt idx="336">
                  <c:v>44527</c:v>
                </c:pt>
                <c:pt idx="337">
                  <c:v>44528</c:v>
                </c:pt>
                <c:pt idx="338">
                  <c:v>44529</c:v>
                </c:pt>
                <c:pt idx="339">
                  <c:v>44530</c:v>
                </c:pt>
                <c:pt idx="340">
                  <c:v>44531</c:v>
                </c:pt>
                <c:pt idx="341">
                  <c:v>44532</c:v>
                </c:pt>
                <c:pt idx="342">
                  <c:v>44533</c:v>
                </c:pt>
                <c:pt idx="343">
                  <c:v>44534</c:v>
                </c:pt>
                <c:pt idx="344">
                  <c:v>44535</c:v>
                </c:pt>
                <c:pt idx="345">
                  <c:v>44536</c:v>
                </c:pt>
                <c:pt idx="346">
                  <c:v>44537</c:v>
                </c:pt>
                <c:pt idx="347">
                  <c:v>44538</c:v>
                </c:pt>
                <c:pt idx="348">
                  <c:v>44539</c:v>
                </c:pt>
                <c:pt idx="349">
                  <c:v>44540</c:v>
                </c:pt>
                <c:pt idx="350">
                  <c:v>44541</c:v>
                </c:pt>
                <c:pt idx="351">
                  <c:v>44542</c:v>
                </c:pt>
                <c:pt idx="352">
                  <c:v>44543</c:v>
                </c:pt>
                <c:pt idx="353">
                  <c:v>44544</c:v>
                </c:pt>
                <c:pt idx="354">
                  <c:v>44545</c:v>
                </c:pt>
                <c:pt idx="355">
                  <c:v>44546</c:v>
                </c:pt>
                <c:pt idx="356">
                  <c:v>44547</c:v>
                </c:pt>
                <c:pt idx="357">
                  <c:v>44548</c:v>
                </c:pt>
                <c:pt idx="358">
                  <c:v>44549</c:v>
                </c:pt>
                <c:pt idx="359">
                  <c:v>44550</c:v>
                </c:pt>
                <c:pt idx="360">
                  <c:v>44551</c:v>
                </c:pt>
                <c:pt idx="361">
                  <c:v>44552</c:v>
                </c:pt>
                <c:pt idx="362">
                  <c:v>44553</c:v>
                </c:pt>
                <c:pt idx="363">
                  <c:v>44554</c:v>
                </c:pt>
                <c:pt idx="364">
                  <c:v>44555</c:v>
                </c:pt>
                <c:pt idx="365">
                  <c:v>44556</c:v>
                </c:pt>
                <c:pt idx="366">
                  <c:v>44557</c:v>
                </c:pt>
                <c:pt idx="367">
                  <c:v>44558</c:v>
                </c:pt>
                <c:pt idx="368">
                  <c:v>44559</c:v>
                </c:pt>
                <c:pt idx="369">
                  <c:v>44560</c:v>
                </c:pt>
                <c:pt idx="370">
                  <c:v>44561</c:v>
                </c:pt>
                <c:pt idx="371">
                  <c:v>44562</c:v>
                </c:pt>
                <c:pt idx="372">
                  <c:v>44563</c:v>
                </c:pt>
                <c:pt idx="373">
                  <c:v>44564</c:v>
                </c:pt>
                <c:pt idx="374">
                  <c:v>44565</c:v>
                </c:pt>
                <c:pt idx="375">
                  <c:v>44566</c:v>
                </c:pt>
                <c:pt idx="376">
                  <c:v>44567</c:v>
                </c:pt>
                <c:pt idx="377">
                  <c:v>44568</c:v>
                </c:pt>
                <c:pt idx="378">
                  <c:v>44569</c:v>
                </c:pt>
                <c:pt idx="379">
                  <c:v>44570</c:v>
                </c:pt>
                <c:pt idx="380">
                  <c:v>44571</c:v>
                </c:pt>
                <c:pt idx="381">
                  <c:v>44572</c:v>
                </c:pt>
                <c:pt idx="382">
                  <c:v>44573</c:v>
                </c:pt>
                <c:pt idx="383">
                  <c:v>44574</c:v>
                </c:pt>
                <c:pt idx="384">
                  <c:v>44575</c:v>
                </c:pt>
                <c:pt idx="385">
                  <c:v>44576</c:v>
                </c:pt>
              </c:numCache>
            </c:numRef>
          </c:cat>
          <c:val>
            <c:numRef>
              <c:f>List1!$B$2:$B$387</c:f>
              <c:numCache>
                <c:formatCode>General</c:formatCode>
                <c:ptCount val="386"/>
                <c:pt idx="1">
                  <c:v>1.5752978471229999</c:v>
                </c:pt>
                <c:pt idx="2">
                  <c:v>1.80695929523</c:v>
                </c:pt>
                <c:pt idx="3">
                  <c:v>2.0386207433360002</c:v>
                </c:pt>
                <c:pt idx="4">
                  <c:v>1.760627005608</c:v>
                </c:pt>
                <c:pt idx="5">
                  <c:v>2.2239499018209998</c:v>
                </c:pt>
                <c:pt idx="6">
                  <c:v>1.9922884537150001</c:v>
                </c:pt>
                <c:pt idx="7">
                  <c:v>1.7142947159869999</c:v>
                </c:pt>
                <c:pt idx="8">
                  <c:v>1.9922884537150001</c:v>
                </c:pt>
                <c:pt idx="9">
                  <c:v>2.270282191443</c:v>
                </c:pt>
                <c:pt idx="10">
                  <c:v>2.409279060307</c:v>
                </c:pt>
                <c:pt idx="11">
                  <c:v>2.5019436395489998</c:v>
                </c:pt>
                <c:pt idx="12">
                  <c:v>2.6409405084130002</c:v>
                </c:pt>
                <c:pt idx="13">
                  <c:v>1.667962426366</c:v>
                </c:pt>
                <c:pt idx="14">
                  <c:v>1.389968688638</c:v>
                </c:pt>
                <c:pt idx="15">
                  <c:v>2.3629467706849998</c:v>
                </c:pt>
                <c:pt idx="16">
                  <c:v>2.8262696668979999</c:v>
                </c:pt>
                <c:pt idx="17">
                  <c:v>2.6409405084130002</c:v>
                </c:pt>
                <c:pt idx="18">
                  <c:v>2.6872727980339999</c:v>
                </c:pt>
                <c:pt idx="19">
                  <c:v>2.6872727980339999</c:v>
                </c:pt>
                <c:pt idx="20">
                  <c:v>3.0115988253829999</c:v>
                </c:pt>
                <c:pt idx="21">
                  <c:v>1.80695929523</c:v>
                </c:pt>
                <c:pt idx="22">
                  <c:v>1.7142947159869999</c:v>
                </c:pt>
                <c:pt idx="23">
                  <c:v>2.0386216878760002</c:v>
                </c:pt>
                <c:pt idx="24">
                  <c:v>2.084953998964</c:v>
                </c:pt>
                <c:pt idx="25">
                  <c:v>1.760629452828</c:v>
                </c:pt>
                <c:pt idx="26">
                  <c:v>2.1776206390250001</c:v>
                </c:pt>
                <c:pt idx="27">
                  <c:v>1.714297098806</c:v>
                </c:pt>
                <c:pt idx="28">
                  <c:v>1.8996273950360001</c:v>
                </c:pt>
                <c:pt idx="29">
                  <c:v>1.5753007666150001</c:v>
                </c:pt>
                <c:pt idx="30">
                  <c:v>1.714297893081</c:v>
                </c:pt>
                <c:pt idx="31">
                  <c:v>2.4556170386459999</c:v>
                </c:pt>
                <c:pt idx="32">
                  <c:v>1.4826367025780001</c:v>
                </c:pt>
                <c:pt idx="33">
                  <c:v>2.038627355135</c:v>
                </c:pt>
                <c:pt idx="34">
                  <c:v>1.2973083169040001</c:v>
                </c:pt>
                <c:pt idx="35">
                  <c:v>1.9459624753560001</c:v>
                </c:pt>
                <c:pt idx="36">
                  <c:v>1.390008618053</c:v>
                </c:pt>
                <c:pt idx="37">
                  <c:v>2.0389523306839998</c:v>
                </c:pt>
                <c:pt idx="38">
                  <c:v>1.8077642082150001</c:v>
                </c:pt>
                <c:pt idx="39">
                  <c:v>1.6226887117419999</c:v>
                </c:pt>
                <c:pt idx="40">
                  <c:v>2.3183750231250002</c:v>
                </c:pt>
                <c:pt idx="41">
                  <c:v>2.1330949213319998</c:v>
                </c:pt>
                <c:pt idx="42">
                  <c:v>1.9013126012970001</c:v>
                </c:pt>
                <c:pt idx="43">
                  <c:v>2.5042583986559999</c:v>
                </c:pt>
                <c:pt idx="44">
                  <c:v>1.530582428357</c:v>
                </c:pt>
                <c:pt idx="45">
                  <c:v>1.6699950595969999</c:v>
                </c:pt>
                <c:pt idx="46">
                  <c:v>1.995065229353</c:v>
                </c:pt>
                <c:pt idx="47">
                  <c:v>2.3207919284709999</c:v>
                </c:pt>
                <c:pt idx="48">
                  <c:v>2.136373051604</c:v>
                </c:pt>
                <c:pt idx="49">
                  <c:v>1.8115050076500001</c:v>
                </c:pt>
                <c:pt idx="50">
                  <c:v>1.718857210815</c:v>
                </c:pt>
                <c:pt idx="51">
                  <c:v>1.4410286899510001</c:v>
                </c:pt>
                <c:pt idx="52">
                  <c:v>2.2334484024560002</c:v>
                </c:pt>
                <c:pt idx="53">
                  <c:v>2.0498075277310002</c:v>
                </c:pt>
                <c:pt idx="54">
                  <c:v>2.4730645936469999</c:v>
                </c:pt>
                <c:pt idx="55">
                  <c:v>2.476372833348</c:v>
                </c:pt>
                <c:pt idx="56">
                  <c:v>1.8700991713590001</c:v>
                </c:pt>
                <c:pt idx="57">
                  <c:v>1.965080519174</c:v>
                </c:pt>
                <c:pt idx="58">
                  <c:v>1.359897923248</c:v>
                </c:pt>
                <c:pt idx="59">
                  <c:v>2.2101619484409998</c:v>
                </c:pt>
                <c:pt idx="60">
                  <c:v>1.4156773048519999</c:v>
                </c:pt>
                <c:pt idx="61">
                  <c:v>2.5127546001179999</c:v>
                </c:pt>
                <c:pt idx="62">
                  <c:v>2.523801111139</c:v>
                </c:pt>
                <c:pt idx="63">
                  <c:v>2.47889483241</c:v>
                </c:pt>
                <c:pt idx="64">
                  <c:v>2.1941540105309998</c:v>
                </c:pt>
                <c:pt idx="65">
                  <c:v>3.1571485017410001</c:v>
                </c:pt>
                <c:pt idx="66">
                  <c:v>2.3986429437679999</c:v>
                </c:pt>
                <c:pt idx="67">
                  <c:v>2.6933617290609999</c:v>
                </c:pt>
                <c:pt idx="68">
                  <c:v>2.748117659934</c:v>
                </c:pt>
                <c:pt idx="69">
                  <c:v>3.189673962159</c:v>
                </c:pt>
                <c:pt idx="70">
                  <c:v>2.2726041916490001</c:v>
                </c:pt>
                <c:pt idx="71">
                  <c:v>2.8541007865219998</c:v>
                </c:pt>
                <c:pt idx="72">
                  <c:v>3.5870457236840001</c:v>
                </c:pt>
                <c:pt idx="73">
                  <c:v>2.6724144633010001</c:v>
                </c:pt>
                <c:pt idx="74">
                  <c:v>1.9476159476629999</c:v>
                </c:pt>
                <c:pt idx="75">
                  <c:v>2.73168066653</c:v>
                </c:pt>
                <c:pt idx="76">
                  <c:v>3.3227818720740001</c:v>
                </c:pt>
                <c:pt idx="77">
                  <c:v>2.2971809191260002</c:v>
                </c:pt>
                <c:pt idx="78">
                  <c:v>2.4932767082480001</c:v>
                </c:pt>
                <c:pt idx="79">
                  <c:v>2.643136874843</c:v>
                </c:pt>
                <c:pt idx="80">
                  <c:v>1.9112166364050001</c:v>
                </c:pt>
                <c:pt idx="81">
                  <c:v>2.601018912352</c:v>
                </c:pt>
                <c:pt idx="82">
                  <c:v>2.6052214536539999</c:v>
                </c:pt>
                <c:pt idx="83">
                  <c:v>2.6100248592550002</c:v>
                </c:pt>
                <c:pt idx="84">
                  <c:v>2.3646997619530001</c:v>
                </c:pt>
                <c:pt idx="85">
                  <c:v>1.8234838101740001</c:v>
                </c:pt>
                <c:pt idx="86">
                  <c:v>2.8140380013609998</c:v>
                </c:pt>
                <c:pt idx="87">
                  <c:v>2.3256067112059999</c:v>
                </c:pt>
                <c:pt idx="88">
                  <c:v>2.3308612978830001</c:v>
                </c:pt>
                <c:pt idx="89">
                  <c:v>2.2873463997160002</c:v>
                </c:pt>
                <c:pt idx="90">
                  <c:v>3.0413322032200001</c:v>
                </c:pt>
                <c:pt idx="91">
                  <c:v>1.995385670636</c:v>
                </c:pt>
                <c:pt idx="92">
                  <c:v>1.3972941398980001</c:v>
                </c:pt>
                <c:pt idx="93">
                  <c:v>2.5027605448810002</c:v>
                </c:pt>
                <c:pt idx="94">
                  <c:v>2.3616713799590001</c:v>
                </c:pt>
                <c:pt idx="95">
                  <c:v>2.168582584163</c:v>
                </c:pt>
                <c:pt idx="96">
                  <c:v>2.3302229922080002</c:v>
                </c:pt>
                <c:pt idx="97">
                  <c:v>1.3742451195209999</c:v>
                </c:pt>
                <c:pt idx="98">
                  <c:v>1.171567980741</c:v>
                </c:pt>
                <c:pt idx="99">
                  <c:v>1.4781220103070001</c:v>
                </c:pt>
                <c:pt idx="100">
                  <c:v>1.5862862990910001</c:v>
                </c:pt>
                <c:pt idx="101">
                  <c:v>2.6209463980479999</c:v>
                </c:pt>
                <c:pt idx="102">
                  <c:v>2.0145304465280001</c:v>
                </c:pt>
                <c:pt idx="103">
                  <c:v>1.8190360564120001</c:v>
                </c:pt>
                <c:pt idx="104">
                  <c:v>1.3590322853800001</c:v>
                </c:pt>
                <c:pt idx="105">
                  <c:v>1.3090430790359999</c:v>
                </c:pt>
                <c:pt idx="106">
                  <c:v>1.8353502084169999</c:v>
                </c:pt>
                <c:pt idx="107">
                  <c:v>1.478540828056</c:v>
                </c:pt>
                <c:pt idx="108">
                  <c:v>1.223387986861</c:v>
                </c:pt>
                <c:pt idx="109">
                  <c:v>0.805590583827</c:v>
                </c:pt>
                <c:pt idx="110">
                  <c:v>1.847383317367</c:v>
                </c:pt>
                <c:pt idx="111">
                  <c:v>1.1466612500569999</c:v>
                </c:pt>
                <c:pt idx="112">
                  <c:v>1.151313264663</c:v>
                </c:pt>
                <c:pt idx="113">
                  <c:v>1.375167770467</c:v>
                </c:pt>
                <c:pt idx="114">
                  <c:v>1.103102586334</c:v>
                </c:pt>
                <c:pt idx="115">
                  <c:v>1.1144470225309999</c:v>
                </c:pt>
                <c:pt idx="116">
                  <c:v>1.4607291398040001</c:v>
                </c:pt>
                <c:pt idx="117">
                  <c:v>1.137990445432</c:v>
                </c:pt>
                <c:pt idx="118">
                  <c:v>1.0359533360569999</c:v>
                </c:pt>
                <c:pt idx="119">
                  <c:v>1.042804216405</c:v>
                </c:pt>
                <c:pt idx="120">
                  <c:v>0.98917090603900004</c:v>
                </c:pt>
                <c:pt idx="121">
                  <c:v>1.058482324521</c:v>
                </c:pt>
                <c:pt idx="122">
                  <c:v>1.3665934449849999</c:v>
                </c:pt>
                <c:pt idx="123">
                  <c:v>0.90172247026200003</c:v>
                </c:pt>
                <c:pt idx="124">
                  <c:v>0.97257047336799995</c:v>
                </c:pt>
                <c:pt idx="125">
                  <c:v>0.73628214331700004</c:v>
                </c:pt>
                <c:pt idx="126">
                  <c:v>0.492562309132</c:v>
                </c:pt>
                <c:pt idx="127">
                  <c:v>0.92558254622799996</c:v>
                </c:pt>
                <c:pt idx="128">
                  <c:v>1.180196794709</c:v>
                </c:pt>
                <c:pt idx="129">
                  <c:v>1.0006810885649999</c:v>
                </c:pt>
                <c:pt idx="130">
                  <c:v>0.94372801506899995</c:v>
                </c:pt>
                <c:pt idx="131">
                  <c:v>0.57011242617000002</c:v>
                </c:pt>
                <c:pt idx="132">
                  <c:v>0.57259849012099995</c:v>
                </c:pt>
                <c:pt idx="133">
                  <c:v>0.44639924800800002</c:v>
                </c:pt>
                <c:pt idx="134">
                  <c:v>0.383194372151</c:v>
                </c:pt>
                <c:pt idx="135">
                  <c:v>0.89687247754599997</c:v>
                </c:pt>
                <c:pt idx="136">
                  <c:v>0.25750564581099999</c:v>
                </c:pt>
                <c:pt idx="137">
                  <c:v>0.64736609394099998</c:v>
                </c:pt>
                <c:pt idx="138">
                  <c:v>0.260561366435</c:v>
                </c:pt>
                <c:pt idx="139">
                  <c:v>0.39219300602200002</c:v>
                </c:pt>
                <c:pt idx="140">
                  <c:v>0.327293031342</c:v>
                </c:pt>
                <c:pt idx="141">
                  <c:v>0.26206206153700001</c:v>
                </c:pt>
                <c:pt idx="142">
                  <c:v>0.26260245598900001</c:v>
                </c:pt>
                <c:pt idx="143">
                  <c:v>0.32945585752700002</c:v>
                </c:pt>
                <c:pt idx="144">
                  <c:v>0.52928535890799999</c:v>
                </c:pt>
                <c:pt idx="145">
                  <c:v>0.33232307119600002</c:v>
                </c:pt>
                <c:pt idx="146">
                  <c:v>0.133432251108</c:v>
                </c:pt>
                <c:pt idx="147">
                  <c:v>0.20028788044599999</c:v>
                </c:pt>
                <c:pt idx="148">
                  <c:v>0.20036613571799999</c:v>
                </c:pt>
                <c:pt idx="150">
                  <c:v>0.20178173269899999</c:v>
                </c:pt>
                <c:pt idx="151">
                  <c:v>0.33767789715800001</c:v>
                </c:pt>
                <c:pt idx="152">
                  <c:v>6.7807919150999998E-2</c:v>
                </c:pt>
                <c:pt idx="153">
                  <c:v>0.27201928072600001</c:v>
                </c:pt>
                <c:pt idx="154">
                  <c:v>6.8059620227000003E-2</c:v>
                </c:pt>
                <c:pt idx="155">
                  <c:v>0.13620016521</c:v>
                </c:pt>
                <c:pt idx="156">
                  <c:v>0.136576944719</c:v>
                </c:pt>
                <c:pt idx="157">
                  <c:v>0.206066317636</c:v>
                </c:pt>
                <c:pt idx="158">
                  <c:v>6.9140848897000007E-2</c:v>
                </c:pt>
                <c:pt idx="159">
                  <c:v>7.0035269760999996E-2</c:v>
                </c:pt>
                <c:pt idx="160">
                  <c:v>0.21259889391799999</c:v>
                </c:pt>
                <c:pt idx="164">
                  <c:v>0.14768180183599999</c:v>
                </c:pt>
                <c:pt idx="165">
                  <c:v>7.5176834708999996E-2</c:v>
                </c:pt>
                <c:pt idx="166">
                  <c:v>7.6873523067000002E-2</c:v>
                </c:pt>
                <c:pt idx="169">
                  <c:v>7.9525265972000006E-2</c:v>
                </c:pt>
                <c:pt idx="170">
                  <c:v>0.162847353404</c:v>
                </c:pt>
                <c:pt idx="172">
                  <c:v>8.6166413193000002E-2</c:v>
                </c:pt>
                <c:pt idx="174">
                  <c:v>9.2119541686000006E-2</c:v>
                </c:pt>
                <c:pt idx="177">
                  <c:v>9.723701035E-2</c:v>
                </c:pt>
                <c:pt idx="180">
                  <c:v>0.217537432753</c:v>
                </c:pt>
                <c:pt idx="181">
                  <c:v>0</c:v>
                </c:pt>
                <c:pt idx="194">
                  <c:v>0.150507435819</c:v>
                </c:pt>
                <c:pt idx="200">
                  <c:v>0.16823065095100001</c:v>
                </c:pt>
                <c:pt idx="202">
                  <c:v>0</c:v>
                </c:pt>
                <c:pt idx="205">
                  <c:v>0.179020898899</c:v>
                </c:pt>
                <c:pt idx="209">
                  <c:v>0</c:v>
                </c:pt>
                <c:pt idx="213">
                  <c:v>0.199826550554</c:v>
                </c:pt>
                <c:pt idx="216">
                  <c:v>0.21142185425400001</c:v>
                </c:pt>
                <c:pt idx="217">
                  <c:v>0.212122369152</c:v>
                </c:pt>
                <c:pt idx="219">
                  <c:v>0.21552049276599999</c:v>
                </c:pt>
                <c:pt idx="220">
                  <c:v>0.21916799445900001</c:v>
                </c:pt>
                <c:pt idx="223">
                  <c:v>0</c:v>
                </c:pt>
                <c:pt idx="225">
                  <c:v>0.22910452206500001</c:v>
                </c:pt>
                <c:pt idx="227">
                  <c:v>0</c:v>
                </c:pt>
                <c:pt idx="228">
                  <c:v>0.23681250370000001</c:v>
                </c:pt>
                <c:pt idx="230">
                  <c:v>0.24126500065100001</c:v>
                </c:pt>
                <c:pt idx="233">
                  <c:v>0.243855452242</c:v>
                </c:pt>
                <c:pt idx="234">
                  <c:v>0.24604725091400001</c:v>
                </c:pt>
                <c:pt idx="239">
                  <c:v>0.25313251487100003</c:v>
                </c:pt>
                <c:pt idx="241">
                  <c:v>0</c:v>
                </c:pt>
                <c:pt idx="244">
                  <c:v>0.26393302435499999</c:v>
                </c:pt>
                <c:pt idx="253">
                  <c:v>0.27564535468599999</c:v>
                </c:pt>
                <c:pt idx="254">
                  <c:v>0.27762970859899999</c:v>
                </c:pt>
                <c:pt idx="256">
                  <c:v>0</c:v>
                </c:pt>
                <c:pt idx="260">
                  <c:v>0</c:v>
                </c:pt>
                <c:pt idx="261">
                  <c:v>0</c:v>
                </c:pt>
                <c:pt idx="262">
                  <c:v>0.57468126740199998</c:v>
                </c:pt>
                <c:pt idx="265">
                  <c:v>0.29001394966999999</c:v>
                </c:pt>
                <c:pt idx="266">
                  <c:v>0.29016289745000001</c:v>
                </c:pt>
                <c:pt idx="267">
                  <c:v>0.29027576197299998</c:v>
                </c:pt>
                <c:pt idx="268">
                  <c:v>0.29099967116999997</c:v>
                </c:pt>
                <c:pt idx="273">
                  <c:v>0.29401733526200002</c:v>
                </c:pt>
                <c:pt idx="275">
                  <c:v>0.29481827401499999</c:v>
                </c:pt>
                <c:pt idx="276">
                  <c:v>0.59103226740600001</c:v>
                </c:pt>
                <c:pt idx="277">
                  <c:v>0.29614712589199998</c:v>
                </c:pt>
                <c:pt idx="278">
                  <c:v>0</c:v>
                </c:pt>
                <c:pt idx="279">
                  <c:v>0.297507482313</c:v>
                </c:pt>
                <c:pt idx="280">
                  <c:v>0.29763322062899999</c:v>
                </c:pt>
                <c:pt idx="282">
                  <c:v>0.29825728269700003</c:v>
                </c:pt>
                <c:pt idx="283">
                  <c:v>0</c:v>
                </c:pt>
                <c:pt idx="284">
                  <c:v>0.29931695870000002</c:v>
                </c:pt>
                <c:pt idx="285">
                  <c:v>0.59976309357799995</c:v>
                </c:pt>
                <c:pt idx="286">
                  <c:v>0.60096515002999995</c:v>
                </c:pt>
                <c:pt idx="287">
                  <c:v>0.30058283010699999</c:v>
                </c:pt>
                <c:pt idx="289">
                  <c:v>1.5055116782539999</c:v>
                </c:pt>
                <c:pt idx="290">
                  <c:v>1.204539910924</c:v>
                </c:pt>
                <c:pt idx="291">
                  <c:v>0.90534880071400003</c:v>
                </c:pt>
                <c:pt idx="292">
                  <c:v>0.30248582853799999</c:v>
                </c:pt>
                <c:pt idx="293">
                  <c:v>0.90913223328299997</c:v>
                </c:pt>
                <c:pt idx="294">
                  <c:v>0.606259018102</c:v>
                </c:pt>
                <c:pt idx="295">
                  <c:v>0.90952362184400004</c:v>
                </c:pt>
                <c:pt idx="296">
                  <c:v>0.30367353879800002</c:v>
                </c:pt>
                <c:pt idx="298">
                  <c:v>0.91402386820899995</c:v>
                </c:pt>
                <c:pt idx="299">
                  <c:v>0.61044284576200003</c:v>
                </c:pt>
                <c:pt idx="300">
                  <c:v>0.61148615595300004</c:v>
                </c:pt>
                <c:pt idx="301">
                  <c:v>0.61160583227300003</c:v>
                </c:pt>
                <c:pt idx="302">
                  <c:v>1.5291782501910001</c:v>
                </c:pt>
                <c:pt idx="303">
                  <c:v>2.1439969616500001</c:v>
                </c:pt>
                <c:pt idx="304">
                  <c:v>0.30674282068399999</c:v>
                </c:pt>
                <c:pt idx="305">
                  <c:v>1.2287578486899999</c:v>
                </c:pt>
                <c:pt idx="306">
                  <c:v>0.30774912291399997</c:v>
                </c:pt>
                <c:pt idx="307">
                  <c:v>1.232965806775</c:v>
                </c:pt>
                <c:pt idx="308">
                  <c:v>1.5415683916809999</c:v>
                </c:pt>
                <c:pt idx="309">
                  <c:v>2.4668212541310002</c:v>
                </c:pt>
                <c:pt idx="310">
                  <c:v>1.543829314231</c:v>
                </c:pt>
                <c:pt idx="311">
                  <c:v>1.8538602004019999</c:v>
                </c:pt>
                <c:pt idx="312">
                  <c:v>2.1658482854210002</c:v>
                </c:pt>
                <c:pt idx="313">
                  <c:v>3.4102393988049999</c:v>
                </c:pt>
                <c:pt idx="314">
                  <c:v>4.0368784371690003</c:v>
                </c:pt>
                <c:pt idx="315">
                  <c:v>1.553084425669</c:v>
                </c:pt>
                <c:pt idx="316">
                  <c:v>3.4177942798549998</c:v>
                </c:pt>
                <c:pt idx="317">
                  <c:v>3.1124335495430002</c:v>
                </c:pt>
                <c:pt idx="318">
                  <c:v>3.7415581095150001</c:v>
                </c:pt>
                <c:pt idx="319">
                  <c:v>4.3750273439200003</c:v>
                </c:pt>
                <c:pt idx="320">
                  <c:v>4.0641891786270001</c:v>
                </c:pt>
                <c:pt idx="321">
                  <c:v>1.879287123751</c:v>
                </c:pt>
                <c:pt idx="322">
                  <c:v>3.7599992480000002</c:v>
                </c:pt>
                <c:pt idx="323">
                  <c:v>2.5075697261099998</c:v>
                </c:pt>
                <c:pt idx="324">
                  <c:v>5.3404036088559996</c:v>
                </c:pt>
                <c:pt idx="325">
                  <c:v>4.0924000982170003</c:v>
                </c:pt>
                <c:pt idx="326">
                  <c:v>3.7866476492799999</c:v>
                </c:pt>
                <c:pt idx="327">
                  <c:v>5.6937160354019998</c:v>
                </c:pt>
                <c:pt idx="328">
                  <c:v>4.1233843469979998</c:v>
                </c:pt>
                <c:pt idx="329">
                  <c:v>3.807674367688</c:v>
                </c:pt>
                <c:pt idx="330">
                  <c:v>6.9827969275689998</c:v>
                </c:pt>
                <c:pt idx="331">
                  <c:v>4.7712503538669999</c:v>
                </c:pt>
                <c:pt idx="332">
                  <c:v>5.0993903041459996</c:v>
                </c:pt>
                <c:pt idx="333">
                  <c:v>4.4715719811290002</c:v>
                </c:pt>
                <c:pt idx="334">
                  <c:v>6.0842248857600003</c:v>
                </c:pt>
                <c:pt idx="335">
                  <c:v>5.4593040992950002</c:v>
                </c:pt>
                <c:pt idx="336">
                  <c:v>5.7830582096930003</c:v>
                </c:pt>
                <c:pt idx="337">
                  <c:v>4.4995387972729999</c:v>
                </c:pt>
                <c:pt idx="338">
                  <c:v>6.7689967057539997</c:v>
                </c:pt>
                <c:pt idx="339">
                  <c:v>7.7598080740800004</c:v>
                </c:pt>
                <c:pt idx="340">
                  <c:v>5.1766700422860001</c:v>
                </c:pt>
                <c:pt idx="341">
                  <c:v>4.8682963559169998</c:v>
                </c:pt>
                <c:pt idx="342">
                  <c:v>7.1646535075860003</c:v>
                </c:pt>
                <c:pt idx="343">
                  <c:v>4.2361421127919998</c:v>
                </c:pt>
                <c:pt idx="344">
                  <c:v>2.9340427196609999</c:v>
                </c:pt>
                <c:pt idx="345">
                  <c:v>4.9075419104069997</c:v>
                </c:pt>
                <c:pt idx="346">
                  <c:v>8.2089674760700007</c:v>
                </c:pt>
                <c:pt idx="347">
                  <c:v>5.2775844495969997</c:v>
                </c:pt>
                <c:pt idx="348">
                  <c:v>3.3128269346080002</c:v>
                </c:pt>
                <c:pt idx="349">
                  <c:v>6.321785538416</c:v>
                </c:pt>
                <c:pt idx="350">
                  <c:v>3.995791100041</c:v>
                </c:pt>
                <c:pt idx="351">
                  <c:v>7.6615334392619996</c:v>
                </c:pt>
                <c:pt idx="352">
                  <c:v>3.6792989263129998</c:v>
                </c:pt>
                <c:pt idx="353">
                  <c:v>6.042945197201</c:v>
                </c:pt>
                <c:pt idx="354">
                  <c:v>5.056208180944</c:v>
                </c:pt>
                <c:pt idx="355">
                  <c:v>3.7236131233659999</c:v>
                </c:pt>
                <c:pt idx="356">
                  <c:v>3.058904300479</c:v>
                </c:pt>
                <c:pt idx="357">
                  <c:v>4.7617427978639997</c:v>
                </c:pt>
                <c:pt idx="358">
                  <c:v>3.7428205895960001</c:v>
                </c:pt>
                <c:pt idx="359">
                  <c:v>4.0982906712649996</c:v>
                </c:pt>
                <c:pt idx="360">
                  <c:v>3.0863668318439998</c:v>
                </c:pt>
                <c:pt idx="361">
                  <c:v>3.0927409932500001</c:v>
                </c:pt>
                <c:pt idx="362">
                  <c:v>6.5599580162680002</c:v>
                </c:pt>
                <c:pt idx="363">
                  <c:v>2.7744445908730002</c:v>
                </c:pt>
                <c:pt idx="364">
                  <c:v>2.7770256666590001</c:v>
                </c:pt>
                <c:pt idx="365">
                  <c:v>3.1262700472059999</c:v>
                </c:pt>
                <c:pt idx="366">
                  <c:v>5.5796565721369999</c:v>
                </c:pt>
                <c:pt idx="367">
                  <c:v>2.1020473941610001</c:v>
                </c:pt>
                <c:pt idx="368">
                  <c:v>5.9843983215519998</c:v>
                </c:pt>
                <c:pt idx="369">
                  <c:v>4.6017862010129997</c:v>
                </c:pt>
                <c:pt idx="370">
                  <c:v>3.5581237301940001</c:v>
                </c:pt>
                <c:pt idx="371">
                  <c:v>3.5625349573739999</c:v>
                </c:pt>
                <c:pt idx="372">
                  <c:v>3.5640840125879998</c:v>
                </c:pt>
                <c:pt idx="373">
                  <c:v>3.940660812994</c:v>
                </c:pt>
                <c:pt idx="374">
                  <c:v>2.5199526248900002</c:v>
                </c:pt>
                <c:pt idx="375">
                  <c:v>3.2569635690530001</c:v>
                </c:pt>
                <c:pt idx="376">
                  <c:v>2.9006316125330001</c:v>
                </c:pt>
                <c:pt idx="377">
                  <c:v>3.2632815559320001</c:v>
                </c:pt>
                <c:pt idx="378">
                  <c:v>2.9006947163839998</c:v>
                </c:pt>
                <c:pt idx="379">
                  <c:v>3.6259341312800002</c:v>
                </c:pt>
                <c:pt idx="380">
                  <c:v>3.6387586011150002</c:v>
                </c:pt>
                <c:pt idx="381">
                  <c:v>2.1911484904809999</c:v>
                </c:pt>
                <c:pt idx="382">
                  <c:v>1.8321930984949999</c:v>
                </c:pt>
                <c:pt idx="383">
                  <c:v>2.9384432862079999</c:v>
                </c:pt>
                <c:pt idx="384">
                  <c:v>0.73493475616699999</c:v>
                </c:pt>
                <c:pt idx="385">
                  <c:v>0.36747007874799997</c:v>
                </c:pt>
              </c:numCache>
            </c:numRef>
          </c:val>
          <c:smooth val="0"/>
          <c:extLst>
            <c:ext xmlns:c16="http://schemas.microsoft.com/office/drawing/2014/chart" uri="{C3380CC4-5D6E-409C-BE32-E72D297353CC}">
              <c16:uniqueId val="{00000001-4D74-4C2A-9C27-AB83ED50F659}"/>
            </c:ext>
          </c:extLst>
        </c:ser>
        <c:ser>
          <c:idx val="1"/>
          <c:order val="1"/>
          <c:tx>
            <c:strRef>
              <c:f>List1!$C$1</c:f>
              <c:strCache>
                <c:ptCount val="1"/>
                <c:pt idx="0">
                  <c:v>Ukončené očkování - bez posilující dávky</c:v>
                </c:pt>
              </c:strCache>
            </c:strRef>
          </c:tx>
          <c:spPr>
            <a:ln w="28575" cap="rnd">
              <a:solidFill>
                <a:schemeClr val="bg1"/>
              </a:solidFill>
              <a:round/>
            </a:ln>
            <a:effectLst/>
          </c:spPr>
          <c:marker>
            <c:symbol val="none"/>
          </c:marker>
          <c:trendline>
            <c:spPr>
              <a:ln w="28575" cap="rnd">
                <a:solidFill>
                  <a:schemeClr val="accent1"/>
                </a:solidFill>
                <a:prstDash val="solid"/>
              </a:ln>
              <a:effectLst/>
            </c:spPr>
            <c:trendlineType val="movingAvg"/>
            <c:period val="7"/>
            <c:dispRSqr val="0"/>
            <c:dispEq val="0"/>
          </c:trendline>
          <c:cat>
            <c:numRef>
              <c:f>List1!$A$2:$A$387</c:f>
              <c:numCache>
                <c:formatCode>m/d/yyyy</c:formatCode>
                <c:ptCount val="386"/>
                <c:pt idx="0">
                  <c:v>44191</c:v>
                </c:pt>
                <c:pt idx="1">
                  <c:v>44192</c:v>
                </c:pt>
                <c:pt idx="2">
                  <c:v>44193</c:v>
                </c:pt>
                <c:pt idx="3">
                  <c:v>44194</c:v>
                </c:pt>
                <c:pt idx="4">
                  <c:v>44195</c:v>
                </c:pt>
                <c:pt idx="5">
                  <c:v>44196</c:v>
                </c:pt>
                <c:pt idx="6">
                  <c:v>44197</c:v>
                </c:pt>
                <c:pt idx="7">
                  <c:v>44198</c:v>
                </c:pt>
                <c:pt idx="8">
                  <c:v>44199</c:v>
                </c:pt>
                <c:pt idx="9">
                  <c:v>44200</c:v>
                </c:pt>
                <c:pt idx="10">
                  <c:v>44201</c:v>
                </c:pt>
                <c:pt idx="11">
                  <c:v>44202</c:v>
                </c:pt>
                <c:pt idx="12">
                  <c:v>44203</c:v>
                </c:pt>
                <c:pt idx="13">
                  <c:v>44204</c:v>
                </c:pt>
                <c:pt idx="14">
                  <c:v>44205</c:v>
                </c:pt>
                <c:pt idx="15">
                  <c:v>44206</c:v>
                </c:pt>
                <c:pt idx="16">
                  <c:v>44207</c:v>
                </c:pt>
                <c:pt idx="17">
                  <c:v>44208</c:v>
                </c:pt>
                <c:pt idx="18">
                  <c:v>44209</c:v>
                </c:pt>
                <c:pt idx="19">
                  <c:v>44210</c:v>
                </c:pt>
                <c:pt idx="20">
                  <c:v>44211</c:v>
                </c:pt>
                <c:pt idx="21">
                  <c:v>44212</c:v>
                </c:pt>
                <c:pt idx="22">
                  <c:v>44213</c:v>
                </c:pt>
                <c:pt idx="23">
                  <c:v>44214</c:v>
                </c:pt>
                <c:pt idx="24">
                  <c:v>44215</c:v>
                </c:pt>
                <c:pt idx="25">
                  <c:v>44216</c:v>
                </c:pt>
                <c:pt idx="26">
                  <c:v>44217</c:v>
                </c:pt>
                <c:pt idx="27">
                  <c:v>44218</c:v>
                </c:pt>
                <c:pt idx="28">
                  <c:v>44219</c:v>
                </c:pt>
                <c:pt idx="29">
                  <c:v>44220</c:v>
                </c:pt>
                <c:pt idx="30">
                  <c:v>44221</c:v>
                </c:pt>
                <c:pt idx="31">
                  <c:v>44222</c:v>
                </c:pt>
                <c:pt idx="32">
                  <c:v>44223</c:v>
                </c:pt>
                <c:pt idx="33">
                  <c:v>44224</c:v>
                </c:pt>
                <c:pt idx="34">
                  <c:v>44225</c:v>
                </c:pt>
                <c:pt idx="35">
                  <c:v>44226</c:v>
                </c:pt>
                <c:pt idx="36">
                  <c:v>44227</c:v>
                </c:pt>
                <c:pt idx="37">
                  <c:v>44228</c:v>
                </c:pt>
                <c:pt idx="38">
                  <c:v>44229</c:v>
                </c:pt>
                <c:pt idx="39">
                  <c:v>44230</c:v>
                </c:pt>
                <c:pt idx="40">
                  <c:v>44231</c:v>
                </c:pt>
                <c:pt idx="41">
                  <c:v>44232</c:v>
                </c:pt>
                <c:pt idx="42">
                  <c:v>44233</c:v>
                </c:pt>
                <c:pt idx="43">
                  <c:v>44234</c:v>
                </c:pt>
                <c:pt idx="44">
                  <c:v>44235</c:v>
                </c:pt>
                <c:pt idx="45">
                  <c:v>44236</c:v>
                </c:pt>
                <c:pt idx="46">
                  <c:v>44237</c:v>
                </c:pt>
                <c:pt idx="47">
                  <c:v>44238</c:v>
                </c:pt>
                <c:pt idx="48">
                  <c:v>44239</c:v>
                </c:pt>
                <c:pt idx="49">
                  <c:v>44240</c:v>
                </c:pt>
                <c:pt idx="50">
                  <c:v>44241</c:v>
                </c:pt>
                <c:pt idx="51">
                  <c:v>44242</c:v>
                </c:pt>
                <c:pt idx="52">
                  <c:v>44243</c:v>
                </c:pt>
                <c:pt idx="53">
                  <c:v>44244</c:v>
                </c:pt>
                <c:pt idx="54">
                  <c:v>44245</c:v>
                </c:pt>
                <c:pt idx="55">
                  <c:v>44246</c:v>
                </c:pt>
                <c:pt idx="56">
                  <c:v>44247</c:v>
                </c:pt>
                <c:pt idx="57">
                  <c:v>44248</c:v>
                </c:pt>
                <c:pt idx="58">
                  <c:v>44249</c:v>
                </c:pt>
                <c:pt idx="59">
                  <c:v>44250</c:v>
                </c:pt>
                <c:pt idx="60">
                  <c:v>44251</c:v>
                </c:pt>
                <c:pt idx="61">
                  <c:v>44252</c:v>
                </c:pt>
                <c:pt idx="62">
                  <c:v>44253</c:v>
                </c:pt>
                <c:pt idx="63">
                  <c:v>44254</c:v>
                </c:pt>
                <c:pt idx="64">
                  <c:v>44255</c:v>
                </c:pt>
                <c:pt idx="65">
                  <c:v>44256</c:v>
                </c:pt>
                <c:pt idx="66">
                  <c:v>44257</c:v>
                </c:pt>
                <c:pt idx="67">
                  <c:v>44258</c:v>
                </c:pt>
                <c:pt idx="68">
                  <c:v>44259</c:v>
                </c:pt>
                <c:pt idx="69">
                  <c:v>44260</c:v>
                </c:pt>
                <c:pt idx="70">
                  <c:v>44261</c:v>
                </c:pt>
                <c:pt idx="71">
                  <c:v>44262</c:v>
                </c:pt>
                <c:pt idx="72">
                  <c:v>44263</c:v>
                </c:pt>
                <c:pt idx="73">
                  <c:v>44264</c:v>
                </c:pt>
                <c:pt idx="74">
                  <c:v>44265</c:v>
                </c:pt>
                <c:pt idx="75">
                  <c:v>44266</c:v>
                </c:pt>
                <c:pt idx="76">
                  <c:v>44267</c:v>
                </c:pt>
                <c:pt idx="77">
                  <c:v>44268</c:v>
                </c:pt>
                <c:pt idx="78">
                  <c:v>44269</c:v>
                </c:pt>
                <c:pt idx="79">
                  <c:v>44270</c:v>
                </c:pt>
                <c:pt idx="80">
                  <c:v>44271</c:v>
                </c:pt>
                <c:pt idx="81">
                  <c:v>44272</c:v>
                </c:pt>
                <c:pt idx="82">
                  <c:v>44273</c:v>
                </c:pt>
                <c:pt idx="83">
                  <c:v>44274</c:v>
                </c:pt>
                <c:pt idx="84">
                  <c:v>44275</c:v>
                </c:pt>
                <c:pt idx="85">
                  <c:v>44276</c:v>
                </c:pt>
                <c:pt idx="86">
                  <c:v>44277</c:v>
                </c:pt>
                <c:pt idx="87">
                  <c:v>44278</c:v>
                </c:pt>
                <c:pt idx="88">
                  <c:v>44279</c:v>
                </c:pt>
                <c:pt idx="89">
                  <c:v>44280</c:v>
                </c:pt>
                <c:pt idx="90">
                  <c:v>44281</c:v>
                </c:pt>
                <c:pt idx="91">
                  <c:v>44282</c:v>
                </c:pt>
                <c:pt idx="92">
                  <c:v>44283</c:v>
                </c:pt>
                <c:pt idx="93">
                  <c:v>44284</c:v>
                </c:pt>
                <c:pt idx="94">
                  <c:v>44285</c:v>
                </c:pt>
                <c:pt idx="95">
                  <c:v>44286</c:v>
                </c:pt>
                <c:pt idx="96">
                  <c:v>44287</c:v>
                </c:pt>
                <c:pt idx="97">
                  <c:v>44288</c:v>
                </c:pt>
                <c:pt idx="98">
                  <c:v>44289</c:v>
                </c:pt>
                <c:pt idx="99">
                  <c:v>44290</c:v>
                </c:pt>
                <c:pt idx="100">
                  <c:v>44291</c:v>
                </c:pt>
                <c:pt idx="101">
                  <c:v>44292</c:v>
                </c:pt>
                <c:pt idx="102">
                  <c:v>44293</c:v>
                </c:pt>
                <c:pt idx="103">
                  <c:v>44294</c:v>
                </c:pt>
                <c:pt idx="104">
                  <c:v>44295</c:v>
                </c:pt>
                <c:pt idx="105">
                  <c:v>44296</c:v>
                </c:pt>
                <c:pt idx="106">
                  <c:v>44297</c:v>
                </c:pt>
                <c:pt idx="107">
                  <c:v>44298</c:v>
                </c:pt>
                <c:pt idx="108">
                  <c:v>44299</c:v>
                </c:pt>
                <c:pt idx="109">
                  <c:v>44300</c:v>
                </c:pt>
                <c:pt idx="110">
                  <c:v>44301</c:v>
                </c:pt>
                <c:pt idx="111">
                  <c:v>44302</c:v>
                </c:pt>
                <c:pt idx="112">
                  <c:v>44303</c:v>
                </c:pt>
                <c:pt idx="113">
                  <c:v>44304</c:v>
                </c:pt>
                <c:pt idx="114">
                  <c:v>44305</c:v>
                </c:pt>
                <c:pt idx="115">
                  <c:v>44306</c:v>
                </c:pt>
                <c:pt idx="116">
                  <c:v>44307</c:v>
                </c:pt>
                <c:pt idx="117">
                  <c:v>44308</c:v>
                </c:pt>
                <c:pt idx="118">
                  <c:v>44309</c:v>
                </c:pt>
                <c:pt idx="119">
                  <c:v>44310</c:v>
                </c:pt>
                <c:pt idx="120">
                  <c:v>44311</c:v>
                </c:pt>
                <c:pt idx="121">
                  <c:v>44312</c:v>
                </c:pt>
                <c:pt idx="122">
                  <c:v>44313</c:v>
                </c:pt>
                <c:pt idx="123">
                  <c:v>44314</c:v>
                </c:pt>
                <c:pt idx="124">
                  <c:v>44315</c:v>
                </c:pt>
                <c:pt idx="125">
                  <c:v>44316</c:v>
                </c:pt>
                <c:pt idx="126">
                  <c:v>44317</c:v>
                </c:pt>
                <c:pt idx="127">
                  <c:v>44318</c:v>
                </c:pt>
                <c:pt idx="128">
                  <c:v>44319</c:v>
                </c:pt>
                <c:pt idx="129">
                  <c:v>44320</c:v>
                </c:pt>
                <c:pt idx="130">
                  <c:v>44321</c:v>
                </c:pt>
                <c:pt idx="131">
                  <c:v>44322</c:v>
                </c:pt>
                <c:pt idx="132">
                  <c:v>44323</c:v>
                </c:pt>
                <c:pt idx="133">
                  <c:v>44324</c:v>
                </c:pt>
                <c:pt idx="134">
                  <c:v>44325</c:v>
                </c:pt>
                <c:pt idx="135">
                  <c:v>44326</c:v>
                </c:pt>
                <c:pt idx="136">
                  <c:v>44327</c:v>
                </c:pt>
                <c:pt idx="137">
                  <c:v>44328</c:v>
                </c:pt>
                <c:pt idx="138">
                  <c:v>44329</c:v>
                </c:pt>
                <c:pt idx="139">
                  <c:v>44330</c:v>
                </c:pt>
                <c:pt idx="140">
                  <c:v>44331</c:v>
                </c:pt>
                <c:pt idx="141">
                  <c:v>44332</c:v>
                </c:pt>
                <c:pt idx="142">
                  <c:v>44333</c:v>
                </c:pt>
                <c:pt idx="143">
                  <c:v>44334</c:v>
                </c:pt>
                <c:pt idx="144">
                  <c:v>44335</c:v>
                </c:pt>
                <c:pt idx="145">
                  <c:v>44336</c:v>
                </c:pt>
                <c:pt idx="146">
                  <c:v>44337</c:v>
                </c:pt>
                <c:pt idx="147">
                  <c:v>44338</c:v>
                </c:pt>
                <c:pt idx="148">
                  <c:v>44339</c:v>
                </c:pt>
                <c:pt idx="149">
                  <c:v>44340</c:v>
                </c:pt>
                <c:pt idx="150">
                  <c:v>44341</c:v>
                </c:pt>
                <c:pt idx="151">
                  <c:v>44342</c:v>
                </c:pt>
                <c:pt idx="152">
                  <c:v>44343</c:v>
                </c:pt>
                <c:pt idx="153">
                  <c:v>44344</c:v>
                </c:pt>
                <c:pt idx="154">
                  <c:v>44345</c:v>
                </c:pt>
                <c:pt idx="155">
                  <c:v>44346</c:v>
                </c:pt>
                <c:pt idx="156">
                  <c:v>44347</c:v>
                </c:pt>
                <c:pt idx="157">
                  <c:v>44348</c:v>
                </c:pt>
                <c:pt idx="158">
                  <c:v>44349</c:v>
                </c:pt>
                <c:pt idx="159">
                  <c:v>44350</c:v>
                </c:pt>
                <c:pt idx="160">
                  <c:v>44351</c:v>
                </c:pt>
                <c:pt idx="161">
                  <c:v>44352</c:v>
                </c:pt>
                <c:pt idx="162">
                  <c:v>44353</c:v>
                </c:pt>
                <c:pt idx="163">
                  <c:v>44354</c:v>
                </c:pt>
                <c:pt idx="164">
                  <c:v>44355</c:v>
                </c:pt>
                <c:pt idx="165">
                  <c:v>44356</c:v>
                </c:pt>
                <c:pt idx="166">
                  <c:v>44357</c:v>
                </c:pt>
                <c:pt idx="167">
                  <c:v>44358</c:v>
                </c:pt>
                <c:pt idx="168">
                  <c:v>44359</c:v>
                </c:pt>
                <c:pt idx="169">
                  <c:v>44360</c:v>
                </c:pt>
                <c:pt idx="170">
                  <c:v>44361</c:v>
                </c:pt>
                <c:pt idx="171">
                  <c:v>44362</c:v>
                </c:pt>
                <c:pt idx="172">
                  <c:v>44363</c:v>
                </c:pt>
                <c:pt idx="173">
                  <c:v>44364</c:v>
                </c:pt>
                <c:pt idx="174">
                  <c:v>44365</c:v>
                </c:pt>
                <c:pt idx="175">
                  <c:v>44366</c:v>
                </c:pt>
                <c:pt idx="176">
                  <c:v>44367</c:v>
                </c:pt>
                <c:pt idx="177">
                  <c:v>44368</c:v>
                </c:pt>
                <c:pt idx="178">
                  <c:v>44369</c:v>
                </c:pt>
                <c:pt idx="179">
                  <c:v>44370</c:v>
                </c:pt>
                <c:pt idx="180">
                  <c:v>44371</c:v>
                </c:pt>
                <c:pt idx="181">
                  <c:v>44372</c:v>
                </c:pt>
                <c:pt idx="182">
                  <c:v>44373</c:v>
                </c:pt>
                <c:pt idx="183">
                  <c:v>44374</c:v>
                </c:pt>
                <c:pt idx="184">
                  <c:v>44375</c:v>
                </c:pt>
                <c:pt idx="185">
                  <c:v>44376</c:v>
                </c:pt>
                <c:pt idx="186">
                  <c:v>44377</c:v>
                </c:pt>
                <c:pt idx="187">
                  <c:v>44378</c:v>
                </c:pt>
                <c:pt idx="188">
                  <c:v>44379</c:v>
                </c:pt>
                <c:pt idx="189">
                  <c:v>44380</c:v>
                </c:pt>
                <c:pt idx="190">
                  <c:v>44381</c:v>
                </c:pt>
                <c:pt idx="191">
                  <c:v>44382</c:v>
                </c:pt>
                <c:pt idx="192">
                  <c:v>44383</c:v>
                </c:pt>
                <c:pt idx="193">
                  <c:v>44384</c:v>
                </c:pt>
                <c:pt idx="194">
                  <c:v>44385</c:v>
                </c:pt>
                <c:pt idx="195">
                  <c:v>44386</c:v>
                </c:pt>
                <c:pt idx="196">
                  <c:v>44387</c:v>
                </c:pt>
                <c:pt idx="197">
                  <c:v>44388</c:v>
                </c:pt>
                <c:pt idx="198">
                  <c:v>44389</c:v>
                </c:pt>
                <c:pt idx="199">
                  <c:v>44390</c:v>
                </c:pt>
                <c:pt idx="200">
                  <c:v>44391</c:v>
                </c:pt>
                <c:pt idx="201">
                  <c:v>44392</c:v>
                </c:pt>
                <c:pt idx="202">
                  <c:v>44393</c:v>
                </c:pt>
                <c:pt idx="203">
                  <c:v>44394</c:v>
                </c:pt>
                <c:pt idx="204">
                  <c:v>44395</c:v>
                </c:pt>
                <c:pt idx="205">
                  <c:v>44396</c:v>
                </c:pt>
                <c:pt idx="206">
                  <c:v>44397</c:v>
                </c:pt>
                <c:pt idx="207">
                  <c:v>44398</c:v>
                </c:pt>
                <c:pt idx="208">
                  <c:v>44399</c:v>
                </c:pt>
                <c:pt idx="209">
                  <c:v>44400</c:v>
                </c:pt>
                <c:pt idx="210">
                  <c:v>44401</c:v>
                </c:pt>
                <c:pt idx="211">
                  <c:v>44402</c:v>
                </c:pt>
                <c:pt idx="212">
                  <c:v>44403</c:v>
                </c:pt>
                <c:pt idx="213">
                  <c:v>44404</c:v>
                </c:pt>
                <c:pt idx="214">
                  <c:v>44405</c:v>
                </c:pt>
                <c:pt idx="215">
                  <c:v>44406</c:v>
                </c:pt>
                <c:pt idx="216">
                  <c:v>44407</c:v>
                </c:pt>
                <c:pt idx="217">
                  <c:v>44408</c:v>
                </c:pt>
                <c:pt idx="218">
                  <c:v>44409</c:v>
                </c:pt>
                <c:pt idx="219">
                  <c:v>44410</c:v>
                </c:pt>
                <c:pt idx="220">
                  <c:v>44411</c:v>
                </c:pt>
                <c:pt idx="221">
                  <c:v>44412</c:v>
                </c:pt>
                <c:pt idx="222">
                  <c:v>44413</c:v>
                </c:pt>
                <c:pt idx="223">
                  <c:v>44414</c:v>
                </c:pt>
                <c:pt idx="224">
                  <c:v>44415</c:v>
                </c:pt>
                <c:pt idx="225">
                  <c:v>44416</c:v>
                </c:pt>
                <c:pt idx="226">
                  <c:v>44417</c:v>
                </c:pt>
                <c:pt idx="227">
                  <c:v>44418</c:v>
                </c:pt>
                <c:pt idx="228">
                  <c:v>44419</c:v>
                </c:pt>
                <c:pt idx="229">
                  <c:v>44420</c:v>
                </c:pt>
                <c:pt idx="230">
                  <c:v>44421</c:v>
                </c:pt>
                <c:pt idx="231">
                  <c:v>44422</c:v>
                </c:pt>
                <c:pt idx="232">
                  <c:v>44423</c:v>
                </c:pt>
                <c:pt idx="233">
                  <c:v>44424</c:v>
                </c:pt>
                <c:pt idx="234">
                  <c:v>44425</c:v>
                </c:pt>
                <c:pt idx="235">
                  <c:v>44426</c:v>
                </c:pt>
                <c:pt idx="236">
                  <c:v>44427</c:v>
                </c:pt>
                <c:pt idx="237">
                  <c:v>44428</c:v>
                </c:pt>
                <c:pt idx="238">
                  <c:v>44429</c:v>
                </c:pt>
                <c:pt idx="239">
                  <c:v>44430</c:v>
                </c:pt>
                <c:pt idx="240">
                  <c:v>44431</c:v>
                </c:pt>
                <c:pt idx="241">
                  <c:v>44432</c:v>
                </c:pt>
                <c:pt idx="242">
                  <c:v>44433</c:v>
                </c:pt>
                <c:pt idx="243">
                  <c:v>44434</c:v>
                </c:pt>
                <c:pt idx="244">
                  <c:v>44435</c:v>
                </c:pt>
                <c:pt idx="245">
                  <c:v>44436</c:v>
                </c:pt>
                <c:pt idx="246">
                  <c:v>44437</c:v>
                </c:pt>
                <c:pt idx="247">
                  <c:v>44438</c:v>
                </c:pt>
                <c:pt idx="248">
                  <c:v>44439</c:v>
                </c:pt>
                <c:pt idx="249">
                  <c:v>44440</c:v>
                </c:pt>
                <c:pt idx="250">
                  <c:v>44441</c:v>
                </c:pt>
                <c:pt idx="251">
                  <c:v>44442</c:v>
                </c:pt>
                <c:pt idx="252">
                  <c:v>44443</c:v>
                </c:pt>
                <c:pt idx="253">
                  <c:v>44444</c:v>
                </c:pt>
                <c:pt idx="254">
                  <c:v>44445</c:v>
                </c:pt>
                <c:pt idx="255">
                  <c:v>44446</c:v>
                </c:pt>
                <c:pt idx="256">
                  <c:v>44447</c:v>
                </c:pt>
                <c:pt idx="257">
                  <c:v>44448</c:v>
                </c:pt>
                <c:pt idx="258">
                  <c:v>44449</c:v>
                </c:pt>
                <c:pt idx="259">
                  <c:v>44450</c:v>
                </c:pt>
                <c:pt idx="260">
                  <c:v>44451</c:v>
                </c:pt>
                <c:pt idx="261">
                  <c:v>44452</c:v>
                </c:pt>
                <c:pt idx="262">
                  <c:v>44453</c:v>
                </c:pt>
                <c:pt idx="263">
                  <c:v>44454</c:v>
                </c:pt>
                <c:pt idx="264">
                  <c:v>44455</c:v>
                </c:pt>
                <c:pt idx="265">
                  <c:v>44456</c:v>
                </c:pt>
                <c:pt idx="266">
                  <c:v>44457</c:v>
                </c:pt>
                <c:pt idx="267">
                  <c:v>44458</c:v>
                </c:pt>
                <c:pt idx="268">
                  <c:v>44459</c:v>
                </c:pt>
                <c:pt idx="269">
                  <c:v>44460</c:v>
                </c:pt>
                <c:pt idx="270">
                  <c:v>44461</c:v>
                </c:pt>
                <c:pt idx="271">
                  <c:v>44462</c:v>
                </c:pt>
                <c:pt idx="272">
                  <c:v>44463</c:v>
                </c:pt>
                <c:pt idx="273">
                  <c:v>44464</c:v>
                </c:pt>
                <c:pt idx="274">
                  <c:v>44465</c:v>
                </c:pt>
                <c:pt idx="275">
                  <c:v>44466</c:v>
                </c:pt>
                <c:pt idx="276">
                  <c:v>44467</c:v>
                </c:pt>
                <c:pt idx="277">
                  <c:v>44468</c:v>
                </c:pt>
                <c:pt idx="278">
                  <c:v>44469</c:v>
                </c:pt>
                <c:pt idx="279">
                  <c:v>44470</c:v>
                </c:pt>
                <c:pt idx="280">
                  <c:v>44471</c:v>
                </c:pt>
                <c:pt idx="281">
                  <c:v>44472</c:v>
                </c:pt>
                <c:pt idx="282">
                  <c:v>44473</c:v>
                </c:pt>
                <c:pt idx="283">
                  <c:v>44474</c:v>
                </c:pt>
                <c:pt idx="284">
                  <c:v>44475</c:v>
                </c:pt>
                <c:pt idx="285">
                  <c:v>44476</c:v>
                </c:pt>
                <c:pt idx="286">
                  <c:v>44477</c:v>
                </c:pt>
                <c:pt idx="287">
                  <c:v>44478</c:v>
                </c:pt>
                <c:pt idx="288">
                  <c:v>44479</c:v>
                </c:pt>
                <c:pt idx="289">
                  <c:v>44480</c:v>
                </c:pt>
                <c:pt idx="290">
                  <c:v>44481</c:v>
                </c:pt>
                <c:pt idx="291">
                  <c:v>44482</c:v>
                </c:pt>
                <c:pt idx="292">
                  <c:v>44483</c:v>
                </c:pt>
                <c:pt idx="293">
                  <c:v>44484</c:v>
                </c:pt>
                <c:pt idx="294">
                  <c:v>44485</c:v>
                </c:pt>
                <c:pt idx="295">
                  <c:v>44486</c:v>
                </c:pt>
                <c:pt idx="296">
                  <c:v>44487</c:v>
                </c:pt>
                <c:pt idx="297">
                  <c:v>44488</c:v>
                </c:pt>
                <c:pt idx="298">
                  <c:v>44489</c:v>
                </c:pt>
                <c:pt idx="299">
                  <c:v>44490</c:v>
                </c:pt>
                <c:pt idx="300">
                  <c:v>44491</c:v>
                </c:pt>
                <c:pt idx="301">
                  <c:v>44492</c:v>
                </c:pt>
                <c:pt idx="302">
                  <c:v>44493</c:v>
                </c:pt>
                <c:pt idx="303">
                  <c:v>44494</c:v>
                </c:pt>
                <c:pt idx="304">
                  <c:v>44495</c:v>
                </c:pt>
                <c:pt idx="305">
                  <c:v>44496</c:v>
                </c:pt>
                <c:pt idx="306">
                  <c:v>44497</c:v>
                </c:pt>
                <c:pt idx="307">
                  <c:v>44498</c:v>
                </c:pt>
                <c:pt idx="308">
                  <c:v>44499</c:v>
                </c:pt>
                <c:pt idx="309">
                  <c:v>44500</c:v>
                </c:pt>
                <c:pt idx="310">
                  <c:v>44501</c:v>
                </c:pt>
                <c:pt idx="311">
                  <c:v>44502</c:v>
                </c:pt>
                <c:pt idx="312">
                  <c:v>44503</c:v>
                </c:pt>
                <c:pt idx="313">
                  <c:v>44504</c:v>
                </c:pt>
                <c:pt idx="314">
                  <c:v>44505</c:v>
                </c:pt>
                <c:pt idx="315">
                  <c:v>44506</c:v>
                </c:pt>
                <c:pt idx="316">
                  <c:v>44507</c:v>
                </c:pt>
                <c:pt idx="317">
                  <c:v>44508</c:v>
                </c:pt>
                <c:pt idx="318">
                  <c:v>44509</c:v>
                </c:pt>
                <c:pt idx="319">
                  <c:v>44510</c:v>
                </c:pt>
                <c:pt idx="320">
                  <c:v>44511</c:v>
                </c:pt>
                <c:pt idx="321">
                  <c:v>44512</c:v>
                </c:pt>
                <c:pt idx="322">
                  <c:v>44513</c:v>
                </c:pt>
                <c:pt idx="323">
                  <c:v>44514</c:v>
                </c:pt>
                <c:pt idx="324">
                  <c:v>44515</c:v>
                </c:pt>
                <c:pt idx="325">
                  <c:v>44516</c:v>
                </c:pt>
                <c:pt idx="326">
                  <c:v>44517</c:v>
                </c:pt>
                <c:pt idx="327">
                  <c:v>44518</c:v>
                </c:pt>
                <c:pt idx="328">
                  <c:v>44519</c:v>
                </c:pt>
                <c:pt idx="329">
                  <c:v>44520</c:v>
                </c:pt>
                <c:pt idx="330">
                  <c:v>44521</c:v>
                </c:pt>
                <c:pt idx="331">
                  <c:v>44522</c:v>
                </c:pt>
                <c:pt idx="332">
                  <c:v>44523</c:v>
                </c:pt>
                <c:pt idx="333">
                  <c:v>44524</c:v>
                </c:pt>
                <c:pt idx="334">
                  <c:v>44525</c:v>
                </c:pt>
                <c:pt idx="335">
                  <c:v>44526</c:v>
                </c:pt>
                <c:pt idx="336">
                  <c:v>44527</c:v>
                </c:pt>
                <c:pt idx="337">
                  <c:v>44528</c:v>
                </c:pt>
                <c:pt idx="338">
                  <c:v>44529</c:v>
                </c:pt>
                <c:pt idx="339">
                  <c:v>44530</c:v>
                </c:pt>
                <c:pt idx="340">
                  <c:v>44531</c:v>
                </c:pt>
                <c:pt idx="341">
                  <c:v>44532</c:v>
                </c:pt>
                <c:pt idx="342">
                  <c:v>44533</c:v>
                </c:pt>
                <c:pt idx="343">
                  <c:v>44534</c:v>
                </c:pt>
                <c:pt idx="344">
                  <c:v>44535</c:v>
                </c:pt>
                <c:pt idx="345">
                  <c:v>44536</c:v>
                </c:pt>
                <c:pt idx="346">
                  <c:v>44537</c:v>
                </c:pt>
                <c:pt idx="347">
                  <c:v>44538</c:v>
                </c:pt>
                <c:pt idx="348">
                  <c:v>44539</c:v>
                </c:pt>
                <c:pt idx="349">
                  <c:v>44540</c:v>
                </c:pt>
                <c:pt idx="350">
                  <c:v>44541</c:v>
                </c:pt>
                <c:pt idx="351">
                  <c:v>44542</c:v>
                </c:pt>
                <c:pt idx="352">
                  <c:v>44543</c:v>
                </c:pt>
                <c:pt idx="353">
                  <c:v>44544</c:v>
                </c:pt>
                <c:pt idx="354">
                  <c:v>44545</c:v>
                </c:pt>
                <c:pt idx="355">
                  <c:v>44546</c:v>
                </c:pt>
                <c:pt idx="356">
                  <c:v>44547</c:v>
                </c:pt>
                <c:pt idx="357">
                  <c:v>44548</c:v>
                </c:pt>
                <c:pt idx="358">
                  <c:v>44549</c:v>
                </c:pt>
                <c:pt idx="359">
                  <c:v>44550</c:v>
                </c:pt>
                <c:pt idx="360">
                  <c:v>44551</c:v>
                </c:pt>
                <c:pt idx="361">
                  <c:v>44552</c:v>
                </c:pt>
                <c:pt idx="362">
                  <c:v>44553</c:v>
                </c:pt>
                <c:pt idx="363">
                  <c:v>44554</c:v>
                </c:pt>
                <c:pt idx="364">
                  <c:v>44555</c:v>
                </c:pt>
                <c:pt idx="365">
                  <c:v>44556</c:v>
                </c:pt>
                <c:pt idx="366">
                  <c:v>44557</c:v>
                </c:pt>
                <c:pt idx="367">
                  <c:v>44558</c:v>
                </c:pt>
                <c:pt idx="368">
                  <c:v>44559</c:v>
                </c:pt>
                <c:pt idx="369">
                  <c:v>44560</c:v>
                </c:pt>
                <c:pt idx="370">
                  <c:v>44561</c:v>
                </c:pt>
                <c:pt idx="371">
                  <c:v>44562</c:v>
                </c:pt>
                <c:pt idx="372">
                  <c:v>44563</c:v>
                </c:pt>
                <c:pt idx="373">
                  <c:v>44564</c:v>
                </c:pt>
                <c:pt idx="374">
                  <c:v>44565</c:v>
                </c:pt>
                <c:pt idx="375">
                  <c:v>44566</c:v>
                </c:pt>
                <c:pt idx="376">
                  <c:v>44567</c:v>
                </c:pt>
                <c:pt idx="377">
                  <c:v>44568</c:v>
                </c:pt>
                <c:pt idx="378">
                  <c:v>44569</c:v>
                </c:pt>
                <c:pt idx="379">
                  <c:v>44570</c:v>
                </c:pt>
                <c:pt idx="380">
                  <c:v>44571</c:v>
                </c:pt>
                <c:pt idx="381">
                  <c:v>44572</c:v>
                </c:pt>
                <c:pt idx="382">
                  <c:v>44573</c:v>
                </c:pt>
                <c:pt idx="383">
                  <c:v>44574</c:v>
                </c:pt>
                <c:pt idx="384">
                  <c:v>44575</c:v>
                </c:pt>
                <c:pt idx="385">
                  <c:v>44576</c:v>
                </c:pt>
              </c:numCache>
            </c:numRef>
          </c:cat>
          <c:val>
            <c:numRef>
              <c:f>List1!$C$2:$C$387</c:f>
              <c:numCache>
                <c:formatCode>General</c:formatCode>
                <c:ptCount val="38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89020243203299998</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59453385572999995</c:v>
                </c:pt>
                <c:pt idx="95">
                  <c:v>0.56995645532600003</c:v>
                </c:pt>
                <c:pt idx="96">
                  <c:v>0</c:v>
                </c:pt>
                <c:pt idx="97">
                  <c:v>0</c:v>
                </c:pt>
                <c:pt idx="98">
                  <c:v>0</c:v>
                </c:pt>
                <c:pt idx="99">
                  <c:v>0.50927387730499996</c:v>
                </c:pt>
                <c:pt idx="100">
                  <c:v>0</c:v>
                </c:pt>
                <c:pt idx="101">
                  <c:v>0</c:v>
                </c:pt>
                <c:pt idx="102">
                  <c:v>0</c:v>
                </c:pt>
                <c:pt idx="103">
                  <c:v>0</c:v>
                </c:pt>
                <c:pt idx="104">
                  <c:v>0</c:v>
                </c:pt>
                <c:pt idx="105">
                  <c:v>0</c:v>
                </c:pt>
                <c:pt idx="106">
                  <c:v>0</c:v>
                </c:pt>
                <c:pt idx="107">
                  <c:v>0</c:v>
                </c:pt>
                <c:pt idx="108">
                  <c:v>0</c:v>
                </c:pt>
                <c:pt idx="109">
                  <c:v>0</c:v>
                </c:pt>
                <c:pt idx="110">
                  <c:v>0.31461282172999999</c:v>
                </c:pt>
                <c:pt idx="111">
                  <c:v>0.30591704753299997</c:v>
                </c:pt>
                <c:pt idx="112">
                  <c:v>0</c:v>
                </c:pt>
                <c:pt idx="113">
                  <c:v>0</c:v>
                </c:pt>
                <c:pt idx="114">
                  <c:v>0.289670355135</c:v>
                </c:pt>
                <c:pt idx="115">
                  <c:v>0</c:v>
                </c:pt>
                <c:pt idx="116">
                  <c:v>0</c:v>
                </c:pt>
                <c:pt idx="117">
                  <c:v>0</c:v>
                </c:pt>
                <c:pt idx="118">
                  <c:v>0</c:v>
                </c:pt>
                <c:pt idx="119">
                  <c:v>0</c:v>
                </c:pt>
                <c:pt idx="120">
                  <c:v>0.22743658499399999</c:v>
                </c:pt>
                <c:pt idx="121">
                  <c:v>0.43691876150999998</c:v>
                </c:pt>
                <c:pt idx="122">
                  <c:v>0</c:v>
                </c:pt>
                <c:pt idx="123">
                  <c:v>0</c:v>
                </c:pt>
                <c:pt idx="124">
                  <c:v>0</c:v>
                </c:pt>
                <c:pt idx="125">
                  <c:v>0.18921547479799999</c:v>
                </c:pt>
                <c:pt idx="126">
                  <c:v>0</c:v>
                </c:pt>
                <c:pt idx="127">
                  <c:v>0</c:v>
                </c:pt>
                <c:pt idx="128">
                  <c:v>0</c:v>
                </c:pt>
                <c:pt idx="129">
                  <c:v>0</c:v>
                </c:pt>
                <c:pt idx="130">
                  <c:v>0</c:v>
                </c:pt>
                <c:pt idx="131">
                  <c:v>0</c:v>
                </c:pt>
                <c:pt idx="132">
                  <c:v>0</c:v>
                </c:pt>
                <c:pt idx="133">
                  <c:v>0</c:v>
                </c:pt>
                <c:pt idx="134">
                  <c:v>0</c:v>
                </c:pt>
                <c:pt idx="135">
                  <c:v>0.16741389066500001</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50">
                  <c:v>0.14891101375599999</c:v>
                </c:pt>
                <c:pt idx="151">
                  <c:v>0</c:v>
                </c:pt>
                <c:pt idx="152">
                  <c:v>0.14629636131599999</c:v>
                </c:pt>
                <c:pt idx="153">
                  <c:v>0</c:v>
                </c:pt>
                <c:pt idx="154">
                  <c:v>0</c:v>
                </c:pt>
                <c:pt idx="155">
                  <c:v>0</c:v>
                </c:pt>
                <c:pt idx="156">
                  <c:v>0.14411132311399999</c:v>
                </c:pt>
                <c:pt idx="157">
                  <c:v>0</c:v>
                </c:pt>
                <c:pt idx="158">
                  <c:v>0</c:v>
                </c:pt>
                <c:pt idx="159">
                  <c:v>0</c:v>
                </c:pt>
                <c:pt idx="160">
                  <c:v>0</c:v>
                </c:pt>
                <c:pt idx="164">
                  <c:v>0</c:v>
                </c:pt>
                <c:pt idx="165">
                  <c:v>0.120758945822</c:v>
                </c:pt>
                <c:pt idx="166">
                  <c:v>0</c:v>
                </c:pt>
                <c:pt idx="169">
                  <c:v>0</c:v>
                </c:pt>
                <c:pt idx="170">
                  <c:v>0</c:v>
                </c:pt>
                <c:pt idx="172">
                  <c:v>0</c:v>
                </c:pt>
                <c:pt idx="174">
                  <c:v>0</c:v>
                </c:pt>
                <c:pt idx="177">
                  <c:v>0</c:v>
                </c:pt>
                <c:pt idx="180">
                  <c:v>0</c:v>
                </c:pt>
                <c:pt idx="181">
                  <c:v>7.8847812682000001E-2</c:v>
                </c:pt>
                <c:pt idx="194">
                  <c:v>0</c:v>
                </c:pt>
                <c:pt idx="200">
                  <c:v>0</c:v>
                </c:pt>
                <c:pt idx="202">
                  <c:v>6.2781851272999997E-2</c:v>
                </c:pt>
                <c:pt idx="205">
                  <c:v>0</c:v>
                </c:pt>
                <c:pt idx="209">
                  <c:v>6.1152841130000003E-2</c:v>
                </c:pt>
                <c:pt idx="213">
                  <c:v>0</c:v>
                </c:pt>
                <c:pt idx="216">
                  <c:v>0</c:v>
                </c:pt>
                <c:pt idx="217">
                  <c:v>5.9280512420000001E-2</c:v>
                </c:pt>
                <c:pt idx="219">
                  <c:v>0</c:v>
                </c:pt>
                <c:pt idx="220">
                  <c:v>0</c:v>
                </c:pt>
                <c:pt idx="223">
                  <c:v>5.8140920801000001E-2</c:v>
                </c:pt>
                <c:pt idx="225">
                  <c:v>0</c:v>
                </c:pt>
                <c:pt idx="227">
                  <c:v>0.115533609304</c:v>
                </c:pt>
                <c:pt idx="228">
                  <c:v>0</c:v>
                </c:pt>
                <c:pt idx="230">
                  <c:v>0</c:v>
                </c:pt>
                <c:pt idx="233">
                  <c:v>0</c:v>
                </c:pt>
                <c:pt idx="234">
                  <c:v>0</c:v>
                </c:pt>
                <c:pt idx="239">
                  <c:v>0</c:v>
                </c:pt>
                <c:pt idx="241">
                  <c:v>5.6502570018999998E-2</c:v>
                </c:pt>
                <c:pt idx="244">
                  <c:v>0</c:v>
                </c:pt>
                <c:pt idx="253">
                  <c:v>0</c:v>
                </c:pt>
                <c:pt idx="254">
                  <c:v>0</c:v>
                </c:pt>
                <c:pt idx="256">
                  <c:v>5.5456688603000001E-2</c:v>
                </c:pt>
                <c:pt idx="260">
                  <c:v>0.110654415747</c:v>
                </c:pt>
                <c:pt idx="261">
                  <c:v>0.11056595950500001</c:v>
                </c:pt>
                <c:pt idx="262">
                  <c:v>0</c:v>
                </c:pt>
                <c:pt idx="265">
                  <c:v>5.5141869000000003E-2</c:v>
                </c:pt>
                <c:pt idx="266">
                  <c:v>5.5136487618000003E-2</c:v>
                </c:pt>
                <c:pt idx="267">
                  <c:v>0</c:v>
                </c:pt>
                <c:pt idx="268">
                  <c:v>5.5106346983000001E-2</c:v>
                </c:pt>
                <c:pt idx="273">
                  <c:v>5.4999450004999999E-2</c:v>
                </c:pt>
                <c:pt idx="275">
                  <c:v>0</c:v>
                </c:pt>
                <c:pt idx="276">
                  <c:v>5.4947289065000002E-2</c:v>
                </c:pt>
                <c:pt idx="277">
                  <c:v>5.4925559388999998E-2</c:v>
                </c:pt>
                <c:pt idx="278">
                  <c:v>5.4902791861E-2</c:v>
                </c:pt>
                <c:pt idx="279">
                  <c:v>0</c:v>
                </c:pt>
                <c:pt idx="280">
                  <c:v>0</c:v>
                </c:pt>
                <c:pt idx="282">
                  <c:v>0</c:v>
                </c:pt>
                <c:pt idx="283">
                  <c:v>0.109681534181</c:v>
                </c:pt>
                <c:pt idx="284">
                  <c:v>0.109655375087</c:v>
                </c:pt>
                <c:pt idx="285">
                  <c:v>0</c:v>
                </c:pt>
                <c:pt idx="286">
                  <c:v>0</c:v>
                </c:pt>
                <c:pt idx="287">
                  <c:v>0</c:v>
                </c:pt>
                <c:pt idx="289">
                  <c:v>0.21916679359999999</c:v>
                </c:pt>
                <c:pt idx="290">
                  <c:v>0.109582075879</c:v>
                </c:pt>
                <c:pt idx="291">
                  <c:v>5.4774951633000002E-2</c:v>
                </c:pt>
                <c:pt idx="292">
                  <c:v>0.109522847287</c:v>
                </c:pt>
                <c:pt idx="293">
                  <c:v>0.109502579059</c:v>
                </c:pt>
                <c:pt idx="294">
                  <c:v>5.4749311116000003E-2</c:v>
                </c:pt>
                <c:pt idx="295">
                  <c:v>0</c:v>
                </c:pt>
                <c:pt idx="296">
                  <c:v>0.27373771328199997</c:v>
                </c:pt>
                <c:pt idx="298">
                  <c:v>0.109528425364</c:v>
                </c:pt>
                <c:pt idx="299">
                  <c:v>0.38338350180199998</c:v>
                </c:pt>
                <c:pt idx="300">
                  <c:v>0.10956286607600001</c:v>
                </c:pt>
                <c:pt idx="301">
                  <c:v>0.109571209507</c:v>
                </c:pt>
                <c:pt idx="302">
                  <c:v>0.164364378294</c:v>
                </c:pt>
                <c:pt idx="303">
                  <c:v>0.16442320340200001</c:v>
                </c:pt>
                <c:pt idx="304">
                  <c:v>0.21936992569899999</c:v>
                </c:pt>
                <c:pt idx="305">
                  <c:v>0.32939595370000002</c:v>
                </c:pt>
                <c:pt idx="306">
                  <c:v>0.109906958264</c:v>
                </c:pt>
                <c:pt idx="307">
                  <c:v>0.16501795395300001</c:v>
                </c:pt>
                <c:pt idx="308">
                  <c:v>0.33014014449099999</c:v>
                </c:pt>
                <c:pt idx="309">
                  <c:v>0.44025904842399999</c:v>
                </c:pt>
                <c:pt idx="310">
                  <c:v>0.44133255953</c:v>
                </c:pt>
                <c:pt idx="311">
                  <c:v>0.22157055858999999</c:v>
                </c:pt>
                <c:pt idx="312">
                  <c:v>5.5718190762999997E-2</c:v>
                </c:pt>
                <c:pt idx="313">
                  <c:v>0.44876203383399998</c:v>
                </c:pt>
                <c:pt idx="314">
                  <c:v>0.33883985750599999</c:v>
                </c:pt>
                <c:pt idx="315">
                  <c:v>0.508944127548</c:v>
                </c:pt>
                <c:pt idx="316">
                  <c:v>0.16981205767400001</c:v>
                </c:pt>
                <c:pt idx="317">
                  <c:v>0.51356466948900004</c:v>
                </c:pt>
                <c:pt idx="318">
                  <c:v>0.460815955291</c:v>
                </c:pt>
                <c:pt idx="319">
                  <c:v>0.174580192829</c:v>
                </c:pt>
                <c:pt idx="320">
                  <c:v>0.34976489969300001</c:v>
                </c:pt>
                <c:pt idx="321">
                  <c:v>0.70485575127</c:v>
                </c:pt>
                <c:pt idx="322">
                  <c:v>0.47066907962999999</c:v>
                </c:pt>
                <c:pt idx="323">
                  <c:v>0.58924880205700003</c:v>
                </c:pt>
                <c:pt idx="324">
                  <c:v>0.29749261325800003</c:v>
                </c:pt>
                <c:pt idx="325">
                  <c:v>0.30085394383399999</c:v>
                </c:pt>
                <c:pt idx="326">
                  <c:v>0.85403504105700001</c:v>
                </c:pt>
                <c:pt idx="327">
                  <c:v>0.43286429395100001</c:v>
                </c:pt>
                <c:pt idx="328">
                  <c:v>0.876152140064</c:v>
                </c:pt>
                <c:pt idx="329">
                  <c:v>0.62769871214999995</c:v>
                </c:pt>
                <c:pt idx="330">
                  <c:v>0.50322124499400001</c:v>
                </c:pt>
                <c:pt idx="331">
                  <c:v>0.76387531772399997</c:v>
                </c:pt>
                <c:pt idx="332">
                  <c:v>0.70965773207500005</c:v>
                </c:pt>
                <c:pt idx="333">
                  <c:v>0.71951622345499999</c:v>
                </c:pt>
                <c:pt idx="334">
                  <c:v>0.72894315171099999</c:v>
                </c:pt>
                <c:pt idx="335">
                  <c:v>1.0721855631549999</c:v>
                </c:pt>
                <c:pt idx="336">
                  <c:v>0.67185292333199997</c:v>
                </c:pt>
                <c:pt idx="337">
                  <c:v>0.67305983771099998</c:v>
                </c:pt>
                <c:pt idx="338">
                  <c:v>0.61237862145400002</c:v>
                </c:pt>
                <c:pt idx="339">
                  <c:v>0.826537359488</c:v>
                </c:pt>
                <c:pt idx="340">
                  <c:v>0.96628160344699998</c:v>
                </c:pt>
                <c:pt idx="341">
                  <c:v>0.55900977009300001</c:v>
                </c:pt>
                <c:pt idx="342">
                  <c:v>0.56503001015599996</c:v>
                </c:pt>
                <c:pt idx="343">
                  <c:v>0.63723581265200002</c:v>
                </c:pt>
                <c:pt idx="344">
                  <c:v>0.56718280301699997</c:v>
                </c:pt>
                <c:pt idx="345">
                  <c:v>0.57339572834499997</c:v>
                </c:pt>
                <c:pt idx="346">
                  <c:v>0.79961153417800002</c:v>
                </c:pt>
                <c:pt idx="347">
                  <c:v>0.66365318958999997</c:v>
                </c:pt>
                <c:pt idx="348">
                  <c:v>0.599798617614</c:v>
                </c:pt>
                <c:pt idx="349">
                  <c:v>0.68499927694499996</c:v>
                </c:pt>
                <c:pt idx="350">
                  <c:v>0.76374006565100006</c:v>
                </c:pt>
                <c:pt idx="351">
                  <c:v>0.68969322445299996</c:v>
                </c:pt>
                <c:pt idx="352">
                  <c:v>1.016152128916</c:v>
                </c:pt>
                <c:pt idx="353">
                  <c:v>0.80286719934200002</c:v>
                </c:pt>
                <c:pt idx="354">
                  <c:v>0.83184502394399995</c:v>
                </c:pt>
                <c:pt idx="355">
                  <c:v>0.69400526923500006</c:v>
                </c:pt>
                <c:pt idx="356">
                  <c:v>0.54167953155500004</c:v>
                </c:pt>
                <c:pt idx="357">
                  <c:v>0.73284635692900002</c:v>
                </c:pt>
                <c:pt idx="358">
                  <c:v>0.27772120493899999</c:v>
                </c:pt>
                <c:pt idx="359">
                  <c:v>0.57824079874300005</c:v>
                </c:pt>
                <c:pt idx="360">
                  <c:v>0.30384762244199998</c:v>
                </c:pt>
                <c:pt idx="361">
                  <c:v>0.53507067213399995</c:v>
                </c:pt>
                <c:pt idx="362">
                  <c:v>0.79113387567399995</c:v>
                </c:pt>
                <c:pt idx="363">
                  <c:v>0.82848766677700003</c:v>
                </c:pt>
                <c:pt idx="364">
                  <c:v>0.60111253908700002</c:v>
                </c:pt>
                <c:pt idx="365">
                  <c:v>0.36388910115700002</c:v>
                </c:pt>
                <c:pt idx="366">
                  <c:v>0.37862247048600001</c:v>
                </c:pt>
                <c:pt idx="367">
                  <c:v>0.530091997466</c:v>
                </c:pt>
                <c:pt idx="368">
                  <c:v>0.55678667275399996</c:v>
                </c:pt>
                <c:pt idx="369">
                  <c:v>0</c:v>
                </c:pt>
                <c:pt idx="370">
                  <c:v>0.15225798593100001</c:v>
                </c:pt>
                <c:pt idx="371">
                  <c:v>0.76878960227399995</c:v>
                </c:pt>
                <c:pt idx="372">
                  <c:v>0.30905118196600001</c:v>
                </c:pt>
                <c:pt idx="373">
                  <c:v>0.31868802513799999</c:v>
                </c:pt>
                <c:pt idx="374">
                  <c:v>0.49386943409099998</c:v>
                </c:pt>
                <c:pt idx="375">
                  <c:v>0</c:v>
                </c:pt>
                <c:pt idx="376">
                  <c:v>0.50831691187299999</c:v>
                </c:pt>
                <c:pt idx="377">
                  <c:v>0.33889057392799998</c:v>
                </c:pt>
                <c:pt idx="378">
                  <c:v>0.50833758360000003</c:v>
                </c:pt>
                <c:pt idx="379">
                  <c:v>0.50839013180799997</c:v>
                </c:pt>
                <c:pt idx="380">
                  <c:v>0.686321778534</c:v>
                </c:pt>
                <c:pt idx="381">
                  <c:v>0.174379774736</c:v>
                </c:pt>
                <c:pt idx="382">
                  <c:v>0.70810371595099997</c:v>
                </c:pt>
                <c:pt idx="383">
                  <c:v>0.53673984219799997</c:v>
                </c:pt>
                <c:pt idx="384">
                  <c:v>0.35862667501000001</c:v>
                </c:pt>
                <c:pt idx="385">
                  <c:v>0</c:v>
                </c:pt>
              </c:numCache>
            </c:numRef>
          </c:val>
          <c:smooth val="0"/>
          <c:extLst>
            <c:ext xmlns:c16="http://schemas.microsoft.com/office/drawing/2014/chart" uri="{C3380CC4-5D6E-409C-BE32-E72D297353CC}">
              <c16:uniqueId val="{00000003-4D74-4C2A-9C27-AB83ED50F659}"/>
            </c:ext>
          </c:extLst>
        </c:ser>
        <c:ser>
          <c:idx val="2"/>
          <c:order val="2"/>
          <c:tx>
            <c:strRef>
              <c:f>List1!$D$1</c:f>
              <c:strCache>
                <c:ptCount val="1"/>
                <c:pt idx="0">
                  <c:v>Ukončené očkování - s posilující dávkou</c:v>
                </c:pt>
              </c:strCache>
            </c:strRef>
          </c:tx>
          <c:spPr>
            <a:ln w="28575" cap="rnd">
              <a:solidFill>
                <a:schemeClr val="bg1"/>
              </a:solidFill>
              <a:round/>
            </a:ln>
            <a:effectLst/>
          </c:spPr>
          <c:marker>
            <c:symbol val="none"/>
          </c:marker>
          <c:trendline>
            <c:spPr>
              <a:ln w="28575" cap="rnd" cmpd="sng">
                <a:solidFill>
                  <a:srgbClr val="70AD47"/>
                </a:solidFill>
                <a:prstDash val="solid"/>
              </a:ln>
              <a:effectLst/>
            </c:spPr>
            <c:trendlineType val="movingAvg"/>
            <c:period val="7"/>
            <c:dispRSqr val="0"/>
            <c:dispEq val="0"/>
          </c:trendline>
          <c:cat>
            <c:numRef>
              <c:f>List1!$A$2:$A$387</c:f>
              <c:numCache>
                <c:formatCode>m/d/yyyy</c:formatCode>
                <c:ptCount val="386"/>
                <c:pt idx="0">
                  <c:v>44191</c:v>
                </c:pt>
                <c:pt idx="1">
                  <c:v>44192</c:v>
                </c:pt>
                <c:pt idx="2">
                  <c:v>44193</c:v>
                </c:pt>
                <c:pt idx="3">
                  <c:v>44194</c:v>
                </c:pt>
                <c:pt idx="4">
                  <c:v>44195</c:v>
                </c:pt>
                <c:pt idx="5">
                  <c:v>44196</c:v>
                </c:pt>
                <c:pt idx="6">
                  <c:v>44197</c:v>
                </c:pt>
                <c:pt idx="7">
                  <c:v>44198</c:v>
                </c:pt>
                <c:pt idx="8">
                  <c:v>44199</c:v>
                </c:pt>
                <c:pt idx="9">
                  <c:v>44200</c:v>
                </c:pt>
                <c:pt idx="10">
                  <c:v>44201</c:v>
                </c:pt>
                <c:pt idx="11">
                  <c:v>44202</c:v>
                </c:pt>
                <c:pt idx="12">
                  <c:v>44203</c:v>
                </c:pt>
                <c:pt idx="13">
                  <c:v>44204</c:v>
                </c:pt>
                <c:pt idx="14">
                  <c:v>44205</c:v>
                </c:pt>
                <c:pt idx="15">
                  <c:v>44206</c:v>
                </c:pt>
                <c:pt idx="16">
                  <c:v>44207</c:v>
                </c:pt>
                <c:pt idx="17">
                  <c:v>44208</c:v>
                </c:pt>
                <c:pt idx="18">
                  <c:v>44209</c:v>
                </c:pt>
                <c:pt idx="19">
                  <c:v>44210</c:v>
                </c:pt>
                <c:pt idx="20">
                  <c:v>44211</c:v>
                </c:pt>
                <c:pt idx="21">
                  <c:v>44212</c:v>
                </c:pt>
                <c:pt idx="22">
                  <c:v>44213</c:v>
                </c:pt>
                <c:pt idx="23">
                  <c:v>44214</c:v>
                </c:pt>
                <c:pt idx="24">
                  <c:v>44215</c:v>
                </c:pt>
                <c:pt idx="25">
                  <c:v>44216</c:v>
                </c:pt>
                <c:pt idx="26">
                  <c:v>44217</c:v>
                </c:pt>
                <c:pt idx="27">
                  <c:v>44218</c:v>
                </c:pt>
                <c:pt idx="28">
                  <c:v>44219</c:v>
                </c:pt>
                <c:pt idx="29">
                  <c:v>44220</c:v>
                </c:pt>
                <c:pt idx="30">
                  <c:v>44221</c:v>
                </c:pt>
                <c:pt idx="31">
                  <c:v>44222</c:v>
                </c:pt>
                <c:pt idx="32">
                  <c:v>44223</c:v>
                </c:pt>
                <c:pt idx="33">
                  <c:v>44224</c:v>
                </c:pt>
                <c:pt idx="34">
                  <c:v>44225</c:v>
                </c:pt>
                <c:pt idx="35">
                  <c:v>44226</c:v>
                </c:pt>
                <c:pt idx="36">
                  <c:v>44227</c:v>
                </c:pt>
                <c:pt idx="37">
                  <c:v>44228</c:v>
                </c:pt>
                <c:pt idx="38">
                  <c:v>44229</c:v>
                </c:pt>
                <c:pt idx="39">
                  <c:v>44230</c:v>
                </c:pt>
                <c:pt idx="40">
                  <c:v>44231</c:v>
                </c:pt>
                <c:pt idx="41">
                  <c:v>44232</c:v>
                </c:pt>
                <c:pt idx="42">
                  <c:v>44233</c:v>
                </c:pt>
                <c:pt idx="43">
                  <c:v>44234</c:v>
                </c:pt>
                <c:pt idx="44">
                  <c:v>44235</c:v>
                </c:pt>
                <c:pt idx="45">
                  <c:v>44236</c:v>
                </c:pt>
                <c:pt idx="46">
                  <c:v>44237</c:v>
                </c:pt>
                <c:pt idx="47">
                  <c:v>44238</c:v>
                </c:pt>
                <c:pt idx="48">
                  <c:v>44239</c:v>
                </c:pt>
                <c:pt idx="49">
                  <c:v>44240</c:v>
                </c:pt>
                <c:pt idx="50">
                  <c:v>44241</c:v>
                </c:pt>
                <c:pt idx="51">
                  <c:v>44242</c:v>
                </c:pt>
                <c:pt idx="52">
                  <c:v>44243</c:v>
                </c:pt>
                <c:pt idx="53">
                  <c:v>44244</c:v>
                </c:pt>
                <c:pt idx="54">
                  <c:v>44245</c:v>
                </c:pt>
                <c:pt idx="55">
                  <c:v>44246</c:v>
                </c:pt>
                <c:pt idx="56">
                  <c:v>44247</c:v>
                </c:pt>
                <c:pt idx="57">
                  <c:v>44248</c:v>
                </c:pt>
                <c:pt idx="58">
                  <c:v>44249</c:v>
                </c:pt>
                <c:pt idx="59">
                  <c:v>44250</c:v>
                </c:pt>
                <c:pt idx="60">
                  <c:v>44251</c:v>
                </c:pt>
                <c:pt idx="61">
                  <c:v>44252</c:v>
                </c:pt>
                <c:pt idx="62">
                  <c:v>44253</c:v>
                </c:pt>
                <c:pt idx="63">
                  <c:v>44254</c:v>
                </c:pt>
                <c:pt idx="64">
                  <c:v>44255</c:v>
                </c:pt>
                <c:pt idx="65">
                  <c:v>44256</c:v>
                </c:pt>
                <c:pt idx="66">
                  <c:v>44257</c:v>
                </c:pt>
                <c:pt idx="67">
                  <c:v>44258</c:v>
                </c:pt>
                <c:pt idx="68">
                  <c:v>44259</c:v>
                </c:pt>
                <c:pt idx="69">
                  <c:v>44260</c:v>
                </c:pt>
                <c:pt idx="70">
                  <c:v>44261</c:v>
                </c:pt>
                <c:pt idx="71">
                  <c:v>44262</c:v>
                </c:pt>
                <c:pt idx="72">
                  <c:v>44263</c:v>
                </c:pt>
                <c:pt idx="73">
                  <c:v>44264</c:v>
                </c:pt>
                <c:pt idx="74">
                  <c:v>44265</c:v>
                </c:pt>
                <c:pt idx="75">
                  <c:v>44266</c:v>
                </c:pt>
                <c:pt idx="76">
                  <c:v>44267</c:v>
                </c:pt>
                <c:pt idx="77">
                  <c:v>44268</c:v>
                </c:pt>
                <c:pt idx="78">
                  <c:v>44269</c:v>
                </c:pt>
                <c:pt idx="79">
                  <c:v>44270</c:v>
                </c:pt>
                <c:pt idx="80">
                  <c:v>44271</c:v>
                </c:pt>
                <c:pt idx="81">
                  <c:v>44272</c:v>
                </c:pt>
                <c:pt idx="82">
                  <c:v>44273</c:v>
                </c:pt>
                <c:pt idx="83">
                  <c:v>44274</c:v>
                </c:pt>
                <c:pt idx="84">
                  <c:v>44275</c:v>
                </c:pt>
                <c:pt idx="85">
                  <c:v>44276</c:v>
                </c:pt>
                <c:pt idx="86">
                  <c:v>44277</c:v>
                </c:pt>
                <c:pt idx="87">
                  <c:v>44278</c:v>
                </c:pt>
                <c:pt idx="88">
                  <c:v>44279</c:v>
                </c:pt>
                <c:pt idx="89">
                  <c:v>44280</c:v>
                </c:pt>
                <c:pt idx="90">
                  <c:v>44281</c:v>
                </c:pt>
                <c:pt idx="91">
                  <c:v>44282</c:v>
                </c:pt>
                <c:pt idx="92">
                  <c:v>44283</c:v>
                </c:pt>
                <c:pt idx="93">
                  <c:v>44284</c:v>
                </c:pt>
                <c:pt idx="94">
                  <c:v>44285</c:v>
                </c:pt>
                <c:pt idx="95">
                  <c:v>44286</c:v>
                </c:pt>
                <c:pt idx="96">
                  <c:v>44287</c:v>
                </c:pt>
                <c:pt idx="97">
                  <c:v>44288</c:v>
                </c:pt>
                <c:pt idx="98">
                  <c:v>44289</c:v>
                </c:pt>
                <c:pt idx="99">
                  <c:v>44290</c:v>
                </c:pt>
                <c:pt idx="100">
                  <c:v>44291</c:v>
                </c:pt>
                <c:pt idx="101">
                  <c:v>44292</c:v>
                </c:pt>
                <c:pt idx="102">
                  <c:v>44293</c:v>
                </c:pt>
                <c:pt idx="103">
                  <c:v>44294</c:v>
                </c:pt>
                <c:pt idx="104">
                  <c:v>44295</c:v>
                </c:pt>
                <c:pt idx="105">
                  <c:v>44296</c:v>
                </c:pt>
                <c:pt idx="106">
                  <c:v>44297</c:v>
                </c:pt>
                <c:pt idx="107">
                  <c:v>44298</c:v>
                </c:pt>
                <c:pt idx="108">
                  <c:v>44299</c:v>
                </c:pt>
                <c:pt idx="109">
                  <c:v>44300</c:v>
                </c:pt>
                <c:pt idx="110">
                  <c:v>44301</c:v>
                </c:pt>
                <c:pt idx="111">
                  <c:v>44302</c:v>
                </c:pt>
                <c:pt idx="112">
                  <c:v>44303</c:v>
                </c:pt>
                <c:pt idx="113">
                  <c:v>44304</c:v>
                </c:pt>
                <c:pt idx="114">
                  <c:v>44305</c:v>
                </c:pt>
                <c:pt idx="115">
                  <c:v>44306</c:v>
                </c:pt>
                <c:pt idx="116">
                  <c:v>44307</c:v>
                </c:pt>
                <c:pt idx="117">
                  <c:v>44308</c:v>
                </c:pt>
                <c:pt idx="118">
                  <c:v>44309</c:v>
                </c:pt>
                <c:pt idx="119">
                  <c:v>44310</c:v>
                </c:pt>
                <c:pt idx="120">
                  <c:v>44311</c:v>
                </c:pt>
                <c:pt idx="121">
                  <c:v>44312</c:v>
                </c:pt>
                <c:pt idx="122">
                  <c:v>44313</c:v>
                </c:pt>
                <c:pt idx="123">
                  <c:v>44314</c:v>
                </c:pt>
                <c:pt idx="124">
                  <c:v>44315</c:v>
                </c:pt>
                <c:pt idx="125">
                  <c:v>44316</c:v>
                </c:pt>
                <c:pt idx="126">
                  <c:v>44317</c:v>
                </c:pt>
                <c:pt idx="127">
                  <c:v>44318</c:v>
                </c:pt>
                <c:pt idx="128">
                  <c:v>44319</c:v>
                </c:pt>
                <c:pt idx="129">
                  <c:v>44320</c:v>
                </c:pt>
                <c:pt idx="130">
                  <c:v>44321</c:v>
                </c:pt>
                <c:pt idx="131">
                  <c:v>44322</c:v>
                </c:pt>
                <c:pt idx="132">
                  <c:v>44323</c:v>
                </c:pt>
                <c:pt idx="133">
                  <c:v>44324</c:v>
                </c:pt>
                <c:pt idx="134">
                  <c:v>44325</c:v>
                </c:pt>
                <c:pt idx="135">
                  <c:v>44326</c:v>
                </c:pt>
                <c:pt idx="136">
                  <c:v>44327</c:v>
                </c:pt>
                <c:pt idx="137">
                  <c:v>44328</c:v>
                </c:pt>
                <c:pt idx="138">
                  <c:v>44329</c:v>
                </c:pt>
                <c:pt idx="139">
                  <c:v>44330</c:v>
                </c:pt>
                <c:pt idx="140">
                  <c:v>44331</c:v>
                </c:pt>
                <c:pt idx="141">
                  <c:v>44332</c:v>
                </c:pt>
                <c:pt idx="142">
                  <c:v>44333</c:v>
                </c:pt>
                <c:pt idx="143">
                  <c:v>44334</c:v>
                </c:pt>
                <c:pt idx="144">
                  <c:v>44335</c:v>
                </c:pt>
                <c:pt idx="145">
                  <c:v>44336</c:v>
                </c:pt>
                <c:pt idx="146">
                  <c:v>44337</c:v>
                </c:pt>
                <c:pt idx="147">
                  <c:v>44338</c:v>
                </c:pt>
                <c:pt idx="148">
                  <c:v>44339</c:v>
                </c:pt>
                <c:pt idx="149">
                  <c:v>44340</c:v>
                </c:pt>
                <c:pt idx="150">
                  <c:v>44341</c:v>
                </c:pt>
                <c:pt idx="151">
                  <c:v>44342</c:v>
                </c:pt>
                <c:pt idx="152">
                  <c:v>44343</c:v>
                </c:pt>
                <c:pt idx="153">
                  <c:v>44344</c:v>
                </c:pt>
                <c:pt idx="154">
                  <c:v>44345</c:v>
                </c:pt>
                <c:pt idx="155">
                  <c:v>44346</c:v>
                </c:pt>
                <c:pt idx="156">
                  <c:v>44347</c:v>
                </c:pt>
                <c:pt idx="157">
                  <c:v>44348</c:v>
                </c:pt>
                <c:pt idx="158">
                  <c:v>44349</c:v>
                </c:pt>
                <c:pt idx="159">
                  <c:v>44350</c:v>
                </c:pt>
                <c:pt idx="160">
                  <c:v>44351</c:v>
                </c:pt>
                <c:pt idx="161">
                  <c:v>44352</c:v>
                </c:pt>
                <c:pt idx="162">
                  <c:v>44353</c:v>
                </c:pt>
                <c:pt idx="163">
                  <c:v>44354</c:v>
                </c:pt>
                <c:pt idx="164">
                  <c:v>44355</c:v>
                </c:pt>
                <c:pt idx="165">
                  <c:v>44356</c:v>
                </c:pt>
                <c:pt idx="166">
                  <c:v>44357</c:v>
                </c:pt>
                <c:pt idx="167">
                  <c:v>44358</c:v>
                </c:pt>
                <c:pt idx="168">
                  <c:v>44359</c:v>
                </c:pt>
                <c:pt idx="169">
                  <c:v>44360</c:v>
                </c:pt>
                <c:pt idx="170">
                  <c:v>44361</c:v>
                </c:pt>
                <c:pt idx="171">
                  <c:v>44362</c:v>
                </c:pt>
                <c:pt idx="172">
                  <c:v>44363</c:v>
                </c:pt>
                <c:pt idx="173">
                  <c:v>44364</c:v>
                </c:pt>
                <c:pt idx="174">
                  <c:v>44365</c:v>
                </c:pt>
                <c:pt idx="175">
                  <c:v>44366</c:v>
                </c:pt>
                <c:pt idx="176">
                  <c:v>44367</c:v>
                </c:pt>
                <c:pt idx="177">
                  <c:v>44368</c:v>
                </c:pt>
                <c:pt idx="178">
                  <c:v>44369</c:v>
                </c:pt>
                <c:pt idx="179">
                  <c:v>44370</c:v>
                </c:pt>
                <c:pt idx="180">
                  <c:v>44371</c:v>
                </c:pt>
                <c:pt idx="181">
                  <c:v>44372</c:v>
                </c:pt>
                <c:pt idx="182">
                  <c:v>44373</c:v>
                </c:pt>
                <c:pt idx="183">
                  <c:v>44374</c:v>
                </c:pt>
                <c:pt idx="184">
                  <c:v>44375</c:v>
                </c:pt>
                <c:pt idx="185">
                  <c:v>44376</c:v>
                </c:pt>
                <c:pt idx="186">
                  <c:v>44377</c:v>
                </c:pt>
                <c:pt idx="187">
                  <c:v>44378</c:v>
                </c:pt>
                <c:pt idx="188">
                  <c:v>44379</c:v>
                </c:pt>
                <c:pt idx="189">
                  <c:v>44380</c:v>
                </c:pt>
                <c:pt idx="190">
                  <c:v>44381</c:v>
                </c:pt>
                <c:pt idx="191">
                  <c:v>44382</c:v>
                </c:pt>
                <c:pt idx="192">
                  <c:v>44383</c:v>
                </c:pt>
                <c:pt idx="193">
                  <c:v>44384</c:v>
                </c:pt>
                <c:pt idx="194">
                  <c:v>44385</c:v>
                </c:pt>
                <c:pt idx="195">
                  <c:v>44386</c:v>
                </c:pt>
                <c:pt idx="196">
                  <c:v>44387</c:v>
                </c:pt>
                <c:pt idx="197">
                  <c:v>44388</c:v>
                </c:pt>
                <c:pt idx="198">
                  <c:v>44389</c:v>
                </c:pt>
                <c:pt idx="199">
                  <c:v>44390</c:v>
                </c:pt>
                <c:pt idx="200">
                  <c:v>44391</c:v>
                </c:pt>
                <c:pt idx="201">
                  <c:v>44392</c:v>
                </c:pt>
                <c:pt idx="202">
                  <c:v>44393</c:v>
                </c:pt>
                <c:pt idx="203">
                  <c:v>44394</c:v>
                </c:pt>
                <c:pt idx="204">
                  <c:v>44395</c:v>
                </c:pt>
                <c:pt idx="205">
                  <c:v>44396</c:v>
                </c:pt>
                <c:pt idx="206">
                  <c:v>44397</c:v>
                </c:pt>
                <c:pt idx="207">
                  <c:v>44398</c:v>
                </c:pt>
                <c:pt idx="208">
                  <c:v>44399</c:v>
                </c:pt>
                <c:pt idx="209">
                  <c:v>44400</c:v>
                </c:pt>
                <c:pt idx="210">
                  <c:v>44401</c:v>
                </c:pt>
                <c:pt idx="211">
                  <c:v>44402</c:v>
                </c:pt>
                <c:pt idx="212">
                  <c:v>44403</c:v>
                </c:pt>
                <c:pt idx="213">
                  <c:v>44404</c:v>
                </c:pt>
                <c:pt idx="214">
                  <c:v>44405</c:v>
                </c:pt>
                <c:pt idx="215">
                  <c:v>44406</c:v>
                </c:pt>
                <c:pt idx="216">
                  <c:v>44407</c:v>
                </c:pt>
                <c:pt idx="217">
                  <c:v>44408</c:v>
                </c:pt>
                <c:pt idx="218">
                  <c:v>44409</c:v>
                </c:pt>
                <c:pt idx="219">
                  <c:v>44410</c:v>
                </c:pt>
                <c:pt idx="220">
                  <c:v>44411</c:v>
                </c:pt>
                <c:pt idx="221">
                  <c:v>44412</c:v>
                </c:pt>
                <c:pt idx="222">
                  <c:v>44413</c:v>
                </c:pt>
                <c:pt idx="223">
                  <c:v>44414</c:v>
                </c:pt>
                <c:pt idx="224">
                  <c:v>44415</c:v>
                </c:pt>
                <c:pt idx="225">
                  <c:v>44416</c:v>
                </c:pt>
                <c:pt idx="226">
                  <c:v>44417</c:v>
                </c:pt>
                <c:pt idx="227">
                  <c:v>44418</c:v>
                </c:pt>
                <c:pt idx="228">
                  <c:v>44419</c:v>
                </c:pt>
                <c:pt idx="229">
                  <c:v>44420</c:v>
                </c:pt>
                <c:pt idx="230">
                  <c:v>44421</c:v>
                </c:pt>
                <c:pt idx="231">
                  <c:v>44422</c:v>
                </c:pt>
                <c:pt idx="232">
                  <c:v>44423</c:v>
                </c:pt>
                <c:pt idx="233">
                  <c:v>44424</c:v>
                </c:pt>
                <c:pt idx="234">
                  <c:v>44425</c:v>
                </c:pt>
                <c:pt idx="235">
                  <c:v>44426</c:v>
                </c:pt>
                <c:pt idx="236">
                  <c:v>44427</c:v>
                </c:pt>
                <c:pt idx="237">
                  <c:v>44428</c:v>
                </c:pt>
                <c:pt idx="238">
                  <c:v>44429</c:v>
                </c:pt>
                <c:pt idx="239">
                  <c:v>44430</c:v>
                </c:pt>
                <c:pt idx="240">
                  <c:v>44431</c:v>
                </c:pt>
                <c:pt idx="241">
                  <c:v>44432</c:v>
                </c:pt>
                <c:pt idx="242">
                  <c:v>44433</c:v>
                </c:pt>
                <c:pt idx="243">
                  <c:v>44434</c:v>
                </c:pt>
                <c:pt idx="244">
                  <c:v>44435</c:v>
                </c:pt>
                <c:pt idx="245">
                  <c:v>44436</c:v>
                </c:pt>
                <c:pt idx="246">
                  <c:v>44437</c:v>
                </c:pt>
                <c:pt idx="247">
                  <c:v>44438</c:v>
                </c:pt>
                <c:pt idx="248">
                  <c:v>44439</c:v>
                </c:pt>
                <c:pt idx="249">
                  <c:v>44440</c:v>
                </c:pt>
                <c:pt idx="250">
                  <c:v>44441</c:v>
                </c:pt>
                <c:pt idx="251">
                  <c:v>44442</c:v>
                </c:pt>
                <c:pt idx="252">
                  <c:v>44443</c:v>
                </c:pt>
                <c:pt idx="253">
                  <c:v>44444</c:v>
                </c:pt>
                <c:pt idx="254">
                  <c:v>44445</c:v>
                </c:pt>
                <c:pt idx="255">
                  <c:v>44446</c:v>
                </c:pt>
                <c:pt idx="256">
                  <c:v>44447</c:v>
                </c:pt>
                <c:pt idx="257">
                  <c:v>44448</c:v>
                </c:pt>
                <c:pt idx="258">
                  <c:v>44449</c:v>
                </c:pt>
                <c:pt idx="259">
                  <c:v>44450</c:v>
                </c:pt>
                <c:pt idx="260">
                  <c:v>44451</c:v>
                </c:pt>
                <c:pt idx="261">
                  <c:v>44452</c:v>
                </c:pt>
                <c:pt idx="262">
                  <c:v>44453</c:v>
                </c:pt>
                <c:pt idx="263">
                  <c:v>44454</c:v>
                </c:pt>
                <c:pt idx="264">
                  <c:v>44455</c:v>
                </c:pt>
                <c:pt idx="265">
                  <c:v>44456</c:v>
                </c:pt>
                <c:pt idx="266">
                  <c:v>44457</c:v>
                </c:pt>
                <c:pt idx="267">
                  <c:v>44458</c:v>
                </c:pt>
                <c:pt idx="268">
                  <c:v>44459</c:v>
                </c:pt>
                <c:pt idx="269">
                  <c:v>44460</c:v>
                </c:pt>
                <c:pt idx="270">
                  <c:v>44461</c:v>
                </c:pt>
                <c:pt idx="271">
                  <c:v>44462</c:v>
                </c:pt>
                <c:pt idx="272">
                  <c:v>44463</c:v>
                </c:pt>
                <c:pt idx="273">
                  <c:v>44464</c:v>
                </c:pt>
                <c:pt idx="274">
                  <c:v>44465</c:v>
                </c:pt>
                <c:pt idx="275">
                  <c:v>44466</c:v>
                </c:pt>
                <c:pt idx="276">
                  <c:v>44467</c:v>
                </c:pt>
                <c:pt idx="277">
                  <c:v>44468</c:v>
                </c:pt>
                <c:pt idx="278">
                  <c:v>44469</c:v>
                </c:pt>
                <c:pt idx="279">
                  <c:v>44470</c:v>
                </c:pt>
                <c:pt idx="280">
                  <c:v>44471</c:v>
                </c:pt>
                <c:pt idx="281">
                  <c:v>44472</c:v>
                </c:pt>
                <c:pt idx="282">
                  <c:v>44473</c:v>
                </c:pt>
                <c:pt idx="283">
                  <c:v>44474</c:v>
                </c:pt>
                <c:pt idx="284">
                  <c:v>44475</c:v>
                </c:pt>
                <c:pt idx="285">
                  <c:v>44476</c:v>
                </c:pt>
                <c:pt idx="286">
                  <c:v>44477</c:v>
                </c:pt>
                <c:pt idx="287">
                  <c:v>44478</c:v>
                </c:pt>
                <c:pt idx="288">
                  <c:v>44479</c:v>
                </c:pt>
                <c:pt idx="289">
                  <c:v>44480</c:v>
                </c:pt>
                <c:pt idx="290">
                  <c:v>44481</c:v>
                </c:pt>
                <c:pt idx="291">
                  <c:v>44482</c:v>
                </c:pt>
                <c:pt idx="292">
                  <c:v>44483</c:v>
                </c:pt>
                <c:pt idx="293">
                  <c:v>44484</c:v>
                </c:pt>
                <c:pt idx="294">
                  <c:v>44485</c:v>
                </c:pt>
                <c:pt idx="295">
                  <c:v>44486</c:v>
                </c:pt>
                <c:pt idx="296">
                  <c:v>44487</c:v>
                </c:pt>
                <c:pt idx="297">
                  <c:v>44488</c:v>
                </c:pt>
                <c:pt idx="298">
                  <c:v>44489</c:v>
                </c:pt>
                <c:pt idx="299">
                  <c:v>44490</c:v>
                </c:pt>
                <c:pt idx="300">
                  <c:v>44491</c:v>
                </c:pt>
                <c:pt idx="301">
                  <c:v>44492</c:v>
                </c:pt>
                <c:pt idx="302">
                  <c:v>44493</c:v>
                </c:pt>
                <c:pt idx="303">
                  <c:v>44494</c:v>
                </c:pt>
                <c:pt idx="304">
                  <c:v>44495</c:v>
                </c:pt>
                <c:pt idx="305">
                  <c:v>44496</c:v>
                </c:pt>
                <c:pt idx="306">
                  <c:v>44497</c:v>
                </c:pt>
                <c:pt idx="307">
                  <c:v>44498</c:v>
                </c:pt>
                <c:pt idx="308">
                  <c:v>44499</c:v>
                </c:pt>
                <c:pt idx="309">
                  <c:v>44500</c:v>
                </c:pt>
                <c:pt idx="310">
                  <c:v>44501</c:v>
                </c:pt>
                <c:pt idx="311">
                  <c:v>44502</c:v>
                </c:pt>
                <c:pt idx="312">
                  <c:v>44503</c:v>
                </c:pt>
                <c:pt idx="313">
                  <c:v>44504</c:v>
                </c:pt>
                <c:pt idx="314">
                  <c:v>44505</c:v>
                </c:pt>
                <c:pt idx="315">
                  <c:v>44506</c:v>
                </c:pt>
                <c:pt idx="316">
                  <c:v>44507</c:v>
                </c:pt>
                <c:pt idx="317">
                  <c:v>44508</c:v>
                </c:pt>
                <c:pt idx="318">
                  <c:v>44509</c:v>
                </c:pt>
                <c:pt idx="319">
                  <c:v>44510</c:v>
                </c:pt>
                <c:pt idx="320">
                  <c:v>44511</c:v>
                </c:pt>
                <c:pt idx="321">
                  <c:v>44512</c:v>
                </c:pt>
                <c:pt idx="322">
                  <c:v>44513</c:v>
                </c:pt>
                <c:pt idx="323">
                  <c:v>44514</c:v>
                </c:pt>
                <c:pt idx="324">
                  <c:v>44515</c:v>
                </c:pt>
                <c:pt idx="325">
                  <c:v>44516</c:v>
                </c:pt>
                <c:pt idx="326">
                  <c:v>44517</c:v>
                </c:pt>
                <c:pt idx="327">
                  <c:v>44518</c:v>
                </c:pt>
                <c:pt idx="328">
                  <c:v>44519</c:v>
                </c:pt>
                <c:pt idx="329">
                  <c:v>44520</c:v>
                </c:pt>
                <c:pt idx="330">
                  <c:v>44521</c:v>
                </c:pt>
                <c:pt idx="331">
                  <c:v>44522</c:v>
                </c:pt>
                <c:pt idx="332">
                  <c:v>44523</c:v>
                </c:pt>
                <c:pt idx="333">
                  <c:v>44524</c:v>
                </c:pt>
                <c:pt idx="334">
                  <c:v>44525</c:v>
                </c:pt>
                <c:pt idx="335">
                  <c:v>44526</c:v>
                </c:pt>
                <c:pt idx="336">
                  <c:v>44527</c:v>
                </c:pt>
                <c:pt idx="337">
                  <c:v>44528</c:v>
                </c:pt>
                <c:pt idx="338">
                  <c:v>44529</c:v>
                </c:pt>
                <c:pt idx="339">
                  <c:v>44530</c:v>
                </c:pt>
                <c:pt idx="340">
                  <c:v>44531</c:v>
                </c:pt>
                <c:pt idx="341">
                  <c:v>44532</c:v>
                </c:pt>
                <c:pt idx="342">
                  <c:v>44533</c:v>
                </c:pt>
                <c:pt idx="343">
                  <c:v>44534</c:v>
                </c:pt>
                <c:pt idx="344">
                  <c:v>44535</c:v>
                </c:pt>
                <c:pt idx="345">
                  <c:v>44536</c:v>
                </c:pt>
                <c:pt idx="346">
                  <c:v>44537</c:v>
                </c:pt>
                <c:pt idx="347">
                  <c:v>44538</c:v>
                </c:pt>
                <c:pt idx="348">
                  <c:v>44539</c:v>
                </c:pt>
                <c:pt idx="349">
                  <c:v>44540</c:v>
                </c:pt>
                <c:pt idx="350">
                  <c:v>44541</c:v>
                </c:pt>
                <c:pt idx="351">
                  <c:v>44542</c:v>
                </c:pt>
                <c:pt idx="352">
                  <c:v>44543</c:v>
                </c:pt>
                <c:pt idx="353">
                  <c:v>44544</c:v>
                </c:pt>
                <c:pt idx="354">
                  <c:v>44545</c:v>
                </c:pt>
                <c:pt idx="355">
                  <c:v>44546</c:v>
                </c:pt>
                <c:pt idx="356">
                  <c:v>44547</c:v>
                </c:pt>
                <c:pt idx="357">
                  <c:v>44548</c:v>
                </c:pt>
                <c:pt idx="358">
                  <c:v>44549</c:v>
                </c:pt>
                <c:pt idx="359">
                  <c:v>44550</c:v>
                </c:pt>
                <c:pt idx="360">
                  <c:v>44551</c:v>
                </c:pt>
                <c:pt idx="361">
                  <c:v>44552</c:v>
                </c:pt>
                <c:pt idx="362">
                  <c:v>44553</c:v>
                </c:pt>
                <c:pt idx="363">
                  <c:v>44554</c:v>
                </c:pt>
                <c:pt idx="364">
                  <c:v>44555</c:v>
                </c:pt>
                <c:pt idx="365">
                  <c:v>44556</c:v>
                </c:pt>
                <c:pt idx="366">
                  <c:v>44557</c:v>
                </c:pt>
                <c:pt idx="367">
                  <c:v>44558</c:v>
                </c:pt>
                <c:pt idx="368">
                  <c:v>44559</c:v>
                </c:pt>
                <c:pt idx="369">
                  <c:v>44560</c:v>
                </c:pt>
                <c:pt idx="370">
                  <c:v>44561</c:v>
                </c:pt>
                <c:pt idx="371">
                  <c:v>44562</c:v>
                </c:pt>
                <c:pt idx="372">
                  <c:v>44563</c:v>
                </c:pt>
                <c:pt idx="373">
                  <c:v>44564</c:v>
                </c:pt>
                <c:pt idx="374">
                  <c:v>44565</c:v>
                </c:pt>
                <c:pt idx="375">
                  <c:v>44566</c:v>
                </c:pt>
                <c:pt idx="376">
                  <c:v>44567</c:v>
                </c:pt>
                <c:pt idx="377">
                  <c:v>44568</c:v>
                </c:pt>
                <c:pt idx="378">
                  <c:v>44569</c:v>
                </c:pt>
                <c:pt idx="379">
                  <c:v>44570</c:v>
                </c:pt>
                <c:pt idx="380">
                  <c:v>44571</c:v>
                </c:pt>
                <c:pt idx="381">
                  <c:v>44572</c:v>
                </c:pt>
                <c:pt idx="382">
                  <c:v>44573</c:v>
                </c:pt>
                <c:pt idx="383">
                  <c:v>44574</c:v>
                </c:pt>
                <c:pt idx="384">
                  <c:v>44575</c:v>
                </c:pt>
                <c:pt idx="385">
                  <c:v>44576</c:v>
                </c:pt>
              </c:numCache>
            </c:numRef>
          </c:cat>
          <c:val>
            <c:numRef>
              <c:f>List1!$D$2:$D$387</c:f>
              <c:numCache>
                <c:formatCode>General</c:formatCode>
                <c:ptCount val="38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3">
                  <c:v>0</c:v>
                </c:pt>
                <c:pt idx="234">
                  <c:v>0</c:v>
                </c:pt>
                <c:pt idx="239">
                  <c:v>0</c:v>
                </c:pt>
                <c:pt idx="241">
                  <c:v>0</c:v>
                </c:pt>
                <c:pt idx="244">
                  <c:v>0</c:v>
                </c:pt>
                <c:pt idx="253">
                  <c:v>0</c:v>
                </c:pt>
                <c:pt idx="254">
                  <c:v>0</c:v>
                </c:pt>
                <c:pt idx="256">
                  <c:v>0</c:v>
                </c:pt>
                <c:pt idx="260">
                  <c:v>0</c:v>
                </c:pt>
                <c:pt idx="261">
                  <c:v>0</c:v>
                </c:pt>
                <c:pt idx="262">
                  <c:v>0</c:v>
                </c:pt>
                <c:pt idx="265">
                  <c:v>0</c:v>
                </c:pt>
                <c:pt idx="266">
                  <c:v>0</c:v>
                </c:pt>
                <c:pt idx="267">
                  <c:v>0</c:v>
                </c:pt>
                <c:pt idx="268">
                  <c:v>0</c:v>
                </c:pt>
                <c:pt idx="273">
                  <c:v>0</c:v>
                </c:pt>
                <c:pt idx="275">
                  <c:v>0</c:v>
                </c:pt>
                <c:pt idx="276">
                  <c:v>0</c:v>
                </c:pt>
                <c:pt idx="277">
                  <c:v>0</c:v>
                </c:pt>
                <c:pt idx="278">
                  <c:v>0</c:v>
                </c:pt>
                <c:pt idx="279">
                  <c:v>0</c:v>
                </c:pt>
                <c:pt idx="280">
                  <c:v>0</c:v>
                </c:pt>
                <c:pt idx="282">
                  <c:v>0</c:v>
                </c:pt>
                <c:pt idx="283">
                  <c:v>0</c:v>
                </c:pt>
                <c:pt idx="284">
                  <c:v>0</c:v>
                </c:pt>
                <c:pt idx="285">
                  <c:v>0</c:v>
                </c:pt>
                <c:pt idx="286">
                  <c:v>0</c:v>
                </c:pt>
                <c:pt idx="287">
                  <c:v>0</c:v>
                </c:pt>
                <c:pt idx="289">
                  <c:v>0</c:v>
                </c:pt>
                <c:pt idx="290">
                  <c:v>0</c:v>
                </c:pt>
                <c:pt idx="291">
                  <c:v>0</c:v>
                </c:pt>
                <c:pt idx="292">
                  <c:v>0</c:v>
                </c:pt>
                <c:pt idx="293">
                  <c:v>0</c:v>
                </c:pt>
                <c:pt idx="294">
                  <c:v>0</c:v>
                </c:pt>
                <c:pt idx="295">
                  <c:v>0</c:v>
                </c:pt>
                <c:pt idx="296">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1.4323159115969999</c:v>
                </c:pt>
                <c:pt idx="317">
                  <c:v>0</c:v>
                </c:pt>
                <c:pt idx="318">
                  <c:v>0</c:v>
                </c:pt>
                <c:pt idx="319">
                  <c:v>0</c:v>
                </c:pt>
                <c:pt idx="320">
                  <c:v>0</c:v>
                </c:pt>
                <c:pt idx="321">
                  <c:v>0</c:v>
                </c:pt>
                <c:pt idx="322">
                  <c:v>0</c:v>
                </c:pt>
                <c:pt idx="323">
                  <c:v>0</c:v>
                </c:pt>
                <c:pt idx="324">
                  <c:v>0</c:v>
                </c:pt>
                <c:pt idx="325">
                  <c:v>0</c:v>
                </c:pt>
                <c:pt idx="326">
                  <c:v>0</c:v>
                </c:pt>
                <c:pt idx="327">
                  <c:v>0</c:v>
                </c:pt>
                <c:pt idx="328">
                  <c:v>0</c:v>
                </c:pt>
                <c:pt idx="329">
                  <c:v>0.399924814134</c:v>
                </c:pt>
                <c:pt idx="330">
                  <c:v>0</c:v>
                </c:pt>
                <c:pt idx="331">
                  <c:v>0.36629902454500002</c:v>
                </c:pt>
                <c:pt idx="332">
                  <c:v>0</c:v>
                </c:pt>
                <c:pt idx="333">
                  <c:v>0</c:v>
                </c:pt>
                <c:pt idx="334">
                  <c:v>0</c:v>
                </c:pt>
                <c:pt idx="335">
                  <c:v>0</c:v>
                </c:pt>
                <c:pt idx="336">
                  <c:v>0</c:v>
                </c:pt>
                <c:pt idx="337">
                  <c:v>0</c:v>
                </c:pt>
                <c:pt idx="338">
                  <c:v>0.52853563915799995</c:v>
                </c:pt>
                <c:pt idx="339">
                  <c:v>0</c:v>
                </c:pt>
                <c:pt idx="340">
                  <c:v>0</c:v>
                </c:pt>
                <c:pt idx="341">
                  <c:v>0</c:v>
                </c:pt>
                <c:pt idx="342">
                  <c:v>0</c:v>
                </c:pt>
                <c:pt idx="343">
                  <c:v>0</c:v>
                </c:pt>
                <c:pt idx="344">
                  <c:v>0</c:v>
                </c:pt>
                <c:pt idx="345">
                  <c:v>0</c:v>
                </c:pt>
                <c:pt idx="346">
                  <c:v>0.20915863845999999</c:v>
                </c:pt>
                <c:pt idx="347">
                  <c:v>0</c:v>
                </c:pt>
                <c:pt idx="348">
                  <c:v>0.19132128391799999</c:v>
                </c:pt>
                <c:pt idx="349">
                  <c:v>0.18385698867899999</c:v>
                </c:pt>
                <c:pt idx="350">
                  <c:v>0.364526471001</c:v>
                </c:pt>
                <c:pt idx="351">
                  <c:v>0.18076971745600001</c:v>
                </c:pt>
                <c:pt idx="352">
                  <c:v>0</c:v>
                </c:pt>
                <c:pt idx="353">
                  <c:v>0</c:v>
                </c:pt>
                <c:pt idx="354">
                  <c:v>0</c:v>
                </c:pt>
                <c:pt idx="355">
                  <c:v>0.14080937227099999</c:v>
                </c:pt>
                <c:pt idx="356">
                  <c:v>0.39659824465600002</c:v>
                </c:pt>
                <c:pt idx="357">
                  <c:v>0</c:v>
                </c:pt>
                <c:pt idx="358">
                  <c:v>0.25503502906100001</c:v>
                </c:pt>
                <c:pt idx="359">
                  <c:v>0</c:v>
                </c:pt>
                <c:pt idx="360">
                  <c:v>0.113716482066</c:v>
                </c:pt>
                <c:pt idx="361">
                  <c:v>0.21439398324699999</c:v>
                </c:pt>
                <c:pt idx="362">
                  <c:v>0.101638411188</c:v>
                </c:pt>
                <c:pt idx="363">
                  <c:v>0.19510995909500001</c:v>
                </c:pt>
                <c:pt idx="364">
                  <c:v>0</c:v>
                </c:pt>
                <c:pt idx="365">
                  <c:v>9.5601197691000006E-2</c:v>
                </c:pt>
                <c:pt idx="366">
                  <c:v>0</c:v>
                </c:pt>
                <c:pt idx="367">
                  <c:v>0</c:v>
                </c:pt>
                <c:pt idx="368">
                  <c:v>8.6517015301000005E-2</c:v>
                </c:pt>
                <c:pt idx="369">
                  <c:v>0.16778622022100001</c:v>
                </c:pt>
                <c:pt idx="370">
                  <c:v>8.1933969413999996E-2</c:v>
                </c:pt>
                <c:pt idx="371">
                  <c:v>0</c:v>
                </c:pt>
                <c:pt idx="372">
                  <c:v>0</c:v>
                </c:pt>
                <c:pt idx="373">
                  <c:v>0</c:v>
                </c:pt>
                <c:pt idx="374">
                  <c:v>0.23564694118400001</c:v>
                </c:pt>
                <c:pt idx="375">
                  <c:v>0</c:v>
                </c:pt>
                <c:pt idx="376">
                  <c:v>7.7379197531000005E-2</c:v>
                </c:pt>
                <c:pt idx="377">
                  <c:v>0.23213256316899999</c:v>
                </c:pt>
                <c:pt idx="378">
                  <c:v>7.7377401309999996E-2</c:v>
                </c:pt>
                <c:pt idx="379">
                  <c:v>0</c:v>
                </c:pt>
                <c:pt idx="380">
                  <c:v>7.6882506614999999E-2</c:v>
                </c:pt>
                <c:pt idx="381">
                  <c:v>7.6275788844000006E-2</c:v>
                </c:pt>
                <c:pt idx="382">
                  <c:v>7.5726883421999999E-2</c:v>
                </c:pt>
                <c:pt idx="383">
                  <c:v>0</c:v>
                </c:pt>
                <c:pt idx="384">
                  <c:v>0</c:v>
                </c:pt>
                <c:pt idx="385">
                  <c:v>0</c:v>
                </c:pt>
              </c:numCache>
            </c:numRef>
          </c:val>
          <c:smooth val="0"/>
          <c:extLst>
            <c:ext xmlns:c16="http://schemas.microsoft.com/office/drawing/2014/chart" uri="{C3380CC4-5D6E-409C-BE32-E72D297353CC}">
              <c16:uniqueId val="{00000005-4D74-4C2A-9C27-AB83ED50F659}"/>
            </c:ext>
          </c:extLst>
        </c:ser>
        <c:dLbls>
          <c:showLegendKey val="0"/>
          <c:showVal val="0"/>
          <c:showCatName val="0"/>
          <c:showSerName val="0"/>
          <c:showPercent val="0"/>
          <c:showBubbleSize val="0"/>
        </c:dLbls>
        <c:smooth val="0"/>
        <c:axId val="442360815"/>
        <c:axId val="692383071"/>
      </c:lineChart>
      <c:dateAx>
        <c:axId val="442360815"/>
        <c:scaling>
          <c:orientation val="minMax"/>
          <c:min val="44197"/>
        </c:scaling>
        <c:delete val="0"/>
        <c:axPos val="b"/>
        <c:numFmt formatCode="m/d/yy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692383071"/>
        <c:crosses val="autoZero"/>
        <c:auto val="1"/>
        <c:lblOffset val="100"/>
        <c:baseTimeUnit val="days"/>
      </c:dateAx>
      <c:valAx>
        <c:axId val="692383071"/>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cs-CZ" sz="1800" b="0" i="0" baseline="0" dirty="0">
                    <a:effectLst/>
                  </a:rPr>
                  <a:t>Počet nově hospitalizovaných na UPV/ECMO na 100 tis. dané kategorie v populaci v daném dni</a:t>
                </a:r>
                <a:endParaRPr lang="cs-CZ" sz="1600" dirty="0">
                  <a:effectLst/>
                </a:endParaRPr>
              </a:p>
            </c:rich>
          </c:tx>
          <c:layout>
            <c:manualLayout>
              <c:xMode val="edge"/>
              <c:yMode val="edge"/>
              <c:x val="2.72039458206043E-2"/>
              <c:y val="0.12267840916700973"/>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cs-CZ"/>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4423608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0271617670208821"/>
          <c:w val="0.91692139603581668"/>
          <c:h val="0.71344666460445894"/>
        </c:manualLayout>
      </c:layout>
      <c:barChart>
        <c:barDir val="col"/>
        <c:grouping val="clustered"/>
        <c:varyColors val="0"/>
        <c:ser>
          <c:idx val="0"/>
          <c:order val="0"/>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1:$A$110</c:f>
              <c:numCache>
                <c:formatCode>m/d/yyyy</c:formatCode>
                <c:ptCount val="110"/>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pt idx="96">
                  <c:v>44566</c:v>
                </c:pt>
                <c:pt idx="97">
                  <c:v>44567</c:v>
                </c:pt>
                <c:pt idx="98">
                  <c:v>44568</c:v>
                </c:pt>
                <c:pt idx="99">
                  <c:v>44569</c:v>
                </c:pt>
                <c:pt idx="100">
                  <c:v>44570</c:v>
                </c:pt>
                <c:pt idx="101">
                  <c:v>44571</c:v>
                </c:pt>
                <c:pt idx="102">
                  <c:v>44572</c:v>
                </c:pt>
                <c:pt idx="103">
                  <c:v>44573</c:v>
                </c:pt>
                <c:pt idx="104">
                  <c:v>44574</c:v>
                </c:pt>
                <c:pt idx="105">
                  <c:v>44575</c:v>
                </c:pt>
                <c:pt idx="106">
                  <c:v>44576</c:v>
                </c:pt>
                <c:pt idx="107">
                  <c:v>44577</c:v>
                </c:pt>
                <c:pt idx="108">
                  <c:v>44578</c:v>
                </c:pt>
                <c:pt idx="109">
                  <c:v>44579</c:v>
                </c:pt>
              </c:numCache>
            </c:numRef>
          </c:cat>
          <c:val>
            <c:numRef>
              <c:f>Sheet1!$B$1:$B$110</c:f>
              <c:numCache>
                <c:formatCode>General</c:formatCode>
                <c:ptCount val="110"/>
                <c:pt idx="0">
                  <c:v>84</c:v>
                </c:pt>
                <c:pt idx="1">
                  <c:v>50</c:v>
                </c:pt>
                <c:pt idx="2">
                  <c:v>30</c:v>
                </c:pt>
                <c:pt idx="3">
                  <c:v>70</c:v>
                </c:pt>
                <c:pt idx="4">
                  <c:v>111</c:v>
                </c:pt>
                <c:pt idx="5">
                  <c:v>115</c:v>
                </c:pt>
                <c:pt idx="6">
                  <c:v>99</c:v>
                </c:pt>
                <c:pt idx="7">
                  <c:v>101</c:v>
                </c:pt>
                <c:pt idx="8">
                  <c:v>36</c:v>
                </c:pt>
                <c:pt idx="9">
                  <c:v>25</c:v>
                </c:pt>
                <c:pt idx="10">
                  <c:v>109</c:v>
                </c:pt>
                <c:pt idx="11">
                  <c:v>115</c:v>
                </c:pt>
                <c:pt idx="12">
                  <c:v>132</c:v>
                </c:pt>
                <c:pt idx="13">
                  <c:v>117</c:v>
                </c:pt>
                <c:pt idx="14">
                  <c:v>185</c:v>
                </c:pt>
                <c:pt idx="15">
                  <c:v>95</c:v>
                </c:pt>
                <c:pt idx="16">
                  <c:v>57</c:v>
                </c:pt>
                <c:pt idx="17">
                  <c:v>232</c:v>
                </c:pt>
                <c:pt idx="18">
                  <c:v>297</c:v>
                </c:pt>
                <c:pt idx="19">
                  <c:v>281</c:v>
                </c:pt>
                <c:pt idx="20">
                  <c:v>292</c:v>
                </c:pt>
                <c:pt idx="21">
                  <c:v>382</c:v>
                </c:pt>
                <c:pt idx="22">
                  <c:v>212</c:v>
                </c:pt>
                <c:pt idx="23">
                  <c:v>154</c:v>
                </c:pt>
                <c:pt idx="24">
                  <c:v>430</c:v>
                </c:pt>
                <c:pt idx="25">
                  <c:v>575</c:v>
                </c:pt>
                <c:pt idx="26">
                  <c:v>501</c:v>
                </c:pt>
                <c:pt idx="27">
                  <c:v>303</c:v>
                </c:pt>
                <c:pt idx="28">
                  <c:v>623</c:v>
                </c:pt>
                <c:pt idx="29">
                  <c:v>408</c:v>
                </c:pt>
                <c:pt idx="30">
                  <c:v>287</c:v>
                </c:pt>
                <c:pt idx="31">
                  <c:v>869</c:v>
                </c:pt>
                <c:pt idx="32">
                  <c:v>912</c:v>
                </c:pt>
                <c:pt idx="33">
                  <c:v>1009</c:v>
                </c:pt>
                <c:pt idx="34">
                  <c:v>985</c:v>
                </c:pt>
                <c:pt idx="35">
                  <c:v>1038</c:v>
                </c:pt>
                <c:pt idx="36">
                  <c:v>560</c:v>
                </c:pt>
                <c:pt idx="37">
                  <c:v>323</c:v>
                </c:pt>
                <c:pt idx="38">
                  <c:v>1074</c:v>
                </c:pt>
                <c:pt idx="39">
                  <c:v>1349</c:v>
                </c:pt>
                <c:pt idx="40">
                  <c:v>1268</c:v>
                </c:pt>
                <c:pt idx="41">
                  <c:v>1094</c:v>
                </c:pt>
                <c:pt idx="42">
                  <c:v>1452</c:v>
                </c:pt>
                <c:pt idx="43">
                  <c:v>768</c:v>
                </c:pt>
                <c:pt idx="44">
                  <c:v>485</c:v>
                </c:pt>
                <c:pt idx="45">
                  <c:v>1358</c:v>
                </c:pt>
                <c:pt idx="46">
                  <c:v>1821</c:v>
                </c:pt>
                <c:pt idx="47">
                  <c:v>1064</c:v>
                </c:pt>
                <c:pt idx="48">
                  <c:v>1335</c:v>
                </c:pt>
                <c:pt idx="49">
                  <c:v>2207</c:v>
                </c:pt>
                <c:pt idx="50">
                  <c:v>1163</c:v>
                </c:pt>
                <c:pt idx="51">
                  <c:v>638</c:v>
                </c:pt>
                <c:pt idx="52">
                  <c:v>1528</c:v>
                </c:pt>
                <c:pt idx="53">
                  <c:v>2016</c:v>
                </c:pt>
                <c:pt idx="54">
                  <c:v>1621</c:v>
                </c:pt>
                <c:pt idx="55">
                  <c:v>2465</c:v>
                </c:pt>
                <c:pt idx="56">
                  <c:v>1950</c:v>
                </c:pt>
                <c:pt idx="57">
                  <c:v>1160</c:v>
                </c:pt>
                <c:pt idx="58">
                  <c:v>845</c:v>
                </c:pt>
                <c:pt idx="59">
                  <c:v>1704</c:v>
                </c:pt>
                <c:pt idx="60">
                  <c:v>1864</c:v>
                </c:pt>
                <c:pt idx="61">
                  <c:v>1920</c:v>
                </c:pt>
                <c:pt idx="62">
                  <c:v>1874</c:v>
                </c:pt>
                <c:pt idx="63">
                  <c:v>1841</c:v>
                </c:pt>
                <c:pt idx="64">
                  <c:v>1037</c:v>
                </c:pt>
                <c:pt idx="65">
                  <c:v>522</c:v>
                </c:pt>
                <c:pt idx="66">
                  <c:v>1553</c:v>
                </c:pt>
                <c:pt idx="67">
                  <c:v>1709</c:v>
                </c:pt>
                <c:pt idx="68">
                  <c:v>1501</c:v>
                </c:pt>
                <c:pt idx="69">
                  <c:v>1534</c:v>
                </c:pt>
                <c:pt idx="70">
                  <c:v>1350</c:v>
                </c:pt>
                <c:pt idx="71">
                  <c:v>770</c:v>
                </c:pt>
                <c:pt idx="72">
                  <c:v>402</c:v>
                </c:pt>
                <c:pt idx="73">
                  <c:v>1184</c:v>
                </c:pt>
                <c:pt idx="74">
                  <c:v>1449</c:v>
                </c:pt>
                <c:pt idx="75">
                  <c:v>1114</c:v>
                </c:pt>
                <c:pt idx="76">
                  <c:v>1018</c:v>
                </c:pt>
                <c:pt idx="77">
                  <c:v>903</c:v>
                </c:pt>
                <c:pt idx="78">
                  <c:v>506</c:v>
                </c:pt>
                <c:pt idx="79">
                  <c:v>297</c:v>
                </c:pt>
                <c:pt idx="80">
                  <c:v>833</c:v>
                </c:pt>
                <c:pt idx="81">
                  <c:v>1026</c:v>
                </c:pt>
                <c:pt idx="82">
                  <c:v>814</c:v>
                </c:pt>
                <c:pt idx="83">
                  <c:v>647</c:v>
                </c:pt>
                <c:pt idx="84">
                  <c:v>153</c:v>
                </c:pt>
                <c:pt idx="85">
                  <c:v>140</c:v>
                </c:pt>
                <c:pt idx="86">
                  <c:v>188</c:v>
                </c:pt>
                <c:pt idx="87">
                  <c:v>691</c:v>
                </c:pt>
                <c:pt idx="88">
                  <c:v>779</c:v>
                </c:pt>
                <c:pt idx="89">
                  <c:v>653</c:v>
                </c:pt>
                <c:pt idx="90">
                  <c:v>616</c:v>
                </c:pt>
                <c:pt idx="91">
                  <c:v>514</c:v>
                </c:pt>
                <c:pt idx="92">
                  <c:v>133</c:v>
                </c:pt>
                <c:pt idx="93">
                  <c:v>191</c:v>
                </c:pt>
                <c:pt idx="94">
                  <c:v>808</c:v>
                </c:pt>
                <c:pt idx="95">
                  <c:v>866</c:v>
                </c:pt>
                <c:pt idx="96">
                  <c:v>611</c:v>
                </c:pt>
                <c:pt idx="97">
                  <c:v>544</c:v>
                </c:pt>
                <c:pt idx="98">
                  <c:v>516</c:v>
                </c:pt>
                <c:pt idx="99">
                  <c:v>277</c:v>
                </c:pt>
                <c:pt idx="100">
                  <c:v>179</c:v>
                </c:pt>
                <c:pt idx="101">
                  <c:v>401</c:v>
                </c:pt>
                <c:pt idx="102">
                  <c:v>556</c:v>
                </c:pt>
                <c:pt idx="103">
                  <c:v>515</c:v>
                </c:pt>
                <c:pt idx="104">
                  <c:v>456</c:v>
                </c:pt>
                <c:pt idx="105">
                  <c:v>533</c:v>
                </c:pt>
                <c:pt idx="106">
                  <c:v>364</c:v>
                </c:pt>
                <c:pt idx="107">
                  <c:v>233</c:v>
                </c:pt>
                <c:pt idx="108">
                  <c:v>729</c:v>
                </c:pt>
                <c:pt idx="109">
                  <c:v>931</c:v>
                </c:pt>
              </c:numCache>
            </c:numRef>
          </c:val>
          <c:extLst>
            <c:ext xmlns:c16="http://schemas.microsoft.com/office/drawing/2014/chart" uri="{C3380CC4-5D6E-409C-BE32-E72D297353CC}">
              <c16:uniqueId val="{00000000-A5EA-4BD4-9376-87441B21E437}"/>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1"/>
        <c:majorTimeUnit val="days"/>
      </c:dateAx>
      <c:valAx>
        <c:axId val="419321824"/>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725639816114128E-2"/>
          <c:y val="3.7414076378474583E-2"/>
          <c:w val="0.93069323165507978"/>
          <c:h val="0.81046931681231571"/>
        </c:manualLayout>
      </c:layout>
      <c:lineChart>
        <c:grouping val="standard"/>
        <c:varyColors val="0"/>
        <c:ser>
          <c:idx val="0"/>
          <c:order val="0"/>
          <c:spPr>
            <a:ln w="19050" cap="rnd">
              <a:solidFill>
                <a:schemeClr val="tx1"/>
              </a:solidFill>
              <a:round/>
            </a:ln>
            <a:effectLst/>
          </c:spPr>
          <c:marker>
            <c:symbol val="circle"/>
            <c:size val="5"/>
            <c:spPr>
              <a:solidFill>
                <a:schemeClr val="tx1"/>
              </a:solidFill>
              <a:ln w="19050">
                <a:solidFill>
                  <a:schemeClr val="tx1"/>
                </a:solidFill>
              </a:ln>
              <a:effectLst/>
            </c:spPr>
          </c:marker>
          <c:trendline>
            <c:spPr>
              <a:ln w="25400" cap="rnd">
                <a:solidFill>
                  <a:srgbClr val="FF0000"/>
                </a:solidFill>
                <a:prstDash val="solid"/>
              </a:ln>
              <a:effectLst/>
            </c:spPr>
            <c:trendlineType val="movingAvg"/>
            <c:period val="7"/>
            <c:dispRSqr val="0"/>
            <c:dispEq val="0"/>
          </c:trendline>
          <c:cat>
            <c:numRef>
              <c:f>Sheet1!$A$82:$A$475</c:f>
              <c:numCache>
                <c:formatCode>m/d/yyyy</c:formatCode>
                <c:ptCount val="394"/>
                <c:pt idx="0">
                  <c:v>44186</c:v>
                </c:pt>
                <c:pt idx="1">
                  <c:v>44187</c:v>
                </c:pt>
                <c:pt idx="2">
                  <c:v>44188</c:v>
                </c:pt>
                <c:pt idx="3">
                  <c:v>44189</c:v>
                </c:pt>
                <c:pt idx="4">
                  <c:v>44190</c:v>
                </c:pt>
                <c:pt idx="5">
                  <c:v>44191</c:v>
                </c:pt>
                <c:pt idx="6">
                  <c:v>44192</c:v>
                </c:pt>
                <c:pt idx="7">
                  <c:v>44193</c:v>
                </c:pt>
                <c:pt idx="8">
                  <c:v>44194</c:v>
                </c:pt>
                <c:pt idx="9">
                  <c:v>44195</c:v>
                </c:pt>
                <c:pt idx="10">
                  <c:v>44196</c:v>
                </c:pt>
                <c:pt idx="11">
                  <c:v>44197</c:v>
                </c:pt>
                <c:pt idx="12">
                  <c:v>44198</c:v>
                </c:pt>
                <c:pt idx="13">
                  <c:v>44199</c:v>
                </c:pt>
                <c:pt idx="14">
                  <c:v>44200</c:v>
                </c:pt>
                <c:pt idx="15">
                  <c:v>44201</c:v>
                </c:pt>
                <c:pt idx="16">
                  <c:v>44202</c:v>
                </c:pt>
                <c:pt idx="17">
                  <c:v>44203</c:v>
                </c:pt>
                <c:pt idx="18">
                  <c:v>44204</c:v>
                </c:pt>
                <c:pt idx="19">
                  <c:v>44205</c:v>
                </c:pt>
                <c:pt idx="20">
                  <c:v>44206</c:v>
                </c:pt>
                <c:pt idx="21">
                  <c:v>44207</c:v>
                </c:pt>
                <c:pt idx="22">
                  <c:v>44208</c:v>
                </c:pt>
                <c:pt idx="23">
                  <c:v>44209</c:v>
                </c:pt>
                <c:pt idx="24">
                  <c:v>44210</c:v>
                </c:pt>
                <c:pt idx="25">
                  <c:v>44211</c:v>
                </c:pt>
                <c:pt idx="26">
                  <c:v>44212</c:v>
                </c:pt>
                <c:pt idx="27">
                  <c:v>44213</c:v>
                </c:pt>
                <c:pt idx="28">
                  <c:v>44214</c:v>
                </c:pt>
                <c:pt idx="29">
                  <c:v>44215</c:v>
                </c:pt>
                <c:pt idx="30">
                  <c:v>44216</c:v>
                </c:pt>
                <c:pt idx="31">
                  <c:v>44217</c:v>
                </c:pt>
                <c:pt idx="32">
                  <c:v>44218</c:v>
                </c:pt>
                <c:pt idx="33">
                  <c:v>44219</c:v>
                </c:pt>
                <c:pt idx="34">
                  <c:v>44220</c:v>
                </c:pt>
                <c:pt idx="35">
                  <c:v>44221</c:v>
                </c:pt>
                <c:pt idx="36">
                  <c:v>44222</c:v>
                </c:pt>
                <c:pt idx="37">
                  <c:v>44223</c:v>
                </c:pt>
                <c:pt idx="38">
                  <c:v>44224</c:v>
                </c:pt>
                <c:pt idx="39">
                  <c:v>44225</c:v>
                </c:pt>
                <c:pt idx="40">
                  <c:v>44226</c:v>
                </c:pt>
                <c:pt idx="41">
                  <c:v>44227</c:v>
                </c:pt>
                <c:pt idx="42">
                  <c:v>44228</c:v>
                </c:pt>
                <c:pt idx="43">
                  <c:v>44229</c:v>
                </c:pt>
                <c:pt idx="44">
                  <c:v>44230</c:v>
                </c:pt>
                <c:pt idx="45">
                  <c:v>44231</c:v>
                </c:pt>
                <c:pt idx="46">
                  <c:v>44232</c:v>
                </c:pt>
                <c:pt idx="47">
                  <c:v>44233</c:v>
                </c:pt>
                <c:pt idx="48">
                  <c:v>44234</c:v>
                </c:pt>
                <c:pt idx="49">
                  <c:v>44235</c:v>
                </c:pt>
                <c:pt idx="50">
                  <c:v>44236</c:v>
                </c:pt>
                <c:pt idx="51">
                  <c:v>44237</c:v>
                </c:pt>
                <c:pt idx="52">
                  <c:v>44238</c:v>
                </c:pt>
                <c:pt idx="53">
                  <c:v>44239</c:v>
                </c:pt>
                <c:pt idx="54">
                  <c:v>44240</c:v>
                </c:pt>
                <c:pt idx="55">
                  <c:v>44241</c:v>
                </c:pt>
                <c:pt idx="56">
                  <c:v>44242</c:v>
                </c:pt>
                <c:pt idx="57">
                  <c:v>44243</c:v>
                </c:pt>
                <c:pt idx="58">
                  <c:v>44244</c:v>
                </c:pt>
                <c:pt idx="59">
                  <c:v>44245</c:v>
                </c:pt>
                <c:pt idx="60">
                  <c:v>44246</c:v>
                </c:pt>
                <c:pt idx="61">
                  <c:v>44247</c:v>
                </c:pt>
                <c:pt idx="62">
                  <c:v>44248</c:v>
                </c:pt>
                <c:pt idx="63">
                  <c:v>44249</c:v>
                </c:pt>
                <c:pt idx="64">
                  <c:v>44250</c:v>
                </c:pt>
                <c:pt idx="65">
                  <c:v>44251</c:v>
                </c:pt>
                <c:pt idx="66">
                  <c:v>44252</c:v>
                </c:pt>
                <c:pt idx="67">
                  <c:v>44253</c:v>
                </c:pt>
                <c:pt idx="68">
                  <c:v>44254</c:v>
                </c:pt>
                <c:pt idx="69">
                  <c:v>44255</c:v>
                </c:pt>
                <c:pt idx="70">
                  <c:v>44256</c:v>
                </c:pt>
                <c:pt idx="71">
                  <c:v>44257</c:v>
                </c:pt>
                <c:pt idx="72">
                  <c:v>44258</c:v>
                </c:pt>
                <c:pt idx="73">
                  <c:v>44259</c:v>
                </c:pt>
                <c:pt idx="74">
                  <c:v>44260</c:v>
                </c:pt>
                <c:pt idx="75">
                  <c:v>44261</c:v>
                </c:pt>
                <c:pt idx="76">
                  <c:v>44262</c:v>
                </c:pt>
                <c:pt idx="77">
                  <c:v>44263</c:v>
                </c:pt>
                <c:pt idx="78">
                  <c:v>44264</c:v>
                </c:pt>
                <c:pt idx="79">
                  <c:v>44265</c:v>
                </c:pt>
                <c:pt idx="80">
                  <c:v>44266</c:v>
                </c:pt>
                <c:pt idx="81">
                  <c:v>44267</c:v>
                </c:pt>
                <c:pt idx="82">
                  <c:v>44268</c:v>
                </c:pt>
                <c:pt idx="83">
                  <c:v>44269</c:v>
                </c:pt>
                <c:pt idx="84">
                  <c:v>44270</c:v>
                </c:pt>
                <c:pt idx="85">
                  <c:v>44271</c:v>
                </c:pt>
                <c:pt idx="86">
                  <c:v>44272</c:v>
                </c:pt>
                <c:pt idx="87">
                  <c:v>44273</c:v>
                </c:pt>
                <c:pt idx="88">
                  <c:v>44274</c:v>
                </c:pt>
                <c:pt idx="89">
                  <c:v>44275</c:v>
                </c:pt>
                <c:pt idx="90">
                  <c:v>44276</c:v>
                </c:pt>
                <c:pt idx="91">
                  <c:v>44277</c:v>
                </c:pt>
                <c:pt idx="92">
                  <c:v>44278</c:v>
                </c:pt>
                <c:pt idx="93">
                  <c:v>44279</c:v>
                </c:pt>
                <c:pt idx="94">
                  <c:v>44280</c:v>
                </c:pt>
                <c:pt idx="95">
                  <c:v>44281</c:v>
                </c:pt>
                <c:pt idx="96">
                  <c:v>44282</c:v>
                </c:pt>
                <c:pt idx="97">
                  <c:v>44283</c:v>
                </c:pt>
                <c:pt idx="98">
                  <c:v>44284</c:v>
                </c:pt>
                <c:pt idx="99">
                  <c:v>44285</c:v>
                </c:pt>
                <c:pt idx="100">
                  <c:v>44286</c:v>
                </c:pt>
                <c:pt idx="101">
                  <c:v>44287</c:v>
                </c:pt>
                <c:pt idx="102">
                  <c:v>44288</c:v>
                </c:pt>
                <c:pt idx="103">
                  <c:v>44289</c:v>
                </c:pt>
                <c:pt idx="104">
                  <c:v>44290</c:v>
                </c:pt>
                <c:pt idx="105">
                  <c:v>44291</c:v>
                </c:pt>
                <c:pt idx="106">
                  <c:v>44292</c:v>
                </c:pt>
                <c:pt idx="107">
                  <c:v>44293</c:v>
                </c:pt>
                <c:pt idx="108">
                  <c:v>44294</c:v>
                </c:pt>
                <c:pt idx="109">
                  <c:v>44295</c:v>
                </c:pt>
                <c:pt idx="110">
                  <c:v>44296</c:v>
                </c:pt>
                <c:pt idx="111">
                  <c:v>44297</c:v>
                </c:pt>
                <c:pt idx="112">
                  <c:v>44298</c:v>
                </c:pt>
                <c:pt idx="113">
                  <c:v>44299</c:v>
                </c:pt>
                <c:pt idx="114">
                  <c:v>44300</c:v>
                </c:pt>
                <c:pt idx="115">
                  <c:v>44301</c:v>
                </c:pt>
                <c:pt idx="116">
                  <c:v>44302</c:v>
                </c:pt>
                <c:pt idx="117">
                  <c:v>44303</c:v>
                </c:pt>
                <c:pt idx="118">
                  <c:v>44304</c:v>
                </c:pt>
                <c:pt idx="119">
                  <c:v>44305</c:v>
                </c:pt>
                <c:pt idx="120">
                  <c:v>44306</c:v>
                </c:pt>
                <c:pt idx="121">
                  <c:v>44307</c:v>
                </c:pt>
                <c:pt idx="122">
                  <c:v>44308</c:v>
                </c:pt>
                <c:pt idx="123">
                  <c:v>44309</c:v>
                </c:pt>
                <c:pt idx="124">
                  <c:v>44310</c:v>
                </c:pt>
                <c:pt idx="125">
                  <c:v>44311</c:v>
                </c:pt>
                <c:pt idx="126">
                  <c:v>44312</c:v>
                </c:pt>
                <c:pt idx="127">
                  <c:v>44313</c:v>
                </c:pt>
                <c:pt idx="128">
                  <c:v>44314</c:v>
                </c:pt>
                <c:pt idx="129">
                  <c:v>44315</c:v>
                </c:pt>
                <c:pt idx="130">
                  <c:v>44316</c:v>
                </c:pt>
                <c:pt idx="131">
                  <c:v>44317</c:v>
                </c:pt>
                <c:pt idx="132">
                  <c:v>44318</c:v>
                </c:pt>
                <c:pt idx="133">
                  <c:v>44319</c:v>
                </c:pt>
                <c:pt idx="134">
                  <c:v>44320</c:v>
                </c:pt>
                <c:pt idx="135">
                  <c:v>44321</c:v>
                </c:pt>
                <c:pt idx="136">
                  <c:v>44322</c:v>
                </c:pt>
                <c:pt idx="137">
                  <c:v>44323</c:v>
                </c:pt>
                <c:pt idx="138">
                  <c:v>44324</c:v>
                </c:pt>
                <c:pt idx="139">
                  <c:v>44325</c:v>
                </c:pt>
                <c:pt idx="140">
                  <c:v>44326</c:v>
                </c:pt>
                <c:pt idx="141">
                  <c:v>44327</c:v>
                </c:pt>
                <c:pt idx="142">
                  <c:v>44328</c:v>
                </c:pt>
                <c:pt idx="143">
                  <c:v>44329</c:v>
                </c:pt>
                <c:pt idx="144">
                  <c:v>44330</c:v>
                </c:pt>
                <c:pt idx="145">
                  <c:v>44331</c:v>
                </c:pt>
                <c:pt idx="146">
                  <c:v>44332</c:v>
                </c:pt>
                <c:pt idx="147">
                  <c:v>44333</c:v>
                </c:pt>
                <c:pt idx="148">
                  <c:v>44334</c:v>
                </c:pt>
                <c:pt idx="149">
                  <c:v>44335</c:v>
                </c:pt>
                <c:pt idx="150">
                  <c:v>44336</c:v>
                </c:pt>
                <c:pt idx="151">
                  <c:v>44337</c:v>
                </c:pt>
                <c:pt idx="152">
                  <c:v>44338</c:v>
                </c:pt>
                <c:pt idx="153">
                  <c:v>44339</c:v>
                </c:pt>
                <c:pt idx="154">
                  <c:v>44340</c:v>
                </c:pt>
                <c:pt idx="155">
                  <c:v>44341</c:v>
                </c:pt>
                <c:pt idx="156">
                  <c:v>44342</c:v>
                </c:pt>
                <c:pt idx="157">
                  <c:v>44343</c:v>
                </c:pt>
                <c:pt idx="158">
                  <c:v>44344</c:v>
                </c:pt>
                <c:pt idx="159">
                  <c:v>44345</c:v>
                </c:pt>
                <c:pt idx="160">
                  <c:v>44346</c:v>
                </c:pt>
                <c:pt idx="161">
                  <c:v>44347</c:v>
                </c:pt>
                <c:pt idx="162">
                  <c:v>44348</c:v>
                </c:pt>
                <c:pt idx="163">
                  <c:v>44349</c:v>
                </c:pt>
                <c:pt idx="164">
                  <c:v>44350</c:v>
                </c:pt>
                <c:pt idx="165">
                  <c:v>44351</c:v>
                </c:pt>
                <c:pt idx="166">
                  <c:v>44352</c:v>
                </c:pt>
                <c:pt idx="167">
                  <c:v>44353</c:v>
                </c:pt>
                <c:pt idx="168">
                  <c:v>44354</c:v>
                </c:pt>
                <c:pt idx="169">
                  <c:v>44355</c:v>
                </c:pt>
                <c:pt idx="170">
                  <c:v>44356</c:v>
                </c:pt>
                <c:pt idx="171">
                  <c:v>44357</c:v>
                </c:pt>
                <c:pt idx="172">
                  <c:v>44358</c:v>
                </c:pt>
                <c:pt idx="173">
                  <c:v>44359</c:v>
                </c:pt>
                <c:pt idx="174">
                  <c:v>44360</c:v>
                </c:pt>
                <c:pt idx="175">
                  <c:v>44361</c:v>
                </c:pt>
                <c:pt idx="176">
                  <c:v>44362</c:v>
                </c:pt>
                <c:pt idx="177">
                  <c:v>44363</c:v>
                </c:pt>
                <c:pt idx="178">
                  <c:v>44364</c:v>
                </c:pt>
                <c:pt idx="179">
                  <c:v>44365</c:v>
                </c:pt>
                <c:pt idx="180">
                  <c:v>44366</c:v>
                </c:pt>
                <c:pt idx="181">
                  <c:v>44367</c:v>
                </c:pt>
                <c:pt idx="182">
                  <c:v>44368</c:v>
                </c:pt>
                <c:pt idx="183">
                  <c:v>44369</c:v>
                </c:pt>
                <c:pt idx="184">
                  <c:v>44370</c:v>
                </c:pt>
                <c:pt idx="185">
                  <c:v>44371</c:v>
                </c:pt>
                <c:pt idx="186">
                  <c:v>44372</c:v>
                </c:pt>
                <c:pt idx="187">
                  <c:v>44373</c:v>
                </c:pt>
                <c:pt idx="188">
                  <c:v>44374</c:v>
                </c:pt>
                <c:pt idx="189">
                  <c:v>44375</c:v>
                </c:pt>
                <c:pt idx="190">
                  <c:v>44376</c:v>
                </c:pt>
                <c:pt idx="191">
                  <c:v>44377</c:v>
                </c:pt>
                <c:pt idx="192">
                  <c:v>44378</c:v>
                </c:pt>
                <c:pt idx="193">
                  <c:v>44379</c:v>
                </c:pt>
                <c:pt idx="194">
                  <c:v>44380</c:v>
                </c:pt>
                <c:pt idx="195">
                  <c:v>44381</c:v>
                </c:pt>
                <c:pt idx="196">
                  <c:v>44382</c:v>
                </c:pt>
                <c:pt idx="197">
                  <c:v>44383</c:v>
                </c:pt>
                <c:pt idx="198">
                  <c:v>44384</c:v>
                </c:pt>
                <c:pt idx="199">
                  <c:v>44385</c:v>
                </c:pt>
                <c:pt idx="200">
                  <c:v>44386</c:v>
                </c:pt>
                <c:pt idx="201">
                  <c:v>44387</c:v>
                </c:pt>
                <c:pt idx="202">
                  <c:v>44388</c:v>
                </c:pt>
                <c:pt idx="203">
                  <c:v>44389</c:v>
                </c:pt>
                <c:pt idx="204">
                  <c:v>44390</c:v>
                </c:pt>
                <c:pt idx="205">
                  <c:v>44391</c:v>
                </c:pt>
                <c:pt idx="206">
                  <c:v>44392</c:v>
                </c:pt>
                <c:pt idx="207">
                  <c:v>44393</c:v>
                </c:pt>
                <c:pt idx="208">
                  <c:v>44394</c:v>
                </c:pt>
                <c:pt idx="209">
                  <c:v>44395</c:v>
                </c:pt>
                <c:pt idx="210">
                  <c:v>44396</c:v>
                </c:pt>
                <c:pt idx="211">
                  <c:v>44397</c:v>
                </c:pt>
                <c:pt idx="212">
                  <c:v>44398</c:v>
                </c:pt>
                <c:pt idx="213">
                  <c:v>44399</c:v>
                </c:pt>
                <c:pt idx="214">
                  <c:v>44400</c:v>
                </c:pt>
                <c:pt idx="215">
                  <c:v>44401</c:v>
                </c:pt>
                <c:pt idx="216">
                  <c:v>44402</c:v>
                </c:pt>
                <c:pt idx="217">
                  <c:v>44403</c:v>
                </c:pt>
                <c:pt idx="218">
                  <c:v>44404</c:v>
                </c:pt>
                <c:pt idx="219">
                  <c:v>44405</c:v>
                </c:pt>
                <c:pt idx="220">
                  <c:v>44406</c:v>
                </c:pt>
                <c:pt idx="221">
                  <c:v>44407</c:v>
                </c:pt>
                <c:pt idx="222">
                  <c:v>44408</c:v>
                </c:pt>
                <c:pt idx="223">
                  <c:v>44409</c:v>
                </c:pt>
                <c:pt idx="224">
                  <c:v>44410</c:v>
                </c:pt>
                <c:pt idx="225">
                  <c:v>44411</c:v>
                </c:pt>
                <c:pt idx="226">
                  <c:v>44412</c:v>
                </c:pt>
                <c:pt idx="227">
                  <c:v>44413</c:v>
                </c:pt>
                <c:pt idx="228">
                  <c:v>44414</c:v>
                </c:pt>
                <c:pt idx="229">
                  <c:v>44415</c:v>
                </c:pt>
                <c:pt idx="230">
                  <c:v>44416</c:v>
                </c:pt>
                <c:pt idx="231">
                  <c:v>44417</c:v>
                </c:pt>
                <c:pt idx="232">
                  <c:v>44418</c:v>
                </c:pt>
                <c:pt idx="233">
                  <c:v>44419</c:v>
                </c:pt>
                <c:pt idx="234">
                  <c:v>44420</c:v>
                </c:pt>
                <c:pt idx="235">
                  <c:v>44421</c:v>
                </c:pt>
                <c:pt idx="236">
                  <c:v>44422</c:v>
                </c:pt>
                <c:pt idx="237">
                  <c:v>44423</c:v>
                </c:pt>
                <c:pt idx="238">
                  <c:v>44424</c:v>
                </c:pt>
                <c:pt idx="239">
                  <c:v>44425</c:v>
                </c:pt>
                <c:pt idx="240">
                  <c:v>44426</c:v>
                </c:pt>
                <c:pt idx="241">
                  <c:v>44427</c:v>
                </c:pt>
                <c:pt idx="242">
                  <c:v>44428</c:v>
                </c:pt>
                <c:pt idx="243">
                  <c:v>44429</c:v>
                </c:pt>
                <c:pt idx="244">
                  <c:v>44430</c:v>
                </c:pt>
                <c:pt idx="245">
                  <c:v>44431</c:v>
                </c:pt>
                <c:pt idx="246">
                  <c:v>44432</c:v>
                </c:pt>
                <c:pt idx="247">
                  <c:v>44433</c:v>
                </c:pt>
                <c:pt idx="248">
                  <c:v>44434</c:v>
                </c:pt>
                <c:pt idx="249">
                  <c:v>44435</c:v>
                </c:pt>
                <c:pt idx="250">
                  <c:v>44436</c:v>
                </c:pt>
                <c:pt idx="251">
                  <c:v>44437</c:v>
                </c:pt>
                <c:pt idx="252">
                  <c:v>44438</c:v>
                </c:pt>
                <c:pt idx="253">
                  <c:v>44439</c:v>
                </c:pt>
                <c:pt idx="254">
                  <c:v>44440</c:v>
                </c:pt>
                <c:pt idx="255">
                  <c:v>44441</c:v>
                </c:pt>
                <c:pt idx="256">
                  <c:v>44442</c:v>
                </c:pt>
                <c:pt idx="257">
                  <c:v>44443</c:v>
                </c:pt>
                <c:pt idx="258">
                  <c:v>44444</c:v>
                </c:pt>
                <c:pt idx="259">
                  <c:v>44445</c:v>
                </c:pt>
                <c:pt idx="260">
                  <c:v>44446</c:v>
                </c:pt>
                <c:pt idx="261">
                  <c:v>44447</c:v>
                </c:pt>
                <c:pt idx="262">
                  <c:v>44448</c:v>
                </c:pt>
                <c:pt idx="263">
                  <c:v>44449</c:v>
                </c:pt>
                <c:pt idx="264">
                  <c:v>44450</c:v>
                </c:pt>
                <c:pt idx="265">
                  <c:v>44451</c:v>
                </c:pt>
                <c:pt idx="266">
                  <c:v>44452</c:v>
                </c:pt>
                <c:pt idx="267">
                  <c:v>44453</c:v>
                </c:pt>
                <c:pt idx="268">
                  <c:v>44454</c:v>
                </c:pt>
                <c:pt idx="269">
                  <c:v>44455</c:v>
                </c:pt>
                <c:pt idx="270">
                  <c:v>44456</c:v>
                </c:pt>
                <c:pt idx="271">
                  <c:v>44457</c:v>
                </c:pt>
                <c:pt idx="272">
                  <c:v>44458</c:v>
                </c:pt>
                <c:pt idx="273">
                  <c:v>44459</c:v>
                </c:pt>
                <c:pt idx="274">
                  <c:v>44460</c:v>
                </c:pt>
                <c:pt idx="275">
                  <c:v>44461</c:v>
                </c:pt>
                <c:pt idx="276">
                  <c:v>44462</c:v>
                </c:pt>
                <c:pt idx="277">
                  <c:v>44463</c:v>
                </c:pt>
                <c:pt idx="278">
                  <c:v>44464</c:v>
                </c:pt>
                <c:pt idx="279">
                  <c:v>44465</c:v>
                </c:pt>
                <c:pt idx="280">
                  <c:v>44466</c:v>
                </c:pt>
                <c:pt idx="281">
                  <c:v>44467</c:v>
                </c:pt>
                <c:pt idx="282">
                  <c:v>44468</c:v>
                </c:pt>
                <c:pt idx="283">
                  <c:v>44469</c:v>
                </c:pt>
                <c:pt idx="284">
                  <c:v>44470</c:v>
                </c:pt>
                <c:pt idx="285">
                  <c:v>44471</c:v>
                </c:pt>
                <c:pt idx="286">
                  <c:v>44472</c:v>
                </c:pt>
                <c:pt idx="287">
                  <c:v>44473</c:v>
                </c:pt>
                <c:pt idx="288">
                  <c:v>44474</c:v>
                </c:pt>
                <c:pt idx="289">
                  <c:v>44475</c:v>
                </c:pt>
                <c:pt idx="290">
                  <c:v>44476</c:v>
                </c:pt>
                <c:pt idx="291">
                  <c:v>44477</c:v>
                </c:pt>
                <c:pt idx="292">
                  <c:v>44478</c:v>
                </c:pt>
                <c:pt idx="293">
                  <c:v>44479</c:v>
                </c:pt>
                <c:pt idx="294">
                  <c:v>44480</c:v>
                </c:pt>
                <c:pt idx="295">
                  <c:v>44481</c:v>
                </c:pt>
                <c:pt idx="296">
                  <c:v>44482</c:v>
                </c:pt>
                <c:pt idx="297">
                  <c:v>44483</c:v>
                </c:pt>
                <c:pt idx="298">
                  <c:v>44484</c:v>
                </c:pt>
                <c:pt idx="299">
                  <c:v>44485</c:v>
                </c:pt>
                <c:pt idx="300">
                  <c:v>44486</c:v>
                </c:pt>
                <c:pt idx="301">
                  <c:v>44487</c:v>
                </c:pt>
                <c:pt idx="302">
                  <c:v>44488</c:v>
                </c:pt>
                <c:pt idx="303">
                  <c:v>44489</c:v>
                </c:pt>
                <c:pt idx="304">
                  <c:v>44490</c:v>
                </c:pt>
                <c:pt idx="305">
                  <c:v>44491</c:v>
                </c:pt>
                <c:pt idx="306">
                  <c:v>44492</c:v>
                </c:pt>
                <c:pt idx="307">
                  <c:v>44493</c:v>
                </c:pt>
                <c:pt idx="308">
                  <c:v>44494</c:v>
                </c:pt>
                <c:pt idx="309">
                  <c:v>44495</c:v>
                </c:pt>
                <c:pt idx="310">
                  <c:v>44496</c:v>
                </c:pt>
                <c:pt idx="311">
                  <c:v>44497</c:v>
                </c:pt>
                <c:pt idx="312">
                  <c:v>44498</c:v>
                </c:pt>
                <c:pt idx="313">
                  <c:v>44499</c:v>
                </c:pt>
                <c:pt idx="314">
                  <c:v>44500</c:v>
                </c:pt>
                <c:pt idx="315">
                  <c:v>44501</c:v>
                </c:pt>
                <c:pt idx="316">
                  <c:v>44502</c:v>
                </c:pt>
                <c:pt idx="317">
                  <c:v>44503</c:v>
                </c:pt>
                <c:pt idx="318">
                  <c:v>44504</c:v>
                </c:pt>
                <c:pt idx="319">
                  <c:v>44505</c:v>
                </c:pt>
                <c:pt idx="320">
                  <c:v>44506</c:v>
                </c:pt>
                <c:pt idx="321">
                  <c:v>44507</c:v>
                </c:pt>
                <c:pt idx="322">
                  <c:v>44508</c:v>
                </c:pt>
                <c:pt idx="323">
                  <c:v>44509</c:v>
                </c:pt>
                <c:pt idx="324">
                  <c:v>44510</c:v>
                </c:pt>
                <c:pt idx="325">
                  <c:v>44511</c:v>
                </c:pt>
                <c:pt idx="326">
                  <c:v>44512</c:v>
                </c:pt>
                <c:pt idx="327">
                  <c:v>44513</c:v>
                </c:pt>
                <c:pt idx="328">
                  <c:v>44514</c:v>
                </c:pt>
                <c:pt idx="329">
                  <c:v>44515</c:v>
                </c:pt>
                <c:pt idx="330">
                  <c:v>44516</c:v>
                </c:pt>
                <c:pt idx="331">
                  <c:v>44517</c:v>
                </c:pt>
                <c:pt idx="332">
                  <c:v>44518</c:v>
                </c:pt>
                <c:pt idx="333">
                  <c:v>44519</c:v>
                </c:pt>
                <c:pt idx="334">
                  <c:v>44520</c:v>
                </c:pt>
                <c:pt idx="335">
                  <c:v>44521</c:v>
                </c:pt>
                <c:pt idx="336">
                  <c:v>44522</c:v>
                </c:pt>
                <c:pt idx="337">
                  <c:v>44523</c:v>
                </c:pt>
                <c:pt idx="338">
                  <c:v>44524</c:v>
                </c:pt>
                <c:pt idx="339">
                  <c:v>44525</c:v>
                </c:pt>
                <c:pt idx="340">
                  <c:v>44526</c:v>
                </c:pt>
                <c:pt idx="341">
                  <c:v>44527</c:v>
                </c:pt>
                <c:pt idx="342">
                  <c:v>44528</c:v>
                </c:pt>
                <c:pt idx="343">
                  <c:v>44529</c:v>
                </c:pt>
                <c:pt idx="344">
                  <c:v>44530</c:v>
                </c:pt>
                <c:pt idx="345">
                  <c:v>44531</c:v>
                </c:pt>
                <c:pt idx="346">
                  <c:v>44532</c:v>
                </c:pt>
                <c:pt idx="347">
                  <c:v>44533</c:v>
                </c:pt>
                <c:pt idx="348">
                  <c:v>44534</c:v>
                </c:pt>
                <c:pt idx="349">
                  <c:v>44535</c:v>
                </c:pt>
                <c:pt idx="350">
                  <c:v>44536</c:v>
                </c:pt>
                <c:pt idx="351">
                  <c:v>44537</c:v>
                </c:pt>
                <c:pt idx="352">
                  <c:v>44538</c:v>
                </c:pt>
                <c:pt idx="353">
                  <c:v>44539</c:v>
                </c:pt>
                <c:pt idx="354">
                  <c:v>44540</c:v>
                </c:pt>
                <c:pt idx="355">
                  <c:v>44541</c:v>
                </c:pt>
                <c:pt idx="356">
                  <c:v>44542</c:v>
                </c:pt>
                <c:pt idx="357">
                  <c:v>44543</c:v>
                </c:pt>
                <c:pt idx="358">
                  <c:v>44544</c:v>
                </c:pt>
                <c:pt idx="359">
                  <c:v>44545</c:v>
                </c:pt>
                <c:pt idx="360">
                  <c:v>44546</c:v>
                </c:pt>
                <c:pt idx="361">
                  <c:v>44547</c:v>
                </c:pt>
                <c:pt idx="362">
                  <c:v>44548</c:v>
                </c:pt>
                <c:pt idx="363">
                  <c:v>44549</c:v>
                </c:pt>
                <c:pt idx="364">
                  <c:v>44550</c:v>
                </c:pt>
                <c:pt idx="365">
                  <c:v>44551</c:v>
                </c:pt>
                <c:pt idx="366">
                  <c:v>44552</c:v>
                </c:pt>
                <c:pt idx="367">
                  <c:v>44553</c:v>
                </c:pt>
                <c:pt idx="368">
                  <c:v>44554</c:v>
                </c:pt>
                <c:pt idx="369">
                  <c:v>44555</c:v>
                </c:pt>
                <c:pt idx="370">
                  <c:v>44556</c:v>
                </c:pt>
                <c:pt idx="371">
                  <c:v>44557</c:v>
                </c:pt>
                <c:pt idx="372">
                  <c:v>44558</c:v>
                </c:pt>
                <c:pt idx="373">
                  <c:v>44559</c:v>
                </c:pt>
                <c:pt idx="374">
                  <c:v>44560</c:v>
                </c:pt>
                <c:pt idx="375">
                  <c:v>44561</c:v>
                </c:pt>
                <c:pt idx="376">
                  <c:v>44562</c:v>
                </c:pt>
                <c:pt idx="377">
                  <c:v>44563</c:v>
                </c:pt>
                <c:pt idx="378">
                  <c:v>44564</c:v>
                </c:pt>
                <c:pt idx="379">
                  <c:v>44565</c:v>
                </c:pt>
                <c:pt idx="380">
                  <c:v>44566</c:v>
                </c:pt>
                <c:pt idx="381">
                  <c:v>44567</c:v>
                </c:pt>
                <c:pt idx="382">
                  <c:v>44568</c:v>
                </c:pt>
                <c:pt idx="383">
                  <c:v>44569</c:v>
                </c:pt>
                <c:pt idx="384">
                  <c:v>44570</c:v>
                </c:pt>
                <c:pt idx="385">
                  <c:v>44571</c:v>
                </c:pt>
                <c:pt idx="386">
                  <c:v>44572</c:v>
                </c:pt>
                <c:pt idx="387">
                  <c:v>44573</c:v>
                </c:pt>
                <c:pt idx="388">
                  <c:v>44574</c:v>
                </c:pt>
                <c:pt idx="389">
                  <c:v>44575</c:v>
                </c:pt>
                <c:pt idx="390">
                  <c:v>44576</c:v>
                </c:pt>
                <c:pt idx="391">
                  <c:v>44577</c:v>
                </c:pt>
                <c:pt idx="392">
                  <c:v>44578</c:v>
                </c:pt>
                <c:pt idx="393">
                  <c:v>44579</c:v>
                </c:pt>
              </c:numCache>
            </c:numRef>
          </c:cat>
          <c:val>
            <c:numRef>
              <c:f>Sheet1!$B$82:$B$475</c:f>
              <c:numCache>
                <c:formatCode>General</c:formatCode>
                <c:ptCount val="394"/>
                <c:pt idx="0">
                  <c:v>0.27335314153099999</c:v>
                </c:pt>
                <c:pt idx="1">
                  <c:v>0.324695036258</c:v>
                </c:pt>
                <c:pt idx="2">
                  <c:v>0.38331488376700001</c:v>
                </c:pt>
                <c:pt idx="3">
                  <c:v>0.41448164582399999</c:v>
                </c:pt>
                <c:pt idx="4">
                  <c:v>0.35084572014299997</c:v>
                </c:pt>
                <c:pt idx="5">
                  <c:v>0.35377358490499999</c:v>
                </c:pt>
                <c:pt idx="6">
                  <c:v>0.341141396933</c:v>
                </c:pt>
                <c:pt idx="7">
                  <c:v>0.393985075751</c:v>
                </c:pt>
                <c:pt idx="8">
                  <c:v>0.497859565241</c:v>
                </c:pt>
                <c:pt idx="9">
                  <c:v>0.48739270386200001</c:v>
                </c:pt>
                <c:pt idx="10">
                  <c:v>0.498337189126</c:v>
                </c:pt>
                <c:pt idx="11">
                  <c:v>0.47298818232899997</c:v>
                </c:pt>
                <c:pt idx="12">
                  <c:v>0.353525641025</c:v>
                </c:pt>
                <c:pt idx="13">
                  <c:v>0.40378197997699999</c:v>
                </c:pt>
                <c:pt idx="14">
                  <c:v>0.34766218421200001</c:v>
                </c:pt>
                <c:pt idx="15">
                  <c:v>0.40693849966200002</c:v>
                </c:pt>
                <c:pt idx="16">
                  <c:v>0.47189434984500001</c:v>
                </c:pt>
                <c:pt idx="17">
                  <c:v>0.39875896444699999</c:v>
                </c:pt>
                <c:pt idx="18">
                  <c:v>0.353837384049</c:v>
                </c:pt>
                <c:pt idx="19">
                  <c:v>0.43818889128999999</c:v>
                </c:pt>
                <c:pt idx="20">
                  <c:v>0.34677917266899999</c:v>
                </c:pt>
                <c:pt idx="21">
                  <c:v>0.27020202020200002</c:v>
                </c:pt>
                <c:pt idx="22">
                  <c:v>0.30090282727399997</c:v>
                </c:pt>
                <c:pt idx="23">
                  <c:v>0.33756264670399999</c:v>
                </c:pt>
                <c:pt idx="24">
                  <c:v>0.27320261437900001</c:v>
                </c:pt>
                <c:pt idx="25">
                  <c:v>0.30477321965100002</c:v>
                </c:pt>
                <c:pt idx="26">
                  <c:v>0.30839761315600001</c:v>
                </c:pt>
                <c:pt idx="27">
                  <c:v>0.298145933014</c:v>
                </c:pt>
                <c:pt idx="28">
                  <c:v>0.261312127236</c:v>
                </c:pt>
                <c:pt idx="29">
                  <c:v>0.32796664989500002</c:v>
                </c:pt>
                <c:pt idx="30">
                  <c:v>0.30398403316099998</c:v>
                </c:pt>
                <c:pt idx="31">
                  <c:v>0.319499105545</c:v>
                </c:pt>
                <c:pt idx="32">
                  <c:v>0.28084889148100001</c:v>
                </c:pt>
                <c:pt idx="33">
                  <c:v>0.29659421530000002</c:v>
                </c:pt>
                <c:pt idx="34">
                  <c:v>0.266318537859</c:v>
                </c:pt>
                <c:pt idx="35">
                  <c:v>0.23260239966900001</c:v>
                </c:pt>
                <c:pt idx="36">
                  <c:v>0.30691251009999998</c:v>
                </c:pt>
                <c:pt idx="37">
                  <c:v>0.29388142523299998</c:v>
                </c:pt>
                <c:pt idx="38">
                  <c:v>0.30367997371400002</c:v>
                </c:pt>
                <c:pt idx="39">
                  <c:v>0.26630795312099997</c:v>
                </c:pt>
                <c:pt idx="40">
                  <c:v>0.27876028716500001</c:v>
                </c:pt>
                <c:pt idx="41">
                  <c:v>0.29870584120299998</c:v>
                </c:pt>
                <c:pt idx="42">
                  <c:v>0.246640514147</c:v>
                </c:pt>
                <c:pt idx="43">
                  <c:v>0.29870692768899998</c:v>
                </c:pt>
                <c:pt idx="44">
                  <c:v>0.30926884618099998</c:v>
                </c:pt>
                <c:pt idx="45">
                  <c:v>0.28472542685699997</c:v>
                </c:pt>
                <c:pt idx="46">
                  <c:v>0.27865451581799999</c:v>
                </c:pt>
                <c:pt idx="47">
                  <c:v>0.30605648179599998</c:v>
                </c:pt>
                <c:pt idx="48">
                  <c:v>0.25913043478199999</c:v>
                </c:pt>
                <c:pt idx="49">
                  <c:v>0.26638555321200003</c:v>
                </c:pt>
                <c:pt idx="50">
                  <c:v>0.33181126331799998</c:v>
                </c:pt>
                <c:pt idx="51">
                  <c:v>0.32014097951300002</c:v>
                </c:pt>
                <c:pt idx="52">
                  <c:v>0.31013042159499998</c:v>
                </c:pt>
                <c:pt idx="53">
                  <c:v>0.28578654527000003</c:v>
                </c:pt>
                <c:pt idx="54">
                  <c:v>0.29239679239600003</c:v>
                </c:pt>
                <c:pt idx="55">
                  <c:v>0.27226376614499997</c:v>
                </c:pt>
                <c:pt idx="56">
                  <c:v>0.26766161083599999</c:v>
                </c:pt>
                <c:pt idx="57">
                  <c:v>0.36120486531200002</c:v>
                </c:pt>
                <c:pt idx="58">
                  <c:v>0.33114005639799998</c:v>
                </c:pt>
                <c:pt idx="59">
                  <c:v>0.33362871067700001</c:v>
                </c:pt>
                <c:pt idx="60">
                  <c:v>0.29995886949799999</c:v>
                </c:pt>
                <c:pt idx="61">
                  <c:v>0.34740882917400001</c:v>
                </c:pt>
                <c:pt idx="62">
                  <c:v>0.36897152818099999</c:v>
                </c:pt>
                <c:pt idx="63">
                  <c:v>0.29942212068200003</c:v>
                </c:pt>
                <c:pt idx="64">
                  <c:v>0.37788367811099999</c:v>
                </c:pt>
                <c:pt idx="65">
                  <c:v>0.35932420188600001</c:v>
                </c:pt>
                <c:pt idx="66">
                  <c:v>0.35711577008500001</c:v>
                </c:pt>
                <c:pt idx="67">
                  <c:v>0.33669861118200001</c:v>
                </c:pt>
                <c:pt idx="68">
                  <c:v>0.32794796474999999</c:v>
                </c:pt>
                <c:pt idx="69">
                  <c:v>0.32184700206700001</c:v>
                </c:pt>
                <c:pt idx="70">
                  <c:v>0.31161982753200002</c:v>
                </c:pt>
                <c:pt idx="71">
                  <c:v>0.36494392979000001</c:v>
                </c:pt>
                <c:pt idx="72">
                  <c:v>0.361538857702</c:v>
                </c:pt>
                <c:pt idx="73">
                  <c:v>0.36397000996099999</c:v>
                </c:pt>
                <c:pt idx="74">
                  <c:v>0.29751774835099998</c:v>
                </c:pt>
                <c:pt idx="75">
                  <c:v>0.412653014529</c:v>
                </c:pt>
                <c:pt idx="76">
                  <c:v>0.30831596015700002</c:v>
                </c:pt>
                <c:pt idx="77">
                  <c:v>0.29364068886900002</c:v>
                </c:pt>
                <c:pt idx="78">
                  <c:v>0.35768458621400001</c:v>
                </c:pt>
                <c:pt idx="79">
                  <c:v>0.350814439797</c:v>
                </c:pt>
                <c:pt idx="80">
                  <c:v>0.309787339883</c:v>
                </c:pt>
                <c:pt idx="81">
                  <c:v>0.37346093575099998</c:v>
                </c:pt>
                <c:pt idx="82">
                  <c:v>0.33272656351500002</c:v>
                </c:pt>
                <c:pt idx="83">
                  <c:v>0.29233082706699998</c:v>
                </c:pt>
                <c:pt idx="84">
                  <c:v>0.27345498948500002</c:v>
                </c:pt>
                <c:pt idx="85">
                  <c:v>0.35149863760200001</c:v>
                </c:pt>
                <c:pt idx="86">
                  <c:v>0.33851412356499999</c:v>
                </c:pt>
                <c:pt idx="87">
                  <c:v>0.32162026765899998</c:v>
                </c:pt>
                <c:pt idx="88">
                  <c:v>0.27760028398999997</c:v>
                </c:pt>
                <c:pt idx="89">
                  <c:v>0.27405287544200002</c:v>
                </c:pt>
                <c:pt idx="90">
                  <c:v>0.242877492877</c:v>
                </c:pt>
                <c:pt idx="91">
                  <c:v>0.22426354133599999</c:v>
                </c:pt>
                <c:pt idx="92">
                  <c:v>0.30192999672800003</c:v>
                </c:pt>
                <c:pt idx="93">
                  <c:v>0.29898170124700002</c:v>
                </c:pt>
                <c:pt idx="94">
                  <c:v>0.24409933112900001</c:v>
                </c:pt>
                <c:pt idx="95">
                  <c:v>0.25462962962899999</c:v>
                </c:pt>
                <c:pt idx="96">
                  <c:v>0.27206747744199999</c:v>
                </c:pt>
                <c:pt idx="97">
                  <c:v>0.118740320082</c:v>
                </c:pt>
                <c:pt idx="98">
                  <c:v>0.20359655981200001</c:v>
                </c:pt>
                <c:pt idx="99">
                  <c:v>0.25825299444900002</c:v>
                </c:pt>
                <c:pt idx="100">
                  <c:v>0.24680712600599999</c:v>
                </c:pt>
                <c:pt idx="101">
                  <c:v>0.233737797646</c:v>
                </c:pt>
                <c:pt idx="102">
                  <c:v>0.25234826589499998</c:v>
                </c:pt>
                <c:pt idx="103">
                  <c:v>0.22081139671700001</c:v>
                </c:pt>
                <c:pt idx="104">
                  <c:v>0.18499404525599999</c:v>
                </c:pt>
                <c:pt idx="105">
                  <c:v>9.4777070062999999E-2</c:v>
                </c:pt>
                <c:pt idx="106">
                  <c:v>0.17596932253899999</c:v>
                </c:pt>
                <c:pt idx="107">
                  <c:v>0.24806866952699999</c:v>
                </c:pt>
                <c:pt idx="108">
                  <c:v>0.235870533504</c:v>
                </c:pt>
                <c:pt idx="109">
                  <c:v>0.20078551585400001</c:v>
                </c:pt>
                <c:pt idx="110">
                  <c:v>0.172742336371</c:v>
                </c:pt>
                <c:pt idx="111">
                  <c:v>0.12727272727200001</c:v>
                </c:pt>
                <c:pt idx="112">
                  <c:v>0.11929645679299999</c:v>
                </c:pt>
                <c:pt idx="113">
                  <c:v>0.18337387074299999</c:v>
                </c:pt>
                <c:pt idx="114">
                  <c:v>0.14675437747799999</c:v>
                </c:pt>
                <c:pt idx="115">
                  <c:v>0.15927136851900001</c:v>
                </c:pt>
                <c:pt idx="116">
                  <c:v>0.14495244642999999</c:v>
                </c:pt>
                <c:pt idx="117">
                  <c:v>0.13131313131299999</c:v>
                </c:pt>
                <c:pt idx="118">
                  <c:v>0.10496453900699999</c:v>
                </c:pt>
                <c:pt idx="119">
                  <c:v>0.115475113122</c:v>
                </c:pt>
                <c:pt idx="120">
                  <c:v>0.15072824837099999</c:v>
                </c:pt>
                <c:pt idx="121">
                  <c:v>0.13381374722799999</c:v>
                </c:pt>
                <c:pt idx="122">
                  <c:v>0.134345208228</c:v>
                </c:pt>
                <c:pt idx="123">
                  <c:v>0.12168659844599999</c:v>
                </c:pt>
                <c:pt idx="124">
                  <c:v>0.114302635475</c:v>
                </c:pt>
                <c:pt idx="125">
                  <c:v>0.126802884615</c:v>
                </c:pt>
                <c:pt idx="126">
                  <c:v>9.5374344301000002E-2</c:v>
                </c:pt>
                <c:pt idx="127">
                  <c:v>0.143956889915</c:v>
                </c:pt>
                <c:pt idx="128">
                  <c:v>0.107662163555</c:v>
                </c:pt>
                <c:pt idx="129">
                  <c:v>0.107341894838</c:v>
                </c:pt>
                <c:pt idx="130">
                  <c:v>9.0464547677000004E-2</c:v>
                </c:pt>
                <c:pt idx="131">
                  <c:v>0.114881111407</c:v>
                </c:pt>
                <c:pt idx="132">
                  <c:v>8.1542699723999995E-2</c:v>
                </c:pt>
                <c:pt idx="133">
                  <c:v>6.9500611303999996E-2</c:v>
                </c:pt>
                <c:pt idx="134">
                  <c:v>0.10786690171799999</c:v>
                </c:pt>
                <c:pt idx="135">
                  <c:v>8.2831496419999998E-2</c:v>
                </c:pt>
                <c:pt idx="136">
                  <c:v>7.8923881166999998E-2</c:v>
                </c:pt>
                <c:pt idx="137">
                  <c:v>7.4804614812E-2</c:v>
                </c:pt>
                <c:pt idx="138">
                  <c:v>6.1904761904000002E-2</c:v>
                </c:pt>
                <c:pt idx="139">
                  <c:v>5.9542796384E-2</c:v>
                </c:pt>
                <c:pt idx="140">
                  <c:v>4.8201067308999999E-2</c:v>
                </c:pt>
                <c:pt idx="141">
                  <c:v>8.6421257922000005E-2</c:v>
                </c:pt>
                <c:pt idx="142">
                  <c:v>5.7240766594E-2</c:v>
                </c:pt>
                <c:pt idx="143">
                  <c:v>6.432332432E-2</c:v>
                </c:pt>
                <c:pt idx="144">
                  <c:v>5.2125506071999998E-2</c:v>
                </c:pt>
                <c:pt idx="145">
                  <c:v>4.9898462430999997E-2</c:v>
                </c:pt>
                <c:pt idx="146">
                  <c:v>3.2894736841999998E-2</c:v>
                </c:pt>
                <c:pt idx="147">
                  <c:v>2.7765599883000001E-2</c:v>
                </c:pt>
                <c:pt idx="148">
                  <c:v>4.8360987453999998E-2</c:v>
                </c:pt>
                <c:pt idx="149">
                  <c:v>2.9097963142E-2</c:v>
                </c:pt>
                <c:pt idx="150">
                  <c:v>3.6623748211E-2</c:v>
                </c:pt>
                <c:pt idx="151">
                  <c:v>2.4775736864E-2</c:v>
                </c:pt>
                <c:pt idx="152">
                  <c:v>2.7489309712000001E-2</c:v>
                </c:pt>
                <c:pt idx="153">
                  <c:v>2.9482551143E-2</c:v>
                </c:pt>
                <c:pt idx="154">
                  <c:v>1.7526172935000001E-2</c:v>
                </c:pt>
                <c:pt idx="155">
                  <c:v>2.0521257251E-2</c:v>
                </c:pt>
                <c:pt idx="156">
                  <c:v>2.743902439E-2</c:v>
                </c:pt>
                <c:pt idx="157">
                  <c:v>2.2098765432000001E-2</c:v>
                </c:pt>
                <c:pt idx="158">
                  <c:v>1.7897091721999998E-2</c:v>
                </c:pt>
                <c:pt idx="159">
                  <c:v>2.3263224983999999E-2</c:v>
                </c:pt>
                <c:pt idx="160">
                  <c:v>1.2917115177E-2</c:v>
                </c:pt>
                <c:pt idx="161">
                  <c:v>1.5284233106E-2</c:v>
                </c:pt>
                <c:pt idx="162">
                  <c:v>1.9261637238999998E-2</c:v>
                </c:pt>
                <c:pt idx="163">
                  <c:v>1.3384813384000001E-2</c:v>
                </c:pt>
                <c:pt idx="164">
                  <c:v>1.2745947283000001E-2</c:v>
                </c:pt>
                <c:pt idx="165">
                  <c:v>1.0179294389000001E-2</c:v>
                </c:pt>
                <c:pt idx="166">
                  <c:v>1.3656538067E-2</c:v>
                </c:pt>
                <c:pt idx="167">
                  <c:v>9.0634441079999999E-3</c:v>
                </c:pt>
                <c:pt idx="168">
                  <c:v>6.0781746769999999E-3</c:v>
                </c:pt>
                <c:pt idx="169">
                  <c:v>1.198388721E-2</c:v>
                </c:pt>
                <c:pt idx="170">
                  <c:v>8.812421317E-3</c:v>
                </c:pt>
                <c:pt idx="171">
                  <c:v>7.7840344480000004E-3</c:v>
                </c:pt>
                <c:pt idx="172">
                  <c:v>7.4317564669999997E-3</c:v>
                </c:pt>
                <c:pt idx="173">
                  <c:v>6.4912880080000004E-3</c:v>
                </c:pt>
                <c:pt idx="174">
                  <c:v>6.7985166870000004E-3</c:v>
                </c:pt>
                <c:pt idx="175">
                  <c:v>6.8296680780000002E-3</c:v>
                </c:pt>
                <c:pt idx="176">
                  <c:v>6.7133266669999999E-3</c:v>
                </c:pt>
                <c:pt idx="177">
                  <c:v>7.840644204E-3</c:v>
                </c:pt>
                <c:pt idx="178">
                  <c:v>4.6355498720000001E-3</c:v>
                </c:pt>
                <c:pt idx="179">
                  <c:v>6.5975494809999997E-3</c:v>
                </c:pt>
                <c:pt idx="180">
                  <c:v>6.4516129030000001E-3</c:v>
                </c:pt>
                <c:pt idx="181">
                  <c:v>7.067137809E-3</c:v>
                </c:pt>
                <c:pt idx="182">
                  <c:v>4.0934900299999999E-3</c:v>
                </c:pt>
                <c:pt idx="183">
                  <c:v>5.4330457010000003E-3</c:v>
                </c:pt>
                <c:pt idx="184">
                  <c:v>7.9928952040000008E-3</c:v>
                </c:pt>
                <c:pt idx="185">
                  <c:v>4.3349304119999999E-3</c:v>
                </c:pt>
                <c:pt idx="186">
                  <c:v>6.8700747619999999E-3</c:v>
                </c:pt>
                <c:pt idx="187">
                  <c:v>3.9257673090000002E-3</c:v>
                </c:pt>
                <c:pt idx="188">
                  <c:v>9.3896713609999995E-3</c:v>
                </c:pt>
                <c:pt idx="189">
                  <c:v>5.4237288129999998E-3</c:v>
                </c:pt>
                <c:pt idx="190">
                  <c:v>6.975662687E-3</c:v>
                </c:pt>
                <c:pt idx="191">
                  <c:v>4.9522461970000001E-3</c:v>
                </c:pt>
                <c:pt idx="192">
                  <c:v>7.5381503950000001E-3</c:v>
                </c:pt>
                <c:pt idx="193">
                  <c:v>6.1554695739999997E-3</c:v>
                </c:pt>
                <c:pt idx="194">
                  <c:v>8.4933530280000002E-3</c:v>
                </c:pt>
                <c:pt idx="195">
                  <c:v>7.2904009720000003E-3</c:v>
                </c:pt>
                <c:pt idx="196">
                  <c:v>2.3333333333E-2</c:v>
                </c:pt>
                <c:pt idx="197">
                  <c:v>1.8656716417000001E-2</c:v>
                </c:pt>
                <c:pt idx="198">
                  <c:v>1.51338766E-2</c:v>
                </c:pt>
                <c:pt idx="199">
                  <c:v>1.0458911418999999E-2</c:v>
                </c:pt>
                <c:pt idx="200">
                  <c:v>1.5920826161000001E-2</c:v>
                </c:pt>
                <c:pt idx="201">
                  <c:v>1.2724306688E-2</c:v>
                </c:pt>
                <c:pt idx="202">
                  <c:v>1.4350945857000001E-2</c:v>
                </c:pt>
                <c:pt idx="203">
                  <c:v>1.3327691982E-2</c:v>
                </c:pt>
                <c:pt idx="204">
                  <c:v>1.9167717527999999E-2</c:v>
                </c:pt>
                <c:pt idx="205">
                  <c:v>1.2590409857999999E-2</c:v>
                </c:pt>
                <c:pt idx="206">
                  <c:v>1.1801896733E-2</c:v>
                </c:pt>
                <c:pt idx="207">
                  <c:v>9.3426193299999995E-3</c:v>
                </c:pt>
                <c:pt idx="208">
                  <c:v>1.1502265596999999E-2</c:v>
                </c:pt>
                <c:pt idx="209">
                  <c:v>1.3430330161999999E-2</c:v>
                </c:pt>
                <c:pt idx="210">
                  <c:v>1.4684641308999999E-2</c:v>
                </c:pt>
                <c:pt idx="211">
                  <c:v>1.5287551565E-2</c:v>
                </c:pt>
                <c:pt idx="212">
                  <c:v>1.4366341713000001E-2</c:v>
                </c:pt>
                <c:pt idx="213">
                  <c:v>1.078008624E-2</c:v>
                </c:pt>
                <c:pt idx="214">
                  <c:v>9.7181729829999997E-3</c:v>
                </c:pt>
                <c:pt idx="215">
                  <c:v>9.8613251149999998E-3</c:v>
                </c:pt>
                <c:pt idx="216">
                  <c:v>8.4269662919999998E-3</c:v>
                </c:pt>
                <c:pt idx="217">
                  <c:v>1.3746563359E-2</c:v>
                </c:pt>
                <c:pt idx="218">
                  <c:v>1.5274698200999999E-2</c:v>
                </c:pt>
                <c:pt idx="219">
                  <c:v>9.7898070830000003E-3</c:v>
                </c:pt>
                <c:pt idx="220">
                  <c:v>1.3772749631E-2</c:v>
                </c:pt>
                <c:pt idx="221">
                  <c:v>7.6653526059999996E-3</c:v>
                </c:pt>
                <c:pt idx="222">
                  <c:v>7.121057985E-3</c:v>
                </c:pt>
                <c:pt idx="223">
                  <c:v>9.6774193540000008E-3</c:v>
                </c:pt>
                <c:pt idx="224">
                  <c:v>5.5555555550000002E-3</c:v>
                </c:pt>
                <c:pt idx="225">
                  <c:v>1.7153748411000001E-2</c:v>
                </c:pt>
                <c:pt idx="226">
                  <c:v>2.1589793914999999E-2</c:v>
                </c:pt>
                <c:pt idx="227">
                  <c:v>7.5362318839999999E-3</c:v>
                </c:pt>
                <c:pt idx="228">
                  <c:v>8.0160320640000008E-3</c:v>
                </c:pt>
                <c:pt idx="229">
                  <c:v>7.8883495139999999E-3</c:v>
                </c:pt>
                <c:pt idx="230">
                  <c:v>1.6467065868000001E-2</c:v>
                </c:pt>
                <c:pt idx="231">
                  <c:v>8.8709677409999996E-3</c:v>
                </c:pt>
                <c:pt idx="232">
                  <c:v>2.0202020202000001E-2</c:v>
                </c:pt>
                <c:pt idx="233">
                  <c:v>1.4276228419E-2</c:v>
                </c:pt>
                <c:pt idx="234">
                  <c:v>1.094470046E-2</c:v>
                </c:pt>
                <c:pt idx="235">
                  <c:v>8.7936865829999992E-3</c:v>
                </c:pt>
                <c:pt idx="236">
                  <c:v>1.5761821366E-2</c:v>
                </c:pt>
                <c:pt idx="237">
                  <c:v>8.0710250200000007E-3</c:v>
                </c:pt>
                <c:pt idx="238">
                  <c:v>1.3035921205E-2</c:v>
                </c:pt>
                <c:pt idx="239">
                  <c:v>1.8809849521E-2</c:v>
                </c:pt>
                <c:pt idx="240">
                  <c:v>1.8973214285000001E-2</c:v>
                </c:pt>
                <c:pt idx="241">
                  <c:v>1.0919337794000001E-2</c:v>
                </c:pt>
                <c:pt idx="242">
                  <c:v>7.8698845749999996E-3</c:v>
                </c:pt>
                <c:pt idx="243">
                  <c:v>1.6643550624000001E-2</c:v>
                </c:pt>
                <c:pt idx="244">
                  <c:v>1.1637572734E-2</c:v>
                </c:pt>
                <c:pt idx="245">
                  <c:v>1.5410958904E-2</c:v>
                </c:pt>
                <c:pt idx="246">
                  <c:v>2.4297646164999999E-2</c:v>
                </c:pt>
                <c:pt idx="247">
                  <c:v>2.1882598124000001E-2</c:v>
                </c:pt>
                <c:pt idx="248">
                  <c:v>1.5589353612E-2</c:v>
                </c:pt>
                <c:pt idx="249">
                  <c:v>1.1126095751000001E-2</c:v>
                </c:pt>
                <c:pt idx="250">
                  <c:v>2.3718439173000001E-2</c:v>
                </c:pt>
                <c:pt idx="251">
                  <c:v>9.0090090090000005E-3</c:v>
                </c:pt>
                <c:pt idx="252">
                  <c:v>1.2559808612E-2</c:v>
                </c:pt>
                <c:pt idx="253">
                  <c:v>1.7149283102999999E-2</c:v>
                </c:pt>
                <c:pt idx="254">
                  <c:v>1.8462316640999999E-2</c:v>
                </c:pt>
                <c:pt idx="255">
                  <c:v>3.4256055362999999E-2</c:v>
                </c:pt>
                <c:pt idx="256">
                  <c:v>2.3529411763999999E-2</c:v>
                </c:pt>
                <c:pt idx="257">
                  <c:v>2.5910931174E-2</c:v>
                </c:pt>
                <c:pt idx="258">
                  <c:v>3.0333670374000001E-2</c:v>
                </c:pt>
                <c:pt idx="259">
                  <c:v>2.4648698455999998E-2</c:v>
                </c:pt>
                <c:pt idx="260">
                  <c:v>3.5744441316999997E-2</c:v>
                </c:pt>
                <c:pt idx="261">
                  <c:v>2.5092081031E-2</c:v>
                </c:pt>
                <c:pt idx="262">
                  <c:v>3.1707966959000002E-2</c:v>
                </c:pt>
                <c:pt idx="263">
                  <c:v>2.9230769229999998E-2</c:v>
                </c:pt>
                <c:pt idx="264">
                  <c:v>3.1665611146E-2</c:v>
                </c:pt>
                <c:pt idx="265">
                  <c:v>2.2569444444000001E-2</c:v>
                </c:pt>
                <c:pt idx="266">
                  <c:v>2.7516778523E-2</c:v>
                </c:pt>
                <c:pt idx="267">
                  <c:v>3.7471783294999998E-2</c:v>
                </c:pt>
                <c:pt idx="268">
                  <c:v>2.55560814E-2</c:v>
                </c:pt>
                <c:pt idx="269">
                  <c:v>3.1757070004E-2</c:v>
                </c:pt>
                <c:pt idx="270">
                  <c:v>3.0026109660000001E-2</c:v>
                </c:pt>
                <c:pt idx="271">
                  <c:v>2.9835390946E-2</c:v>
                </c:pt>
                <c:pt idx="272">
                  <c:v>2.1612635078E-2</c:v>
                </c:pt>
                <c:pt idx="273">
                  <c:v>2.7095254123000002E-2</c:v>
                </c:pt>
                <c:pt idx="274">
                  <c:v>2.8429134674999999E-2</c:v>
                </c:pt>
                <c:pt idx="275">
                  <c:v>2.4422154381999999E-2</c:v>
                </c:pt>
                <c:pt idx="276">
                  <c:v>2.2968197879E-2</c:v>
                </c:pt>
                <c:pt idx="277">
                  <c:v>2.3709609735000001E-2</c:v>
                </c:pt>
                <c:pt idx="278">
                  <c:v>3.5951327433000002E-2</c:v>
                </c:pt>
                <c:pt idx="279">
                  <c:v>3.8619556285000002E-2</c:v>
                </c:pt>
                <c:pt idx="280">
                  <c:v>4.0479041915999998E-2</c:v>
                </c:pt>
                <c:pt idx="281">
                  <c:v>5.2115266707000001E-2</c:v>
                </c:pt>
                <c:pt idx="282">
                  <c:v>3.9744645799E-2</c:v>
                </c:pt>
                <c:pt idx="283">
                  <c:v>5.3193762015999999E-2</c:v>
                </c:pt>
                <c:pt idx="284">
                  <c:v>4.0391676866000002E-2</c:v>
                </c:pt>
                <c:pt idx="285">
                  <c:v>7.0036861505999998E-2</c:v>
                </c:pt>
                <c:pt idx="286">
                  <c:v>5.1342812006000001E-2</c:v>
                </c:pt>
                <c:pt idx="287">
                  <c:v>4.0286975716999997E-2</c:v>
                </c:pt>
                <c:pt idx="288">
                  <c:v>5.9535822400999999E-2</c:v>
                </c:pt>
                <c:pt idx="289">
                  <c:v>5.2302100161000002E-2</c:v>
                </c:pt>
                <c:pt idx="290">
                  <c:v>5.5408388519999997E-2</c:v>
                </c:pt>
                <c:pt idx="291">
                  <c:v>5.2380952379999998E-2</c:v>
                </c:pt>
                <c:pt idx="292">
                  <c:v>5.4241200230000002E-2</c:v>
                </c:pt>
                <c:pt idx="293">
                  <c:v>4.4787077825999999E-2</c:v>
                </c:pt>
                <c:pt idx="294">
                  <c:v>6.3023679417000003E-2</c:v>
                </c:pt>
                <c:pt idx="295">
                  <c:v>7.3803574859999999E-2</c:v>
                </c:pt>
                <c:pt idx="296">
                  <c:v>6.9589422407000001E-2</c:v>
                </c:pt>
                <c:pt idx="297">
                  <c:v>7.4556936239000005E-2</c:v>
                </c:pt>
                <c:pt idx="298">
                  <c:v>7.6504649938000005E-2</c:v>
                </c:pt>
                <c:pt idx="299">
                  <c:v>9.6079276174E-2</c:v>
                </c:pt>
                <c:pt idx="300">
                  <c:v>9.2727272727000001E-2</c:v>
                </c:pt>
                <c:pt idx="301">
                  <c:v>0.102792054452</c:v>
                </c:pt>
                <c:pt idx="302">
                  <c:v>0.122040339082</c:v>
                </c:pt>
                <c:pt idx="303">
                  <c:v>0.118821696643</c:v>
                </c:pt>
                <c:pt idx="304">
                  <c:v>0.12961223668300001</c:v>
                </c:pt>
                <c:pt idx="305">
                  <c:v>0.14437689969600001</c:v>
                </c:pt>
                <c:pt idx="306">
                  <c:v>0.15615240474700001</c:v>
                </c:pt>
                <c:pt idx="307">
                  <c:v>0.14271891630299999</c:v>
                </c:pt>
                <c:pt idx="308">
                  <c:v>0.13785072640500001</c:v>
                </c:pt>
                <c:pt idx="309">
                  <c:v>0.182339206113</c:v>
                </c:pt>
                <c:pt idx="310">
                  <c:v>0.18155328925200001</c:v>
                </c:pt>
                <c:pt idx="311">
                  <c:v>0.242456896551</c:v>
                </c:pt>
                <c:pt idx="312">
                  <c:v>0.204150989197</c:v>
                </c:pt>
                <c:pt idx="313">
                  <c:v>0.25055706858100002</c:v>
                </c:pt>
                <c:pt idx="314">
                  <c:v>0.15888169110100001</c:v>
                </c:pt>
                <c:pt idx="315">
                  <c:v>0.20678303475699999</c:v>
                </c:pt>
                <c:pt idx="316">
                  <c:v>0.26439161212700002</c:v>
                </c:pt>
                <c:pt idx="317">
                  <c:v>0.28056276464899998</c:v>
                </c:pt>
                <c:pt idx="318">
                  <c:v>0.27246236036900001</c:v>
                </c:pt>
                <c:pt idx="319">
                  <c:v>0.28011753183100002</c:v>
                </c:pt>
                <c:pt idx="320">
                  <c:v>0.27773861553599999</c:v>
                </c:pt>
                <c:pt idx="321">
                  <c:v>0.23839362005100001</c:v>
                </c:pt>
                <c:pt idx="322">
                  <c:v>0.24919349529199999</c:v>
                </c:pt>
                <c:pt idx="323">
                  <c:v>0.315255172413</c:v>
                </c:pt>
                <c:pt idx="324">
                  <c:v>0.30981768769099999</c:v>
                </c:pt>
                <c:pt idx="325">
                  <c:v>0.26545714967700001</c:v>
                </c:pt>
                <c:pt idx="326">
                  <c:v>0.289350941275</c:v>
                </c:pt>
                <c:pt idx="327">
                  <c:v>0.31213872832299999</c:v>
                </c:pt>
                <c:pt idx="328">
                  <c:v>0.26748729972599999</c:v>
                </c:pt>
                <c:pt idx="329">
                  <c:v>0.244874519037</c:v>
                </c:pt>
                <c:pt idx="330">
                  <c:v>0.34249911441699998</c:v>
                </c:pt>
                <c:pt idx="331">
                  <c:v>0.36809332387400001</c:v>
                </c:pt>
                <c:pt idx="332">
                  <c:v>0.28047626996000002</c:v>
                </c:pt>
                <c:pt idx="333">
                  <c:v>0.36769340673099998</c:v>
                </c:pt>
                <c:pt idx="334">
                  <c:v>0.390550152416</c:v>
                </c:pt>
                <c:pt idx="335">
                  <c:v>0.34314903846099998</c:v>
                </c:pt>
                <c:pt idx="336">
                  <c:v>0.279709846692</c:v>
                </c:pt>
                <c:pt idx="337">
                  <c:v>0.35032136105799999</c:v>
                </c:pt>
                <c:pt idx="338">
                  <c:v>0.241078537821</c:v>
                </c:pt>
                <c:pt idx="339">
                  <c:v>0.32698803799199999</c:v>
                </c:pt>
                <c:pt idx="340">
                  <c:v>0.34562542144300001</c:v>
                </c:pt>
                <c:pt idx="341">
                  <c:v>0.33939057292399999</c:v>
                </c:pt>
                <c:pt idx="342">
                  <c:v>0.31197695156999999</c:v>
                </c:pt>
                <c:pt idx="343">
                  <c:v>0.31197056972699999</c:v>
                </c:pt>
                <c:pt idx="344">
                  <c:v>0.339938249892</c:v>
                </c:pt>
                <c:pt idx="345">
                  <c:v>0.33823826656400002</c:v>
                </c:pt>
                <c:pt idx="346">
                  <c:v>0.33741094233000002</c:v>
                </c:pt>
                <c:pt idx="347">
                  <c:v>0.33186761229299999</c:v>
                </c:pt>
                <c:pt idx="348">
                  <c:v>0.32808906063100002</c:v>
                </c:pt>
                <c:pt idx="349">
                  <c:v>0.259690662593</c:v>
                </c:pt>
                <c:pt idx="350">
                  <c:v>0.28837425811700002</c:v>
                </c:pt>
                <c:pt idx="351">
                  <c:v>0.33186292719100002</c:v>
                </c:pt>
                <c:pt idx="352">
                  <c:v>0.316378218657</c:v>
                </c:pt>
                <c:pt idx="353">
                  <c:v>0.29977512541000001</c:v>
                </c:pt>
                <c:pt idx="354">
                  <c:v>0.29076795826099999</c:v>
                </c:pt>
                <c:pt idx="355">
                  <c:v>0.300687722873</c:v>
                </c:pt>
                <c:pt idx="356">
                  <c:v>0.22024121657000001</c:v>
                </c:pt>
                <c:pt idx="357">
                  <c:v>0.252146596858</c:v>
                </c:pt>
                <c:pt idx="358">
                  <c:v>0.31408711250600002</c:v>
                </c:pt>
                <c:pt idx="359">
                  <c:v>0.26838560446199999</c:v>
                </c:pt>
                <c:pt idx="360">
                  <c:v>0.24984857662000001</c:v>
                </c:pt>
                <c:pt idx="361">
                  <c:v>0.242711486378</c:v>
                </c:pt>
                <c:pt idx="362">
                  <c:v>0.25092641609299998</c:v>
                </c:pt>
                <c:pt idx="363">
                  <c:v>0.16160686905800001</c:v>
                </c:pt>
                <c:pt idx="364">
                  <c:v>0.20913884007</c:v>
                </c:pt>
                <c:pt idx="365">
                  <c:v>0.26327518635199998</c:v>
                </c:pt>
                <c:pt idx="366">
                  <c:v>0.21904593326800001</c:v>
                </c:pt>
                <c:pt idx="367">
                  <c:v>0.22684187850000001</c:v>
                </c:pt>
                <c:pt idx="368">
                  <c:v>0.19906023067</c:v>
                </c:pt>
                <c:pt idx="369">
                  <c:v>0.15470737913400001</c:v>
                </c:pt>
                <c:pt idx="370">
                  <c:v>0.14605580434000001</c:v>
                </c:pt>
                <c:pt idx="371">
                  <c:v>0.20764674205700001</c:v>
                </c:pt>
                <c:pt idx="372">
                  <c:v>0.26220204313200002</c:v>
                </c:pt>
                <c:pt idx="373">
                  <c:v>0.22635326025499999</c:v>
                </c:pt>
                <c:pt idx="374">
                  <c:v>0.24555205047299999</c:v>
                </c:pt>
                <c:pt idx="375">
                  <c:v>0.24279286785500001</c:v>
                </c:pt>
                <c:pt idx="376">
                  <c:v>0.200980392156</c:v>
                </c:pt>
                <c:pt idx="377">
                  <c:v>0.110397553516</c:v>
                </c:pt>
                <c:pt idx="378">
                  <c:v>0.185232098949</c:v>
                </c:pt>
                <c:pt idx="379">
                  <c:v>0.227319340944</c:v>
                </c:pt>
                <c:pt idx="380">
                  <c:v>0.205615868092</c:v>
                </c:pt>
                <c:pt idx="381">
                  <c:v>0.17620011035399999</c:v>
                </c:pt>
                <c:pt idx="382">
                  <c:v>0.17502374169000001</c:v>
                </c:pt>
                <c:pt idx="383">
                  <c:v>0.185273675065</c:v>
                </c:pt>
                <c:pt idx="384">
                  <c:v>0.123949579831</c:v>
                </c:pt>
                <c:pt idx="385">
                  <c:v>0.160033869602</c:v>
                </c:pt>
                <c:pt idx="386">
                  <c:v>0.22736825088900001</c:v>
                </c:pt>
                <c:pt idx="387">
                  <c:v>0.23707971450599999</c:v>
                </c:pt>
                <c:pt idx="388">
                  <c:v>0.245575823577</c:v>
                </c:pt>
                <c:pt idx="389">
                  <c:v>0.25575124294200002</c:v>
                </c:pt>
                <c:pt idx="390">
                  <c:v>0.27240339819100001</c:v>
                </c:pt>
                <c:pt idx="391">
                  <c:v>0.239322916666</c:v>
                </c:pt>
                <c:pt idx="392">
                  <c:v>0.27106796116499998</c:v>
                </c:pt>
                <c:pt idx="393">
                  <c:v>0.37617007774</c:v>
                </c:pt>
              </c:numCache>
            </c:numRef>
          </c:val>
          <c:smooth val="0"/>
          <c:extLst>
            <c:ext xmlns:c16="http://schemas.microsoft.com/office/drawing/2014/chart" uri="{C3380CC4-5D6E-409C-BE32-E72D297353CC}">
              <c16:uniqueId val="{00000001-B2C4-4F8B-BFF0-E6161AC7AB47}"/>
            </c:ext>
          </c:extLst>
        </c:ser>
        <c:dLbls>
          <c:showLegendKey val="0"/>
          <c:showVal val="0"/>
          <c:showCatName val="0"/>
          <c:showSerName val="0"/>
          <c:showPercent val="0"/>
          <c:showBubbleSize val="0"/>
        </c:dLbls>
        <c:marker val="1"/>
        <c:smooth val="0"/>
        <c:axId val="414862472"/>
        <c:axId val="414859336"/>
      </c:lineChart>
      <c:dateAx>
        <c:axId val="414862472"/>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414859336"/>
        <c:crosses val="autoZero"/>
        <c:auto val="1"/>
        <c:lblOffset val="100"/>
        <c:baseTimeUnit val="days"/>
        <c:majorUnit val="7"/>
        <c:majorTimeUnit val="days"/>
      </c:dateAx>
      <c:valAx>
        <c:axId val="414859336"/>
        <c:scaling>
          <c:orientation val="minMax"/>
          <c:max val="0.70000000000000007"/>
        </c:scaling>
        <c:delete val="0"/>
        <c:axPos val="l"/>
        <c:numFmt formatCode="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4862472"/>
        <c:crosses val="autoZero"/>
        <c:crossBetween val="between"/>
        <c:majorUnit val="0.1"/>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cs-CZ"/>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cs-CZ" sz="1800" b="1" i="0" baseline="0" dirty="0">
                <a:effectLst/>
              </a:rPr>
              <a:t>7denní počet případů</a:t>
            </a:r>
            <a:r>
              <a:rPr lang="en-US" sz="1800" b="1" i="0" baseline="0" dirty="0">
                <a:effectLst/>
              </a:rPr>
              <a:t> </a:t>
            </a:r>
            <a:r>
              <a:rPr lang="en-US" sz="1800" b="1" i="0" baseline="0" dirty="0" err="1">
                <a:effectLst/>
              </a:rPr>
              <a:t>na</a:t>
            </a:r>
            <a:r>
              <a:rPr lang="en-US" sz="1800" b="1" i="0" baseline="0" dirty="0">
                <a:effectLst/>
              </a:rPr>
              <a:t> 100 000 </a:t>
            </a:r>
            <a:r>
              <a:rPr lang="en-US" sz="1800" b="1" i="0" baseline="0" dirty="0" err="1">
                <a:effectLst/>
              </a:rPr>
              <a:t>obyv</a:t>
            </a:r>
            <a:r>
              <a:rPr lang="en-US" sz="1800" b="1" i="0" baseline="0" dirty="0">
                <a:effectLst/>
              </a:rPr>
              <a:t>.</a:t>
            </a:r>
            <a:r>
              <a:rPr lang="cs-CZ" sz="1800" b="1" i="0" baseline="0" dirty="0">
                <a:effectLst/>
              </a:rPr>
              <a:t> 65+</a:t>
            </a:r>
            <a:endParaRPr lang="cs-CZ"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cs-CZ"/>
        </a:p>
      </c:txPr>
    </c:title>
    <c:autoTitleDeleted val="0"/>
    <c:plotArea>
      <c:layout/>
      <c:barChart>
        <c:barDir val="col"/>
        <c:grouping val="clustered"/>
        <c:varyColors val="0"/>
        <c:ser>
          <c:idx val="3"/>
          <c:order val="0"/>
          <c:tx>
            <c:strRef>
              <c:f>'63'!$F$2</c:f>
              <c:strCache>
                <c:ptCount val="1"/>
                <c:pt idx="0">
                  <c:v>28.12.2021</c:v>
                </c:pt>
              </c:strCache>
            </c:strRef>
          </c:tx>
          <c:spPr>
            <a:solidFill>
              <a:schemeClr val="accent4"/>
            </a:solidFill>
            <a:ln>
              <a:noFill/>
            </a:ln>
            <a:effectLst/>
          </c:spPr>
          <c:invertIfNegative val="0"/>
          <c:cat>
            <c:multiLvlStrRef>
              <c:f>'63'!$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3'!$F$3:$F$16</c:f>
              <c:numCache>
                <c:formatCode>General</c:formatCode>
                <c:ptCount val="14"/>
                <c:pt idx="0">
                  <c:v>152.50226185349501</c:v>
                </c:pt>
                <c:pt idx="1">
                  <c:v>148.74432119548899</c:v>
                </c:pt>
                <c:pt idx="2">
                  <c:v>142.51710578350799</c:v>
                </c:pt>
                <c:pt idx="3">
                  <c:v>129.07469067291399</c:v>
                </c:pt>
                <c:pt idx="4">
                  <c:v>100.355356672808</c:v>
                </c:pt>
                <c:pt idx="5">
                  <c:v>181.03379502064999</c:v>
                </c:pt>
                <c:pt idx="6">
                  <c:v>164.06258602274801</c:v>
                </c:pt>
                <c:pt idx="7">
                  <c:v>149.37690847569499</c:v>
                </c:pt>
                <c:pt idx="8">
                  <c:v>151.443357397032</c:v>
                </c:pt>
                <c:pt idx="9">
                  <c:v>158.868252827476</c:v>
                </c:pt>
                <c:pt idx="10">
                  <c:v>144.27628288073001</c:v>
                </c:pt>
                <c:pt idx="11">
                  <c:v>165.76875259013599</c:v>
                </c:pt>
                <c:pt idx="12">
                  <c:v>168.93546175692799</c:v>
                </c:pt>
                <c:pt idx="13">
                  <c:v>204.41738987373</c:v>
                </c:pt>
              </c:numCache>
            </c:numRef>
          </c:val>
          <c:extLst>
            <c:ext xmlns:c16="http://schemas.microsoft.com/office/drawing/2014/chart" uri="{C3380CC4-5D6E-409C-BE32-E72D297353CC}">
              <c16:uniqueId val="{00000003-8D08-45EA-B18E-DEFD09F4D325}"/>
            </c:ext>
          </c:extLst>
        </c:ser>
        <c:ser>
          <c:idx val="2"/>
          <c:order val="1"/>
          <c:tx>
            <c:strRef>
              <c:f>'63'!$E$2</c:f>
              <c:strCache>
                <c:ptCount val="1"/>
                <c:pt idx="0">
                  <c:v>04.01.2022</c:v>
                </c:pt>
              </c:strCache>
            </c:strRef>
          </c:tx>
          <c:spPr>
            <a:solidFill>
              <a:schemeClr val="accent3"/>
            </a:solidFill>
            <a:ln>
              <a:noFill/>
            </a:ln>
            <a:effectLst/>
          </c:spPr>
          <c:invertIfNegative val="0"/>
          <c:cat>
            <c:multiLvlStrRef>
              <c:f>'63'!$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3'!$E$3:$E$16</c:f>
              <c:numCache>
                <c:formatCode>General</c:formatCode>
                <c:ptCount val="14"/>
                <c:pt idx="0">
                  <c:v>176.99744380923701</c:v>
                </c:pt>
                <c:pt idx="1">
                  <c:v>164.50276349268501</c:v>
                </c:pt>
                <c:pt idx="2">
                  <c:v>154.455711503592</c:v>
                </c:pt>
                <c:pt idx="3">
                  <c:v>152.09438072923001</c:v>
                </c:pt>
                <c:pt idx="4">
                  <c:v>115.161884706501</c:v>
                </c:pt>
                <c:pt idx="5">
                  <c:v>204.35340251483501</c:v>
                </c:pt>
                <c:pt idx="6">
                  <c:v>253.25097171296699</c:v>
                </c:pt>
                <c:pt idx="7">
                  <c:v>174.96079887760899</c:v>
                </c:pt>
                <c:pt idx="8">
                  <c:v>164.450762326838</c:v>
                </c:pt>
                <c:pt idx="9">
                  <c:v>166.433407724023</c:v>
                </c:pt>
                <c:pt idx="10">
                  <c:v>168.66682927030899</c:v>
                </c:pt>
                <c:pt idx="11">
                  <c:v>152.205854650943</c:v>
                </c:pt>
                <c:pt idx="12">
                  <c:v>176.280481833317</c:v>
                </c:pt>
                <c:pt idx="13">
                  <c:v>201.12696911117499</c:v>
                </c:pt>
              </c:numCache>
            </c:numRef>
          </c:val>
          <c:extLst>
            <c:ext xmlns:c16="http://schemas.microsoft.com/office/drawing/2014/chart" uri="{C3380CC4-5D6E-409C-BE32-E72D297353CC}">
              <c16:uniqueId val="{00000002-8D08-45EA-B18E-DEFD09F4D325}"/>
            </c:ext>
          </c:extLst>
        </c:ser>
        <c:ser>
          <c:idx val="1"/>
          <c:order val="2"/>
          <c:tx>
            <c:strRef>
              <c:f>'63'!$D$2</c:f>
              <c:strCache>
                <c:ptCount val="1"/>
                <c:pt idx="0">
                  <c:v>11.01.2022</c:v>
                </c:pt>
              </c:strCache>
            </c:strRef>
          </c:tx>
          <c:spPr>
            <a:solidFill>
              <a:schemeClr val="accent2"/>
            </a:solidFill>
            <a:ln>
              <a:noFill/>
            </a:ln>
            <a:effectLst/>
          </c:spPr>
          <c:invertIfNegative val="0"/>
          <c:cat>
            <c:multiLvlStrRef>
              <c:f>'63'!$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3'!$D$3:$D$16</c:f>
              <c:numCache>
                <c:formatCode>General</c:formatCode>
                <c:ptCount val="14"/>
                <c:pt idx="0">
                  <c:v>186.87453330752101</c:v>
                </c:pt>
                <c:pt idx="1">
                  <c:v>146.053855437431</c:v>
                </c:pt>
                <c:pt idx="2">
                  <c:v>105.208962908244</c:v>
                </c:pt>
                <c:pt idx="3">
                  <c:v>124.964031734287</c:v>
                </c:pt>
                <c:pt idx="4">
                  <c:v>110.226375361937</c:v>
                </c:pt>
                <c:pt idx="5">
                  <c:v>152.804796475057</c:v>
                </c:pt>
                <c:pt idx="6">
                  <c:v>193.792047919488</c:v>
                </c:pt>
                <c:pt idx="7">
                  <c:v>110.588429479244</c:v>
                </c:pt>
                <c:pt idx="8">
                  <c:v>133.79045070658</c:v>
                </c:pt>
                <c:pt idx="9">
                  <c:v>120.09683398267499</c:v>
                </c:pt>
                <c:pt idx="10">
                  <c:v>125.259924678685</c:v>
                </c:pt>
                <c:pt idx="11">
                  <c:v>140.149945371661</c:v>
                </c:pt>
                <c:pt idx="12">
                  <c:v>164.03878170600299</c:v>
                </c:pt>
                <c:pt idx="13">
                  <c:v>143.95590836178101</c:v>
                </c:pt>
              </c:numCache>
            </c:numRef>
          </c:val>
          <c:extLst>
            <c:ext xmlns:c16="http://schemas.microsoft.com/office/drawing/2014/chart" uri="{C3380CC4-5D6E-409C-BE32-E72D297353CC}">
              <c16:uniqueId val="{00000001-8D08-45EA-B18E-DEFD09F4D325}"/>
            </c:ext>
          </c:extLst>
        </c:ser>
        <c:ser>
          <c:idx val="0"/>
          <c:order val="3"/>
          <c:tx>
            <c:strRef>
              <c:f>'63'!$C$2</c:f>
              <c:strCache>
                <c:ptCount val="1"/>
                <c:pt idx="0">
                  <c:v>18.01.2022</c:v>
                </c:pt>
              </c:strCache>
            </c:strRef>
          </c:tx>
          <c:spPr>
            <a:solidFill>
              <a:schemeClr val="accent1"/>
            </a:solidFill>
            <a:ln>
              <a:noFill/>
            </a:ln>
            <a:effectLst/>
          </c:spPr>
          <c:invertIfNegative val="0"/>
          <c:cat>
            <c:multiLvlStrRef>
              <c:f>'63'!$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3'!$C$3:$C$16</c:f>
              <c:numCache>
                <c:formatCode>General</c:formatCode>
                <c:ptCount val="14"/>
                <c:pt idx="0">
                  <c:v>328.31445492293801</c:v>
                </c:pt>
                <c:pt idx="1">
                  <c:v>192.944830077869</c:v>
                </c:pt>
                <c:pt idx="2">
                  <c:v>121.62454577336</c:v>
                </c:pt>
                <c:pt idx="3">
                  <c:v>134.82961318699299</c:v>
                </c:pt>
                <c:pt idx="4">
                  <c:v>143.12977099236599</c:v>
                </c:pt>
                <c:pt idx="5">
                  <c:v>191.46625100489001</c:v>
                </c:pt>
                <c:pt idx="6">
                  <c:v>158.55713011594401</c:v>
                </c:pt>
                <c:pt idx="7">
                  <c:v>146.075761327061</c:v>
                </c:pt>
                <c:pt idx="8">
                  <c:v>169.096264087484</c:v>
                </c:pt>
                <c:pt idx="9">
                  <c:v>112.531679086129</c:v>
                </c:pt>
                <c:pt idx="10">
                  <c:v>126.91352104408</c:v>
                </c:pt>
                <c:pt idx="11">
                  <c:v>146.931394341257</c:v>
                </c:pt>
                <c:pt idx="12">
                  <c:v>190.154408644272</c:v>
                </c:pt>
                <c:pt idx="13">
                  <c:v>141.48809278986499</c:v>
                </c:pt>
              </c:numCache>
            </c:numRef>
          </c:val>
          <c:extLst>
            <c:ext xmlns:c16="http://schemas.microsoft.com/office/drawing/2014/chart" uri="{C3380CC4-5D6E-409C-BE32-E72D297353CC}">
              <c16:uniqueId val="{00000000-8D08-45EA-B18E-DEFD09F4D325}"/>
            </c:ext>
          </c:extLst>
        </c:ser>
        <c:dLbls>
          <c:showLegendKey val="0"/>
          <c:showVal val="0"/>
          <c:showCatName val="0"/>
          <c:showSerName val="0"/>
          <c:showPercent val="0"/>
          <c:showBubbleSize val="0"/>
        </c:dLbls>
        <c:gapWidth val="219"/>
        <c:overlap val="-27"/>
        <c:axId val="1663686816"/>
        <c:axId val="1642688000"/>
      </c:barChart>
      <c:catAx>
        <c:axId val="1663686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cs-CZ"/>
          </a:p>
        </c:txPr>
        <c:crossAx val="1642688000"/>
        <c:crosses val="autoZero"/>
        <c:auto val="1"/>
        <c:lblAlgn val="ctr"/>
        <c:lblOffset val="100"/>
        <c:noMultiLvlLbl val="0"/>
      </c:catAx>
      <c:valAx>
        <c:axId val="16426880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cs-CZ"/>
          </a:p>
        </c:txPr>
        <c:crossAx val="16636868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chart>
  <c:spPr>
    <a:noFill/>
    <a:ln>
      <a:noFill/>
    </a:ln>
    <a:effectLst/>
  </c:spPr>
  <c:txPr>
    <a:bodyPr/>
    <a:lstStyle/>
    <a:p>
      <a:pPr>
        <a:defRPr/>
      </a:pPr>
      <a:endParaRPr lang="cs-CZ"/>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5"/>
          <c:order val="4"/>
          <c:tx>
            <c:strRef>
              <c:f>Sheet1!$G$1</c:f>
              <c:strCache>
                <c:ptCount val="1"/>
                <c:pt idx="0">
                  <c:v>Reálná data</c:v>
                </c:pt>
              </c:strCache>
            </c:strRef>
          </c:tx>
          <c:spPr>
            <a:solidFill>
              <a:schemeClr val="bg1">
                <a:lumMod val="85000"/>
              </a:schemeClr>
            </a:solidFill>
            <a:ln>
              <a:noFill/>
            </a:ln>
            <a:effectLst/>
          </c:spPr>
          <c:invertIfNegative val="0"/>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G$2:$G$186</c:f>
              <c:numCache>
                <c:formatCode>[$-10409]#\ ##0;\(#\ ##0\)</c:formatCode>
                <c:ptCount val="185"/>
                <c:pt idx="0">
                  <c:v>15</c:v>
                </c:pt>
                <c:pt idx="1">
                  <c:v>10</c:v>
                </c:pt>
                <c:pt idx="2">
                  <c:v>14</c:v>
                </c:pt>
                <c:pt idx="3">
                  <c:v>7</c:v>
                </c:pt>
                <c:pt idx="4">
                  <c:v>10</c:v>
                </c:pt>
                <c:pt idx="5">
                  <c:v>17</c:v>
                </c:pt>
                <c:pt idx="6">
                  <c:v>13</c:v>
                </c:pt>
                <c:pt idx="7">
                  <c:v>15</c:v>
                </c:pt>
                <c:pt idx="8">
                  <c:v>16</c:v>
                </c:pt>
                <c:pt idx="9">
                  <c:v>13</c:v>
                </c:pt>
                <c:pt idx="10">
                  <c:v>12</c:v>
                </c:pt>
                <c:pt idx="11">
                  <c:v>17</c:v>
                </c:pt>
                <c:pt idx="12">
                  <c:v>29</c:v>
                </c:pt>
                <c:pt idx="13">
                  <c:v>25</c:v>
                </c:pt>
                <c:pt idx="14">
                  <c:v>17</c:v>
                </c:pt>
                <c:pt idx="15">
                  <c:v>19</c:v>
                </c:pt>
                <c:pt idx="16">
                  <c:v>31</c:v>
                </c:pt>
                <c:pt idx="17">
                  <c:v>9</c:v>
                </c:pt>
                <c:pt idx="18">
                  <c:v>14</c:v>
                </c:pt>
                <c:pt idx="19">
                  <c:v>23</c:v>
                </c:pt>
                <c:pt idx="20">
                  <c:v>19</c:v>
                </c:pt>
                <c:pt idx="21">
                  <c:v>17</c:v>
                </c:pt>
                <c:pt idx="22">
                  <c:v>21</c:v>
                </c:pt>
                <c:pt idx="23">
                  <c:v>27</c:v>
                </c:pt>
                <c:pt idx="24">
                  <c:v>20</c:v>
                </c:pt>
                <c:pt idx="25">
                  <c:v>16</c:v>
                </c:pt>
                <c:pt idx="26">
                  <c:v>34</c:v>
                </c:pt>
                <c:pt idx="27">
                  <c:v>16</c:v>
                </c:pt>
                <c:pt idx="28">
                  <c:v>36</c:v>
                </c:pt>
                <c:pt idx="29">
                  <c:v>32</c:v>
                </c:pt>
                <c:pt idx="30">
                  <c:v>31</c:v>
                </c:pt>
                <c:pt idx="31">
                  <c:v>27</c:v>
                </c:pt>
                <c:pt idx="32">
                  <c:v>25</c:v>
                </c:pt>
                <c:pt idx="33">
                  <c:v>53</c:v>
                </c:pt>
                <c:pt idx="34">
                  <c:v>40</c:v>
                </c:pt>
                <c:pt idx="35">
                  <c:v>54</c:v>
                </c:pt>
                <c:pt idx="36">
                  <c:v>39</c:v>
                </c:pt>
                <c:pt idx="37">
                  <c:v>51</c:v>
                </c:pt>
                <c:pt idx="38">
                  <c:v>30</c:v>
                </c:pt>
                <c:pt idx="39">
                  <c:v>34</c:v>
                </c:pt>
                <c:pt idx="40">
                  <c:v>80</c:v>
                </c:pt>
                <c:pt idx="41">
                  <c:v>62</c:v>
                </c:pt>
                <c:pt idx="42">
                  <c:v>63</c:v>
                </c:pt>
                <c:pt idx="43">
                  <c:v>57</c:v>
                </c:pt>
                <c:pt idx="44">
                  <c:v>82</c:v>
                </c:pt>
                <c:pt idx="45">
                  <c:v>70</c:v>
                </c:pt>
                <c:pt idx="46">
                  <c:v>52</c:v>
                </c:pt>
                <c:pt idx="47">
                  <c:v>135</c:v>
                </c:pt>
                <c:pt idx="48">
                  <c:v>150</c:v>
                </c:pt>
                <c:pt idx="49">
                  <c:v>117</c:v>
                </c:pt>
                <c:pt idx="50">
                  <c:v>134</c:v>
                </c:pt>
                <c:pt idx="51">
                  <c:v>160</c:v>
                </c:pt>
                <c:pt idx="52">
                  <c:v>112</c:v>
                </c:pt>
                <c:pt idx="53">
                  <c:v>110</c:v>
                </c:pt>
                <c:pt idx="54">
                  <c:v>218</c:v>
                </c:pt>
                <c:pt idx="55">
                  <c:v>261</c:v>
                </c:pt>
                <c:pt idx="56">
                  <c:v>239</c:v>
                </c:pt>
                <c:pt idx="57">
                  <c:v>170</c:v>
                </c:pt>
                <c:pt idx="58">
                  <c:v>270</c:v>
                </c:pt>
                <c:pt idx="59">
                  <c:v>189</c:v>
                </c:pt>
                <c:pt idx="60">
                  <c:v>203</c:v>
                </c:pt>
                <c:pt idx="61">
                  <c:v>413</c:v>
                </c:pt>
                <c:pt idx="62">
                  <c:v>394</c:v>
                </c:pt>
                <c:pt idx="63">
                  <c:v>383</c:v>
                </c:pt>
                <c:pt idx="64">
                  <c:v>385</c:v>
                </c:pt>
                <c:pt idx="65">
                  <c:v>360</c:v>
                </c:pt>
                <c:pt idx="66">
                  <c:v>280</c:v>
                </c:pt>
                <c:pt idx="67">
                  <c:v>278</c:v>
                </c:pt>
                <c:pt idx="68">
                  <c:v>535</c:v>
                </c:pt>
                <c:pt idx="69">
                  <c:v>547</c:v>
                </c:pt>
                <c:pt idx="70">
                  <c:v>468</c:v>
                </c:pt>
                <c:pt idx="71">
                  <c:v>493</c:v>
                </c:pt>
                <c:pt idx="72">
                  <c:v>531</c:v>
                </c:pt>
                <c:pt idx="73">
                  <c:v>376</c:v>
                </c:pt>
                <c:pt idx="74">
                  <c:v>342</c:v>
                </c:pt>
                <c:pt idx="75">
                  <c:v>738</c:v>
                </c:pt>
                <c:pt idx="76">
                  <c:v>652</c:v>
                </c:pt>
                <c:pt idx="77">
                  <c:v>474</c:v>
                </c:pt>
                <c:pt idx="78">
                  <c:v>638</c:v>
                </c:pt>
                <c:pt idx="79">
                  <c:v>695</c:v>
                </c:pt>
                <c:pt idx="80">
                  <c:v>492</c:v>
                </c:pt>
                <c:pt idx="81">
                  <c:v>496</c:v>
                </c:pt>
                <c:pt idx="82">
                  <c:v>857</c:v>
                </c:pt>
                <c:pt idx="83">
                  <c:v>752</c:v>
                </c:pt>
                <c:pt idx="84">
                  <c:v>719</c:v>
                </c:pt>
                <c:pt idx="85">
                  <c:v>715</c:v>
                </c:pt>
                <c:pt idx="86">
                  <c:v>765</c:v>
                </c:pt>
                <c:pt idx="87">
                  <c:v>529</c:v>
                </c:pt>
                <c:pt idx="88">
                  <c:v>492</c:v>
                </c:pt>
                <c:pt idx="89">
                  <c:v>822</c:v>
                </c:pt>
                <c:pt idx="90">
                  <c:v>739</c:v>
                </c:pt>
                <c:pt idx="91">
                  <c:v>702</c:v>
                </c:pt>
                <c:pt idx="92">
                  <c:v>730</c:v>
                </c:pt>
                <c:pt idx="93">
                  <c:v>653</c:v>
                </c:pt>
                <c:pt idx="94">
                  <c:v>440</c:v>
                </c:pt>
                <c:pt idx="95">
                  <c:v>462</c:v>
                </c:pt>
                <c:pt idx="96">
                  <c:v>743</c:v>
                </c:pt>
                <c:pt idx="97">
                  <c:v>644</c:v>
                </c:pt>
                <c:pt idx="98">
                  <c:v>626</c:v>
                </c:pt>
                <c:pt idx="99">
                  <c:v>565</c:v>
                </c:pt>
                <c:pt idx="100">
                  <c:v>644</c:v>
                </c:pt>
                <c:pt idx="101">
                  <c:v>380</c:v>
                </c:pt>
                <c:pt idx="102">
                  <c:v>339</c:v>
                </c:pt>
                <c:pt idx="103">
                  <c:v>644</c:v>
                </c:pt>
                <c:pt idx="104">
                  <c:v>520</c:v>
                </c:pt>
                <c:pt idx="105">
                  <c:v>482</c:v>
                </c:pt>
                <c:pt idx="106">
                  <c:v>473</c:v>
                </c:pt>
                <c:pt idx="107">
                  <c:v>471</c:v>
                </c:pt>
                <c:pt idx="108">
                  <c:v>240</c:v>
                </c:pt>
                <c:pt idx="109">
                  <c:v>270</c:v>
                </c:pt>
                <c:pt idx="110">
                  <c:v>437</c:v>
                </c:pt>
                <c:pt idx="111">
                  <c:v>411</c:v>
                </c:pt>
                <c:pt idx="112">
                  <c:v>348</c:v>
                </c:pt>
                <c:pt idx="113">
                  <c:v>292</c:v>
                </c:pt>
                <c:pt idx="114">
                  <c:v>182</c:v>
                </c:pt>
                <c:pt idx="115">
                  <c:v>190</c:v>
                </c:pt>
                <c:pt idx="116">
                  <c:v>226</c:v>
                </c:pt>
                <c:pt idx="117">
                  <c:v>381</c:v>
                </c:pt>
                <c:pt idx="118">
                  <c:v>326</c:v>
                </c:pt>
                <c:pt idx="119">
                  <c:v>323</c:v>
                </c:pt>
                <c:pt idx="120">
                  <c:v>257</c:v>
                </c:pt>
                <c:pt idx="121">
                  <c:v>233</c:v>
                </c:pt>
                <c:pt idx="122">
                  <c:v>168</c:v>
                </c:pt>
                <c:pt idx="123">
                  <c:v>166</c:v>
                </c:pt>
                <c:pt idx="124">
                  <c:v>277</c:v>
                </c:pt>
                <c:pt idx="125">
                  <c:v>272</c:v>
                </c:pt>
                <c:pt idx="126">
                  <c:v>245</c:v>
                </c:pt>
                <c:pt idx="127">
                  <c:v>204</c:v>
                </c:pt>
                <c:pt idx="128">
                  <c:v>188</c:v>
                </c:pt>
                <c:pt idx="129">
                  <c:v>154</c:v>
                </c:pt>
                <c:pt idx="130">
                  <c:v>113</c:v>
                </c:pt>
                <c:pt idx="131">
                  <c:v>176</c:v>
                </c:pt>
                <c:pt idx="132">
                  <c:v>176</c:v>
                </c:pt>
                <c:pt idx="133">
                  <c:v>136</c:v>
                </c:pt>
                <c:pt idx="134">
                  <c:v>140</c:v>
                </c:pt>
                <c:pt idx="135">
                  <c:v>107</c:v>
                </c:pt>
                <c:pt idx="136">
                  <c:v>46</c:v>
                </c:pt>
              </c:numCache>
            </c:numRef>
          </c:val>
          <c:extLst>
            <c:ext xmlns:c16="http://schemas.microsoft.com/office/drawing/2014/chart" uri="{C3380CC4-5D6E-409C-BE32-E72D297353CC}">
              <c16:uniqueId val="{00000000-DFA7-4D9A-8C9E-78CAA4FB84E8}"/>
            </c:ext>
          </c:extLst>
        </c:ser>
        <c:dLbls>
          <c:showLegendKey val="0"/>
          <c:showVal val="0"/>
          <c:showCatName val="0"/>
          <c:showSerName val="0"/>
          <c:showPercent val="0"/>
          <c:showBubbleSize val="0"/>
        </c:dLbls>
        <c:gapWidth val="50"/>
        <c:axId val="207093791"/>
        <c:axId val="209778303"/>
      </c:barChart>
      <c:lineChart>
        <c:grouping val="standard"/>
        <c:varyColors val="0"/>
        <c:ser>
          <c:idx val="0"/>
          <c:order val="0"/>
          <c:tx>
            <c:strRef>
              <c:f>Sheet1!$E$1</c:f>
              <c:strCache>
                <c:ptCount val="1"/>
                <c:pt idx="0">
                  <c:v>B</c:v>
                </c:pt>
              </c:strCache>
            </c:strRef>
          </c:tx>
          <c:spPr>
            <a:ln w="28575" cap="rnd">
              <a:solidFill>
                <a:srgbClr val="C00000"/>
              </a:solidFill>
              <a:prstDash val="sysDot"/>
              <a:round/>
            </a:ln>
            <a:effectLst/>
          </c:spPr>
          <c:marker>
            <c:symbol val="none"/>
          </c:marker>
          <c:val>
            <c:numRef>
              <c:f>Sheet1!$E$2:$E$186</c:f>
              <c:numCache>
                <c:formatCode>General</c:formatCode>
                <c:ptCount val="185"/>
                <c:pt idx="0">
                  <c:v>10.906399302941281</c:v>
                </c:pt>
                <c:pt idx="1">
                  <c:v>11.006864666764159</c:v>
                </c:pt>
                <c:pt idx="2">
                  <c:v>11.101992696116213</c:v>
                </c:pt>
                <c:pt idx="3">
                  <c:v>11.191995222849073</c:v>
                </c:pt>
                <c:pt idx="4">
                  <c:v>11.277564086019993</c:v>
                </c:pt>
                <c:pt idx="5">
                  <c:v>11.359158608422149</c:v>
                </c:pt>
                <c:pt idx="6">
                  <c:v>11.436617888015462</c:v>
                </c:pt>
                <c:pt idx="7">
                  <c:v>11.509818893886404</c:v>
                </c:pt>
                <c:pt idx="8">
                  <c:v>11.646570369688561</c:v>
                </c:pt>
                <c:pt idx="9">
                  <c:v>11.832105954177678</c:v>
                </c:pt>
                <c:pt idx="10">
                  <c:v>12.057429218664765</c:v>
                </c:pt>
                <c:pt idx="11">
                  <c:v>12.3249115733488</c:v>
                </c:pt>
                <c:pt idx="12">
                  <c:v>12.640283588989405</c:v>
                </c:pt>
                <c:pt idx="13">
                  <c:v>13.008551528386306</c:v>
                </c:pt>
                <c:pt idx="14">
                  <c:v>13.434204052668065</c:v>
                </c:pt>
                <c:pt idx="15">
                  <c:v>13.919853186409455</c:v>
                </c:pt>
                <c:pt idx="16">
                  <c:v>14.466614060424035</c:v>
                </c:pt>
                <c:pt idx="17">
                  <c:v>15.073507064807927</c:v>
                </c:pt>
                <c:pt idx="18">
                  <c:v>15.741137303353753</c:v>
                </c:pt>
                <c:pt idx="19">
                  <c:v>16.47023853691644</c:v>
                </c:pt>
                <c:pt idx="20">
                  <c:v>17.260895341489231</c:v>
                </c:pt>
                <c:pt idx="21">
                  <c:v>18.113667795987567</c:v>
                </c:pt>
                <c:pt idx="22">
                  <c:v>19.029301282163942</c:v>
                </c:pt>
                <c:pt idx="23">
                  <c:v>20.009040144679602</c:v>
                </c:pt>
                <c:pt idx="24">
                  <c:v>21.054436782869743</c:v>
                </c:pt>
                <c:pt idx="25">
                  <c:v>22.167656561388867</c:v>
                </c:pt>
                <c:pt idx="26">
                  <c:v>23.351387520233402</c:v>
                </c:pt>
                <c:pt idx="27">
                  <c:v>24.607597469672328</c:v>
                </c:pt>
                <c:pt idx="28">
                  <c:v>25.938641413755249</c:v>
                </c:pt>
                <c:pt idx="29">
                  <c:v>27.347340981272282</c:v>
                </c:pt>
                <c:pt idx="30">
                  <c:v>28.836649939097697</c:v>
                </c:pt>
                <c:pt idx="31">
                  <c:v>30.409671522618737</c:v>
                </c:pt>
                <c:pt idx="32">
                  <c:v>32.070625837717671</c:v>
                </c:pt>
                <c:pt idx="33">
                  <c:v>33.823973100341391</c:v>
                </c:pt>
                <c:pt idx="34">
                  <c:v>35.673436983255669</c:v>
                </c:pt>
                <c:pt idx="35">
                  <c:v>37.623917836172041</c:v>
                </c:pt>
                <c:pt idx="36">
                  <c:v>39.67912156067905</c:v>
                </c:pt>
                <c:pt idx="37">
                  <c:v>41.843055868899683</c:v>
                </c:pt>
                <c:pt idx="38">
                  <c:v>44.662183901557</c:v>
                </c:pt>
                <c:pt idx="39">
                  <c:v>48.043428828794276</c:v>
                </c:pt>
                <c:pt idx="40">
                  <c:v>51.889220082142856</c:v>
                </c:pt>
                <c:pt idx="41">
                  <c:v>56.170723689545412</c:v>
                </c:pt>
                <c:pt idx="42">
                  <c:v>60.895192656840663</c:v>
                </c:pt>
                <c:pt idx="43">
                  <c:v>66.088633775012568</c:v>
                </c:pt>
                <c:pt idx="44">
                  <c:v>71.785257000126876</c:v>
                </c:pt>
                <c:pt idx="45">
                  <c:v>78.021484841563506</c:v>
                </c:pt>
                <c:pt idx="46">
                  <c:v>84.837474832078442</c:v>
                </c:pt>
                <c:pt idx="47">
                  <c:v>92.269875027908711</c:v>
                </c:pt>
                <c:pt idx="48">
                  <c:v>100.36105130583746</c:v>
                </c:pt>
                <c:pt idx="49">
                  <c:v>109.15743905864656</c:v>
                </c:pt>
                <c:pt idx="50">
                  <c:v>118.70936771508423</c:v>
                </c:pt>
                <c:pt idx="51">
                  <c:v>129.07195449923165</c:v>
                </c:pt>
                <c:pt idx="52">
                  <c:v>140.30410133276018</c:v>
                </c:pt>
                <c:pt idx="53">
                  <c:v>152.4736741707311</c:v>
                </c:pt>
                <c:pt idx="54">
                  <c:v>165.65408140045474</c:v>
                </c:pt>
                <c:pt idx="55">
                  <c:v>179.91537679368048</c:v>
                </c:pt>
                <c:pt idx="56">
                  <c:v>195.33579728691257</c:v>
                </c:pt>
                <c:pt idx="57">
                  <c:v>211.99475844303379</c:v>
                </c:pt>
                <c:pt idx="58">
                  <c:v>229.97367658093572</c:v>
                </c:pt>
                <c:pt idx="59">
                  <c:v>249.35846012466936</c:v>
                </c:pt>
                <c:pt idx="60">
                  <c:v>270.24644880890264</c:v>
                </c:pt>
                <c:pt idx="61">
                  <c:v>292.73759710456943</c:v>
                </c:pt>
                <c:pt idx="62">
                  <c:v>312.81169720133767</c:v>
                </c:pt>
                <c:pt idx="63">
                  <c:v>331.22099641652312</c:v>
                </c:pt>
                <c:pt idx="64">
                  <c:v>348.86325346151716</c:v>
                </c:pt>
                <c:pt idx="65">
                  <c:v>366.16396207193611</c:v>
                </c:pt>
                <c:pt idx="66">
                  <c:v>383.2815743345127</c:v>
                </c:pt>
                <c:pt idx="67">
                  <c:v>400.25975664149155</c:v>
                </c:pt>
                <c:pt idx="68">
                  <c:v>417.09398453889298</c:v>
                </c:pt>
                <c:pt idx="69">
                  <c:v>435.60175496846205</c:v>
                </c:pt>
                <c:pt idx="70">
                  <c:v>455.4069447600923</c:v>
                </c:pt>
                <c:pt idx="71">
                  <c:v>476.18029801693046</c:v>
                </c:pt>
                <c:pt idx="72">
                  <c:v>497.79207631223835</c:v>
                </c:pt>
                <c:pt idx="73">
                  <c:v>520.21299846892362</c:v>
                </c:pt>
                <c:pt idx="74">
                  <c:v>543.47720912680961</c:v>
                </c:pt>
                <c:pt idx="75">
                  <c:v>567.61083150302875</c:v>
                </c:pt>
                <c:pt idx="76">
                  <c:v>592.59767621802166</c:v>
                </c:pt>
                <c:pt idx="77">
                  <c:v>618.39693472726503</c:v>
                </c:pt>
                <c:pt idx="78">
                  <c:v>644.27339545178359</c:v>
                </c:pt>
                <c:pt idx="79">
                  <c:v>670.75374246408694</c:v>
                </c:pt>
                <c:pt idx="80">
                  <c:v>697.75029217245628</c:v>
                </c:pt>
                <c:pt idx="81">
                  <c:v>725.20120391411047</c:v>
                </c:pt>
                <c:pt idx="82">
                  <c:v>753.0385986420938</c:v>
                </c:pt>
                <c:pt idx="83">
                  <c:v>769.76317511886043</c:v>
                </c:pt>
                <c:pt idx="84">
                  <c:v>777.72361957161854</c:v>
                </c:pt>
                <c:pt idx="85">
                  <c:v>779.31299612458429</c:v>
                </c:pt>
                <c:pt idx="86">
                  <c:v>777.15669841306806</c:v>
                </c:pt>
                <c:pt idx="87">
                  <c:v>772.27657519186141</c:v>
                </c:pt>
                <c:pt idx="88">
                  <c:v>765.22968320390578</c:v>
                </c:pt>
                <c:pt idx="89">
                  <c:v>756.35553075470648</c:v>
                </c:pt>
                <c:pt idx="90">
                  <c:v>745.88667250608319</c:v>
                </c:pt>
                <c:pt idx="91">
                  <c:v>734.04639796003698</c:v>
                </c:pt>
                <c:pt idx="92">
                  <c:v>720.41735473050403</c:v>
                </c:pt>
                <c:pt idx="93">
                  <c:v>705.96311999239856</c:v>
                </c:pt>
                <c:pt idx="94">
                  <c:v>690.85419683509645</c:v>
                </c:pt>
                <c:pt idx="95">
                  <c:v>675.2768790699979</c:v>
                </c:pt>
                <c:pt idx="96">
                  <c:v>659.35903287551525</c:v>
                </c:pt>
                <c:pt idx="97">
                  <c:v>643.18072441186155</c:v>
                </c:pt>
                <c:pt idx="98">
                  <c:v>626.81607575005785</c:v>
                </c:pt>
                <c:pt idx="99">
                  <c:v>609.6624166927005</c:v>
                </c:pt>
                <c:pt idx="100">
                  <c:v>592.46666518827112</c:v>
                </c:pt>
                <c:pt idx="101">
                  <c:v>575.27856047163459</c:v>
                </c:pt>
                <c:pt idx="102">
                  <c:v>558.16090042199539</c:v>
                </c:pt>
                <c:pt idx="103">
                  <c:v>541.16271199573737</c:v>
                </c:pt>
                <c:pt idx="104">
                  <c:v>524.30462232893922</c:v>
                </c:pt>
                <c:pt idx="105">
                  <c:v>507.60298853759474</c:v>
                </c:pt>
                <c:pt idx="106">
                  <c:v>491.60976461165421</c:v>
                </c:pt>
                <c:pt idx="107">
                  <c:v>475.7875894907674</c:v>
                </c:pt>
                <c:pt idx="108">
                  <c:v>460.15456429633662</c:v>
                </c:pt>
                <c:pt idx="109">
                  <c:v>444.72778068894752</c:v>
                </c:pt>
                <c:pt idx="110">
                  <c:v>429.53364858275842</c:v>
                </c:pt>
                <c:pt idx="111">
                  <c:v>414.59035014779073</c:v>
                </c:pt>
                <c:pt idx="112">
                  <c:v>399.89884220675287</c:v>
                </c:pt>
                <c:pt idx="113">
                  <c:v>385.89033863582245</c:v>
                </c:pt>
                <c:pt idx="114">
                  <c:v>372.12775254731235</c:v>
                </c:pt>
                <c:pt idx="115">
                  <c:v>358.62450327774576</c:v>
                </c:pt>
                <c:pt idx="116">
                  <c:v>345.40292186033008</c:v>
                </c:pt>
                <c:pt idx="117">
                  <c:v>332.48252798960448</c:v>
                </c:pt>
                <c:pt idx="118">
                  <c:v>319.86610639958536</c:v>
                </c:pt>
                <c:pt idx="119">
                  <c:v>307.55748617243688</c:v>
                </c:pt>
                <c:pt idx="120">
                  <c:v>295.89176107246726</c:v>
                </c:pt>
                <c:pt idx="121">
                  <c:v>284.25136502272278</c:v>
                </c:pt>
                <c:pt idx="122">
                  <c:v>278.55231350631232</c:v>
                </c:pt>
                <c:pt idx="123">
                  <c:v>273.00211728719842</c:v>
                </c:pt>
                <c:pt idx="124">
                  <c:v>267.60176136315363</c:v>
                </c:pt>
                <c:pt idx="125">
                  <c:v>269.07268186505513</c:v>
                </c:pt>
              </c:numCache>
            </c:numRef>
          </c:val>
          <c:smooth val="0"/>
          <c:extLst>
            <c:ext xmlns:c16="http://schemas.microsoft.com/office/drawing/2014/chart" uri="{C3380CC4-5D6E-409C-BE32-E72D297353CC}">
              <c16:uniqueId val="{00000001-DFA7-4D9A-8C9E-78CAA4FB84E8}"/>
            </c:ext>
          </c:extLst>
        </c:ser>
        <c:ser>
          <c:idx val="1"/>
          <c:order val="1"/>
          <c:tx>
            <c:strRef>
              <c:f>Sheet1!$C$1</c:f>
              <c:strCache>
                <c:ptCount val="1"/>
                <c:pt idx="0">
                  <c:v>V2</c:v>
                </c:pt>
              </c:strCache>
            </c:strRef>
          </c:tx>
          <c:spPr>
            <a:ln w="28575" cap="rnd">
              <a:solidFill>
                <a:srgbClr val="FF9900"/>
              </a:solidFill>
              <a:prstDash val="solid"/>
              <a:round/>
            </a:ln>
            <a:effectLst/>
          </c:spPr>
          <c:marker>
            <c:symbol val="none"/>
          </c:marker>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C$2:$C$186</c:f>
              <c:numCache>
                <c:formatCode>General</c:formatCode>
                <c:ptCount val="185"/>
                <c:pt idx="122">
                  <c:v>273.43680928680737</c:v>
                </c:pt>
                <c:pt idx="123">
                  <c:v>262.65443009717711</c:v>
                </c:pt>
                <c:pt idx="124">
                  <c:v>252.17173149760723</c:v>
                </c:pt>
                <c:pt idx="125">
                  <c:v>241.98970957560996</c:v>
                </c:pt>
                <c:pt idx="126">
                  <c:v>232.10835870298018</c:v>
                </c:pt>
                <c:pt idx="127">
                  <c:v>222.77776989901949</c:v>
                </c:pt>
                <c:pt idx="128">
                  <c:v>213.72522123010779</c:v>
                </c:pt>
                <c:pt idx="129">
                  <c:v>204.9495679356898</c:v>
                </c:pt>
                <c:pt idx="130">
                  <c:v>196.44901284760024</c:v>
                </c:pt>
                <c:pt idx="131">
                  <c:v>188.22117456546516</c:v>
                </c:pt>
                <c:pt idx="132">
                  <c:v>182.33295237098517</c:v>
                </c:pt>
                <c:pt idx="133">
                  <c:v>178.18839628655763</c:v>
                </c:pt>
                <c:pt idx="134">
                  <c:v>175.11119908144929</c:v>
                </c:pt>
                <c:pt idx="135">
                  <c:v>172.71852488903443</c:v>
                </c:pt>
                <c:pt idx="136">
                  <c:v>170.79988165213493</c:v>
                </c:pt>
                <c:pt idx="137">
                  <c:v>169.24240987895777</c:v>
                </c:pt>
                <c:pt idx="138">
                  <c:v>167.97554906192002</c:v>
                </c:pt>
                <c:pt idx="139">
                  <c:v>166.94361471045806</c:v>
                </c:pt>
                <c:pt idx="140">
                  <c:v>166.09342046824679</c:v>
                </c:pt>
                <c:pt idx="141">
                  <c:v>165.35601420317565</c:v>
                </c:pt>
                <c:pt idx="142">
                  <c:v>164.68952873677944</c:v>
                </c:pt>
                <c:pt idx="143">
                  <c:v>164.05947180504629</c:v>
                </c:pt>
                <c:pt idx="144">
                  <c:v>163.43585351122121</c:v>
                </c:pt>
                <c:pt idx="145">
                  <c:v>162.80007709685384</c:v>
                </c:pt>
                <c:pt idx="146">
                  <c:v>162.13737960521689</c:v>
                </c:pt>
                <c:pt idx="147">
                  <c:v>161.43622763622645</c:v>
                </c:pt>
                <c:pt idx="148">
                  <c:v>160.69350003025517</c:v>
                </c:pt>
                <c:pt idx="149">
                  <c:v>159.89841097075282</c:v>
                </c:pt>
                <c:pt idx="150">
                  <c:v>159.04639390824897</c:v>
                </c:pt>
                <c:pt idx="151">
                  <c:v>158.13450673479352</c:v>
                </c:pt>
                <c:pt idx="152">
                  <c:v>157.16212288452289</c:v>
                </c:pt>
                <c:pt idx="153">
                  <c:v>156.12991523468818</c:v>
                </c:pt>
                <c:pt idx="154">
                  <c:v>155.03916114636905</c:v>
                </c:pt>
                <c:pt idx="155">
                  <c:v>153.89234789494913</c:v>
                </c:pt>
                <c:pt idx="156">
                  <c:v>152.68935869960509</c:v>
                </c:pt>
                <c:pt idx="157">
                  <c:v>151.43108622523164</c:v>
                </c:pt>
                <c:pt idx="158">
                  <c:v>150.12186576286189</c:v>
                </c:pt>
                <c:pt idx="159">
                  <c:v>148.7634864102148</c:v>
                </c:pt>
                <c:pt idx="160">
                  <c:v>147.3560766295893</c:v>
                </c:pt>
                <c:pt idx="161">
                  <c:v>145.90892855738869</c:v>
                </c:pt>
                <c:pt idx="162">
                  <c:v>144.42892739939617</c:v>
                </c:pt>
                <c:pt idx="163">
                  <c:v>142.91888788483266</c:v>
                </c:pt>
                <c:pt idx="164">
                  <c:v>141.3816961697533</c:v>
                </c:pt>
                <c:pt idx="165">
                  <c:v>139.82025095307617</c:v>
                </c:pt>
                <c:pt idx="166">
                  <c:v>138.23743380157228</c:v>
                </c:pt>
                <c:pt idx="167">
                  <c:v>136.63607094730318</c:v>
                </c:pt>
                <c:pt idx="168">
                  <c:v>135.01886518101696</c:v>
                </c:pt>
                <c:pt idx="169">
                  <c:v>133.38833895401959</c:v>
                </c:pt>
                <c:pt idx="170">
                  <c:v>131.74674174056526</c:v>
                </c:pt>
                <c:pt idx="171">
                  <c:v>130.09612007512547</c:v>
                </c:pt>
                <c:pt idx="172">
                  <c:v>128.43833486650487</c:v>
                </c:pt>
                <c:pt idx="173">
                  <c:v>126.7750748977668</c:v>
                </c:pt>
                <c:pt idx="174">
                  <c:v>125.10788993753981</c:v>
                </c:pt>
                <c:pt idx="175">
                  <c:v>123.43820121480174</c:v>
                </c:pt>
                <c:pt idx="176">
                  <c:v>121.76731941556696</c:v>
                </c:pt>
                <c:pt idx="177">
                  <c:v>120.09647328200214</c:v>
                </c:pt>
                <c:pt idx="178">
                  <c:v>118.42678871265984</c:v>
                </c:pt>
                <c:pt idx="179">
                  <c:v>116.75931325231468</c:v>
                </c:pt>
                <c:pt idx="180">
                  <c:v>115.09502440630131</c:v>
                </c:pt>
                <c:pt idx="181">
                  <c:v>113.43484011881331</c:v>
                </c:pt>
                <c:pt idx="182">
                  <c:v>111.77962464729021</c:v>
                </c:pt>
                <c:pt idx="183">
                  <c:v>110.1301939698255</c:v>
                </c:pt>
                <c:pt idx="184">
                  <c:v>108.48732513789901</c:v>
                </c:pt>
              </c:numCache>
            </c:numRef>
          </c:val>
          <c:smooth val="0"/>
          <c:extLst>
            <c:ext xmlns:c16="http://schemas.microsoft.com/office/drawing/2014/chart" uri="{C3380CC4-5D6E-409C-BE32-E72D297353CC}">
              <c16:uniqueId val="{00000002-DFA7-4D9A-8C9E-78CAA4FB84E8}"/>
            </c:ext>
          </c:extLst>
        </c:ser>
        <c:ser>
          <c:idx val="2"/>
          <c:order val="2"/>
          <c:tx>
            <c:strRef>
              <c:f>Sheet1!$D$1</c:f>
              <c:strCache>
                <c:ptCount val="1"/>
                <c:pt idx="0">
                  <c:v>V3</c:v>
                </c:pt>
              </c:strCache>
            </c:strRef>
          </c:tx>
          <c:spPr>
            <a:ln w="28575" cap="rnd">
              <a:solidFill>
                <a:srgbClr val="4472C4"/>
              </a:solidFill>
              <a:prstDash val="sysDash"/>
              <a:round/>
            </a:ln>
            <a:effectLst/>
          </c:spPr>
          <c:marker>
            <c:symbol val="none"/>
          </c:marker>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D$2:$D$186</c:f>
              <c:numCache>
                <c:formatCode>General</c:formatCode>
                <c:ptCount val="185"/>
                <c:pt idx="122">
                  <c:v>273.43680928680737</c:v>
                </c:pt>
                <c:pt idx="123">
                  <c:v>262.65443009717711</c:v>
                </c:pt>
                <c:pt idx="124">
                  <c:v>252.17173149760723</c:v>
                </c:pt>
                <c:pt idx="125">
                  <c:v>249.04799873479533</c:v>
                </c:pt>
                <c:pt idx="126">
                  <c:v>251.24457082885758</c:v>
                </c:pt>
                <c:pt idx="127">
                  <c:v>256.94208759071398</c:v>
                </c:pt>
                <c:pt idx="128">
                  <c:v>264.80094627424279</c:v>
                </c:pt>
                <c:pt idx="129">
                  <c:v>274.30485012566339</c:v>
                </c:pt>
                <c:pt idx="130">
                  <c:v>285.21947838754573</c:v>
                </c:pt>
                <c:pt idx="131">
                  <c:v>297.41212861031619</c:v>
                </c:pt>
                <c:pt idx="132">
                  <c:v>310.77507650298622</c:v>
                </c:pt>
                <c:pt idx="133">
                  <c:v>325.19115840576444</c:v>
                </c:pt>
                <c:pt idx="134">
                  <c:v>340.47724254280325</c:v>
                </c:pt>
                <c:pt idx="135">
                  <c:v>356.52761150787694</c:v>
                </c:pt>
                <c:pt idx="136">
                  <c:v>373.2468019440451</c:v>
                </c:pt>
                <c:pt idx="137">
                  <c:v>390.5417620270382</c:v>
                </c:pt>
                <c:pt idx="138">
                  <c:v>408.34698704190828</c:v>
                </c:pt>
                <c:pt idx="139">
                  <c:v>426.59998312656109</c:v>
                </c:pt>
                <c:pt idx="140">
                  <c:v>445.23918991706699</c:v>
                </c:pt>
                <c:pt idx="141">
                  <c:v>464.22327332495797</c:v>
                </c:pt>
                <c:pt idx="142">
                  <c:v>483.47752590444236</c:v>
                </c:pt>
                <c:pt idx="143">
                  <c:v>502.94121639135358</c:v>
                </c:pt>
                <c:pt idx="144">
                  <c:v>522.55217911342595</c:v>
                </c:pt>
                <c:pt idx="145">
                  <c:v>542.2496663026443</c:v>
                </c:pt>
                <c:pt idx="146">
                  <c:v>561.97164550287619</c:v>
                </c:pt>
                <c:pt idx="147">
                  <c:v>581.65269225474856</c:v>
                </c:pt>
                <c:pt idx="148">
                  <c:v>601.22624426320954</c:v>
                </c:pt>
                <c:pt idx="149">
                  <c:v>620.61322911345235</c:v>
                </c:pt>
                <c:pt idx="150">
                  <c:v>639.73434368364462</c:v>
                </c:pt>
                <c:pt idx="151">
                  <c:v>658.51862843891786</c:v>
                </c:pt>
                <c:pt idx="152">
                  <c:v>676.88414579322978</c:v>
                </c:pt>
                <c:pt idx="153">
                  <c:v>694.74149552442964</c:v>
                </c:pt>
                <c:pt idx="154">
                  <c:v>712.01124222452995</c:v>
                </c:pt>
                <c:pt idx="155">
                  <c:v>728.61015277480817</c:v>
                </c:pt>
                <c:pt idx="156">
                  <c:v>744.44835451596805</c:v>
                </c:pt>
                <c:pt idx="157">
                  <c:v>759.44089124494667</c:v>
                </c:pt>
                <c:pt idx="158">
                  <c:v>773.50670027997012</c:v>
                </c:pt>
                <c:pt idx="159">
                  <c:v>786.56865091153065</c:v>
                </c:pt>
                <c:pt idx="160">
                  <c:v>798.55403646967625</c:v>
                </c:pt>
                <c:pt idx="161">
                  <c:v>809.43557216000875</c:v>
                </c:pt>
                <c:pt idx="162">
                  <c:v>819.18222315302035</c:v>
                </c:pt>
                <c:pt idx="163">
                  <c:v>827.75858868415787</c:v>
                </c:pt>
                <c:pt idx="164">
                  <c:v>835.13060483327149</c:v>
                </c:pt>
                <c:pt idx="165">
                  <c:v>841.26864455622058</c:v>
                </c:pt>
                <c:pt idx="166">
                  <c:v>846.14912822758845</c:v>
                </c:pt>
                <c:pt idx="167">
                  <c:v>849.75519034147999</c:v>
                </c:pt>
                <c:pt idx="168">
                  <c:v>852.07677303057369</c:v>
                </c:pt>
                <c:pt idx="169">
                  <c:v>853.11051674023861</c:v>
                </c:pt>
                <c:pt idx="170">
                  <c:v>852.85925476283637</c:v>
                </c:pt>
                <c:pt idx="171">
                  <c:v>851.33238919595476</c:v>
                </c:pt>
                <c:pt idx="172">
                  <c:v>848.54583245090714</c:v>
                </c:pt>
                <c:pt idx="173">
                  <c:v>844.52184284362977</c:v>
                </c:pt>
                <c:pt idx="174">
                  <c:v>839.28892650846899</c:v>
                </c:pt>
                <c:pt idx="175">
                  <c:v>832.88153138968062</c:v>
                </c:pt>
                <c:pt idx="176">
                  <c:v>825.33971067808091</c:v>
                </c:pt>
                <c:pt idx="177">
                  <c:v>816.70882091841656</c:v>
                </c:pt>
                <c:pt idx="178">
                  <c:v>807.03885593298878</c:v>
                </c:pt>
                <c:pt idx="179">
                  <c:v>796.38403091996599</c:v>
                </c:pt>
                <c:pt idx="180">
                  <c:v>784.80224060026273</c:v>
                </c:pt>
                <c:pt idx="181">
                  <c:v>772.35451420457935</c:v>
                </c:pt>
                <c:pt idx="182">
                  <c:v>759.10443673579948</c:v>
                </c:pt>
                <c:pt idx="183">
                  <c:v>745.1175636135921</c:v>
                </c:pt>
                <c:pt idx="184">
                  <c:v>730.46086443821844</c:v>
                </c:pt>
              </c:numCache>
            </c:numRef>
          </c:val>
          <c:smooth val="0"/>
          <c:extLst>
            <c:ext xmlns:c16="http://schemas.microsoft.com/office/drawing/2014/chart" uri="{C3380CC4-5D6E-409C-BE32-E72D297353CC}">
              <c16:uniqueId val="{00000003-DFA7-4D9A-8C9E-78CAA4FB84E8}"/>
            </c:ext>
          </c:extLst>
        </c:ser>
        <c:ser>
          <c:idx val="4"/>
          <c:order val="3"/>
          <c:tx>
            <c:strRef>
              <c:f>Sheet1!$F$1</c:f>
              <c:strCache>
                <c:ptCount val="1"/>
                <c:pt idx="0">
                  <c:v>C</c:v>
                </c:pt>
              </c:strCache>
            </c:strRef>
          </c:tx>
          <c:spPr>
            <a:ln w="28575" cap="rnd">
              <a:solidFill>
                <a:srgbClr val="00B050"/>
              </a:solidFill>
              <a:prstDash val="sysDash"/>
              <a:round/>
            </a:ln>
            <a:effectLst/>
          </c:spPr>
          <c:marker>
            <c:symbol val="none"/>
          </c:marker>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F$2:$F$186</c:f>
              <c:numCache>
                <c:formatCode>General</c:formatCode>
                <c:ptCount val="185"/>
                <c:pt idx="126">
                  <c:v>245.92426597198343</c:v>
                </c:pt>
                <c:pt idx="127">
                  <c:v>248.77302435292455</c:v>
                </c:pt>
                <c:pt idx="128">
                  <c:v>252.70245369463728</c:v>
                </c:pt>
                <c:pt idx="129">
                  <c:v>257.45440562039926</c:v>
                </c:pt>
                <c:pt idx="130">
                  <c:v>262.91171975131465</c:v>
                </c:pt>
                <c:pt idx="131">
                  <c:v>269.00804486269988</c:v>
                </c:pt>
                <c:pt idx="132">
                  <c:v>275.68951880903489</c:v>
                </c:pt>
                <c:pt idx="133">
                  <c:v>282.89755976042397</c:v>
                </c:pt>
                <c:pt idx="134">
                  <c:v>290.54060182894341</c:v>
                </c:pt>
                <c:pt idx="135">
                  <c:v>298.56578631146726</c:v>
                </c:pt>
                <c:pt idx="136">
                  <c:v>306.92538152955137</c:v>
                </c:pt>
                <c:pt idx="137">
                  <c:v>315.57286157108672</c:v>
                </c:pt>
                <c:pt idx="138">
                  <c:v>324.47547407849584</c:v>
                </c:pt>
                <c:pt idx="139">
                  <c:v>333.60197212082232</c:v>
                </c:pt>
                <c:pt idx="140">
                  <c:v>342.92157551604942</c:v>
                </c:pt>
                <c:pt idx="141">
                  <c:v>352.41361722002068</c:v>
                </c:pt>
                <c:pt idx="142">
                  <c:v>362.04074350977589</c:v>
                </c:pt>
                <c:pt idx="143">
                  <c:v>371.7725887532315</c:v>
                </c:pt>
                <c:pt idx="144">
                  <c:v>381.57807011424177</c:v>
                </c:pt>
                <c:pt idx="145">
                  <c:v>391.42681370887681</c:v>
                </c:pt>
                <c:pt idx="146">
                  <c:v>401.28780330896689</c:v>
                </c:pt>
                <c:pt idx="147">
                  <c:v>411.12832668491603</c:v>
                </c:pt>
                <c:pt idx="148">
                  <c:v>420.91510268915943</c:v>
                </c:pt>
                <c:pt idx="149">
                  <c:v>430.60859511425497</c:v>
                </c:pt>
                <c:pt idx="150">
                  <c:v>440.16915239936407</c:v>
                </c:pt>
                <c:pt idx="151">
                  <c:v>449.56129477700063</c:v>
                </c:pt>
                <c:pt idx="152">
                  <c:v>458.74405345415664</c:v>
                </c:pt>
                <c:pt idx="153">
                  <c:v>467.67272831975652</c:v>
                </c:pt>
                <c:pt idx="154">
                  <c:v>476.30760166981963</c:v>
                </c:pt>
                <c:pt idx="155">
                  <c:v>484.60705694493288</c:v>
                </c:pt>
                <c:pt idx="156">
                  <c:v>492.52615781553868</c:v>
                </c:pt>
                <c:pt idx="157">
                  <c:v>500.02242618000218</c:v>
                </c:pt>
                <c:pt idx="158">
                  <c:v>507.05533069752676</c:v>
                </c:pt>
                <c:pt idx="159">
                  <c:v>513.58630601331993</c:v>
                </c:pt>
                <c:pt idx="160">
                  <c:v>519.57899879236697</c:v>
                </c:pt>
                <c:pt idx="161">
                  <c:v>525.01976663754613</c:v>
                </c:pt>
                <c:pt idx="162">
                  <c:v>529.89309213406489</c:v>
                </c:pt>
                <c:pt idx="163">
                  <c:v>534.18127489962069</c:v>
                </c:pt>
                <c:pt idx="164">
                  <c:v>537.8672829741904</c:v>
                </c:pt>
                <c:pt idx="165">
                  <c:v>540.93630283565199</c:v>
                </c:pt>
                <c:pt idx="166">
                  <c:v>543.37654467132302</c:v>
                </c:pt>
                <c:pt idx="167">
                  <c:v>545.17957572828175</c:v>
                </c:pt>
                <c:pt idx="168">
                  <c:v>546.34036707281564</c:v>
                </c:pt>
                <c:pt idx="169">
                  <c:v>546.857238927661</c:v>
                </c:pt>
                <c:pt idx="170">
                  <c:v>546.73160793897296</c:v>
                </c:pt>
                <c:pt idx="171">
                  <c:v>545.96817515551913</c:v>
                </c:pt>
                <c:pt idx="172">
                  <c:v>544.57489678299532</c:v>
                </c:pt>
                <c:pt idx="173">
                  <c:v>542.56290197935664</c:v>
                </c:pt>
                <c:pt idx="174">
                  <c:v>539.94644381177625</c:v>
                </c:pt>
                <c:pt idx="175">
                  <c:v>536.74274625235626</c:v>
                </c:pt>
                <c:pt idx="176">
                  <c:v>532.97183589660813</c:v>
                </c:pt>
                <c:pt idx="177">
                  <c:v>528.65639101672423</c:v>
                </c:pt>
                <c:pt idx="178">
                  <c:v>523.82140852404905</c:v>
                </c:pt>
                <c:pt idx="179">
                  <c:v>518.49399601753771</c:v>
                </c:pt>
                <c:pt idx="180">
                  <c:v>512.70310085767312</c:v>
                </c:pt>
                <c:pt idx="181">
                  <c:v>506.47923765983137</c:v>
                </c:pt>
                <c:pt idx="182">
                  <c:v>499.85419892544144</c:v>
                </c:pt>
                <c:pt idx="183">
                  <c:v>492.8607623643378</c:v>
                </c:pt>
                <c:pt idx="184">
                  <c:v>485.53241277665097</c:v>
                </c:pt>
              </c:numCache>
            </c:numRef>
          </c:val>
          <c:smooth val="0"/>
          <c:extLst>
            <c:ext xmlns:c16="http://schemas.microsoft.com/office/drawing/2014/chart" uri="{C3380CC4-5D6E-409C-BE32-E72D297353CC}">
              <c16:uniqueId val="{00000004-DFA7-4D9A-8C9E-78CAA4FB84E8}"/>
            </c:ext>
          </c:extLst>
        </c:ser>
        <c:dLbls>
          <c:showLegendKey val="0"/>
          <c:showVal val="0"/>
          <c:showCatName val="0"/>
          <c:showSerName val="0"/>
          <c:showPercent val="0"/>
          <c:showBubbleSize val="0"/>
        </c:dLbls>
        <c:marker val="1"/>
        <c:smooth val="0"/>
        <c:axId val="207093791"/>
        <c:axId val="209778303"/>
      </c:lineChart>
      <c:catAx>
        <c:axId val="207093791"/>
        <c:scaling>
          <c:orientation val="minMax"/>
        </c:scaling>
        <c:delete val="0"/>
        <c:axPos val="b"/>
        <c:numFmt formatCode="m/d/yyyy" sourceLinked="1"/>
        <c:majorTickMark val="none"/>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209778303"/>
        <c:crosses val="autoZero"/>
        <c:auto val="1"/>
        <c:lblAlgn val="ctr"/>
        <c:lblOffset val="100"/>
        <c:tickLblSkip val="7"/>
        <c:noMultiLvlLbl val="1"/>
      </c:catAx>
      <c:valAx>
        <c:axId val="209778303"/>
        <c:scaling>
          <c:orientation val="minMax"/>
          <c:max val="1000"/>
        </c:scaling>
        <c:delete val="0"/>
        <c:axPos val="l"/>
        <c:numFmt formatCode="[$-10409]#\ ##0;\(#\ ##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207093791"/>
        <c:crosses val="autoZero"/>
        <c:crossBetween val="between"/>
      </c:valAx>
      <c:spPr>
        <a:noFill/>
        <a:ln>
          <a:noFill/>
        </a:ln>
        <a:effectLst/>
      </c:spPr>
    </c:plotArea>
    <c:legend>
      <c:legendPos val="t"/>
      <c:legendEntry>
        <c:idx val="1"/>
        <c:delete val="1"/>
      </c:legendEntry>
      <c:legendEntry>
        <c:idx val="2"/>
        <c:delete val="1"/>
      </c:legendEntry>
      <c:legendEntry>
        <c:idx val="3"/>
        <c:delete val="1"/>
      </c:legendEntry>
      <c:legendEntry>
        <c:idx val="4"/>
        <c:delete val="1"/>
      </c:legendEntry>
      <c:layout>
        <c:manualLayout>
          <c:xMode val="edge"/>
          <c:yMode val="edge"/>
          <c:x val="0.14304933551649121"/>
          <c:y val="0.40078122534564314"/>
          <c:w val="0.14188217964413682"/>
          <c:h val="4.7962349411764922E-2"/>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5"/>
          <c:order val="4"/>
          <c:tx>
            <c:strRef>
              <c:f>Sheet1!$G$1</c:f>
              <c:strCache>
                <c:ptCount val="1"/>
                <c:pt idx="0">
                  <c:v>Reálná data</c:v>
                </c:pt>
              </c:strCache>
            </c:strRef>
          </c:tx>
          <c:spPr>
            <a:solidFill>
              <a:schemeClr val="bg1">
                <a:lumMod val="85000"/>
              </a:schemeClr>
            </a:solidFill>
            <a:ln>
              <a:noFill/>
            </a:ln>
            <a:effectLst/>
          </c:spPr>
          <c:invertIfNegative val="0"/>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G$2:$G$186</c:f>
              <c:numCache>
                <c:formatCode>General</c:formatCode>
                <c:ptCount val="185"/>
                <c:pt idx="0">
                  <c:v>63</c:v>
                </c:pt>
                <c:pt idx="1">
                  <c:v>66</c:v>
                </c:pt>
                <c:pt idx="2">
                  <c:v>64</c:v>
                </c:pt>
                <c:pt idx="3">
                  <c:v>61</c:v>
                </c:pt>
                <c:pt idx="4">
                  <c:v>69</c:v>
                </c:pt>
                <c:pt idx="5">
                  <c:v>92</c:v>
                </c:pt>
                <c:pt idx="6">
                  <c:v>97</c:v>
                </c:pt>
                <c:pt idx="7">
                  <c:v>102</c:v>
                </c:pt>
                <c:pt idx="8">
                  <c:v>113</c:v>
                </c:pt>
                <c:pt idx="9">
                  <c:v>117</c:v>
                </c:pt>
                <c:pt idx="10">
                  <c:v>115</c:v>
                </c:pt>
                <c:pt idx="11">
                  <c:v>127</c:v>
                </c:pt>
                <c:pt idx="12">
                  <c:v>157</c:v>
                </c:pt>
                <c:pt idx="13">
                  <c:v>164</c:v>
                </c:pt>
                <c:pt idx="14">
                  <c:v>168</c:v>
                </c:pt>
                <c:pt idx="15">
                  <c:v>166</c:v>
                </c:pt>
                <c:pt idx="16">
                  <c:v>182</c:v>
                </c:pt>
                <c:pt idx="17">
                  <c:v>161</c:v>
                </c:pt>
                <c:pt idx="18">
                  <c:v>164</c:v>
                </c:pt>
                <c:pt idx="19">
                  <c:v>185</c:v>
                </c:pt>
                <c:pt idx="20">
                  <c:v>180</c:v>
                </c:pt>
                <c:pt idx="21">
                  <c:v>182</c:v>
                </c:pt>
                <c:pt idx="22">
                  <c:v>183</c:v>
                </c:pt>
                <c:pt idx="23">
                  <c:v>188</c:v>
                </c:pt>
                <c:pt idx="24">
                  <c:v>188</c:v>
                </c:pt>
                <c:pt idx="25">
                  <c:v>197</c:v>
                </c:pt>
                <c:pt idx="26">
                  <c:v>229</c:v>
                </c:pt>
                <c:pt idx="27">
                  <c:v>226</c:v>
                </c:pt>
                <c:pt idx="28">
                  <c:v>253</c:v>
                </c:pt>
                <c:pt idx="29">
                  <c:v>251</c:v>
                </c:pt>
                <c:pt idx="30">
                  <c:v>244</c:v>
                </c:pt>
                <c:pt idx="31">
                  <c:v>234</c:v>
                </c:pt>
                <c:pt idx="32">
                  <c:v>247</c:v>
                </c:pt>
                <c:pt idx="33">
                  <c:v>302</c:v>
                </c:pt>
                <c:pt idx="34">
                  <c:v>302</c:v>
                </c:pt>
                <c:pt idx="35">
                  <c:v>327</c:v>
                </c:pt>
                <c:pt idx="36">
                  <c:v>316</c:v>
                </c:pt>
                <c:pt idx="37">
                  <c:v>344</c:v>
                </c:pt>
                <c:pt idx="38">
                  <c:v>333</c:v>
                </c:pt>
                <c:pt idx="39">
                  <c:v>350</c:v>
                </c:pt>
                <c:pt idx="40">
                  <c:v>425</c:v>
                </c:pt>
                <c:pt idx="41">
                  <c:v>444</c:v>
                </c:pt>
                <c:pt idx="42">
                  <c:v>470</c:v>
                </c:pt>
                <c:pt idx="43">
                  <c:v>496</c:v>
                </c:pt>
                <c:pt idx="44">
                  <c:v>527</c:v>
                </c:pt>
                <c:pt idx="45">
                  <c:v>515</c:v>
                </c:pt>
                <c:pt idx="46">
                  <c:v>543</c:v>
                </c:pt>
                <c:pt idx="47">
                  <c:v>664</c:v>
                </c:pt>
                <c:pt idx="48">
                  <c:v>733</c:v>
                </c:pt>
                <c:pt idx="49">
                  <c:v>795</c:v>
                </c:pt>
                <c:pt idx="50">
                  <c:v>851</c:v>
                </c:pt>
                <c:pt idx="51">
                  <c:v>923</c:v>
                </c:pt>
                <c:pt idx="52">
                  <c:v>930</c:v>
                </c:pt>
                <c:pt idx="53">
                  <c:v>993</c:v>
                </c:pt>
                <c:pt idx="54">
                  <c:v>1175</c:v>
                </c:pt>
                <c:pt idx="55">
                  <c:v>1295</c:v>
                </c:pt>
                <c:pt idx="56">
                  <c:v>1398</c:v>
                </c:pt>
                <c:pt idx="57">
                  <c:v>1393</c:v>
                </c:pt>
                <c:pt idx="58">
                  <c:v>1580</c:v>
                </c:pt>
                <c:pt idx="59">
                  <c:v>1598</c:v>
                </c:pt>
                <c:pt idx="60">
                  <c:v>1731</c:v>
                </c:pt>
                <c:pt idx="61">
                  <c:v>2106</c:v>
                </c:pt>
                <c:pt idx="62">
                  <c:v>2296</c:v>
                </c:pt>
                <c:pt idx="63">
                  <c:v>2496</c:v>
                </c:pt>
                <c:pt idx="64">
                  <c:v>2661</c:v>
                </c:pt>
                <c:pt idx="65">
                  <c:v>2803</c:v>
                </c:pt>
                <c:pt idx="66">
                  <c:v>2802</c:v>
                </c:pt>
                <c:pt idx="67">
                  <c:v>2952</c:v>
                </c:pt>
                <c:pt idx="68">
                  <c:v>3412</c:v>
                </c:pt>
                <c:pt idx="69">
                  <c:v>3619</c:v>
                </c:pt>
                <c:pt idx="70">
                  <c:v>3763</c:v>
                </c:pt>
                <c:pt idx="71">
                  <c:v>3893</c:v>
                </c:pt>
                <c:pt idx="72">
                  <c:v>4057</c:v>
                </c:pt>
                <c:pt idx="73">
                  <c:v>3996</c:v>
                </c:pt>
                <c:pt idx="74">
                  <c:v>4140</c:v>
                </c:pt>
                <c:pt idx="75">
                  <c:v>4799</c:v>
                </c:pt>
                <c:pt idx="76">
                  <c:v>4872</c:v>
                </c:pt>
                <c:pt idx="77">
                  <c:v>4821</c:v>
                </c:pt>
                <c:pt idx="78">
                  <c:v>5187</c:v>
                </c:pt>
                <c:pt idx="79">
                  <c:v>5316</c:v>
                </c:pt>
                <c:pt idx="80">
                  <c:v>5204</c:v>
                </c:pt>
                <c:pt idx="81">
                  <c:v>5419</c:v>
                </c:pt>
                <c:pt idx="82">
                  <c:v>6017</c:v>
                </c:pt>
                <c:pt idx="83">
                  <c:v>6127</c:v>
                </c:pt>
                <c:pt idx="84">
                  <c:v>6228</c:v>
                </c:pt>
                <c:pt idx="85">
                  <c:v>6335</c:v>
                </c:pt>
                <c:pt idx="86">
                  <c:v>6436</c:v>
                </c:pt>
                <c:pt idx="87">
                  <c:v>6217</c:v>
                </c:pt>
                <c:pt idx="88">
                  <c:v>6420</c:v>
                </c:pt>
                <c:pt idx="89">
                  <c:v>7091</c:v>
                </c:pt>
                <c:pt idx="90">
                  <c:v>7026</c:v>
                </c:pt>
                <c:pt idx="91">
                  <c:v>6977</c:v>
                </c:pt>
                <c:pt idx="92">
                  <c:v>7071</c:v>
                </c:pt>
                <c:pt idx="93">
                  <c:v>7034</c:v>
                </c:pt>
                <c:pt idx="94">
                  <c:v>6559</c:v>
                </c:pt>
                <c:pt idx="95">
                  <c:v>6668</c:v>
                </c:pt>
                <c:pt idx="96">
                  <c:v>7132</c:v>
                </c:pt>
                <c:pt idx="97">
                  <c:v>6913</c:v>
                </c:pt>
                <c:pt idx="98">
                  <c:v>6761</c:v>
                </c:pt>
                <c:pt idx="99">
                  <c:v>6591</c:v>
                </c:pt>
                <c:pt idx="100">
                  <c:v>6398</c:v>
                </c:pt>
                <c:pt idx="101">
                  <c:v>5872</c:v>
                </c:pt>
                <c:pt idx="102">
                  <c:v>5897</c:v>
                </c:pt>
                <c:pt idx="103">
                  <c:v>6386</c:v>
                </c:pt>
                <c:pt idx="104">
                  <c:v>6096</c:v>
                </c:pt>
                <c:pt idx="105">
                  <c:v>5846</c:v>
                </c:pt>
                <c:pt idx="106">
                  <c:v>5645</c:v>
                </c:pt>
                <c:pt idx="107">
                  <c:v>5335</c:v>
                </c:pt>
                <c:pt idx="108">
                  <c:v>4815</c:v>
                </c:pt>
                <c:pt idx="109">
                  <c:v>4798</c:v>
                </c:pt>
                <c:pt idx="110">
                  <c:v>5158</c:v>
                </c:pt>
                <c:pt idx="111">
                  <c:v>4909</c:v>
                </c:pt>
                <c:pt idx="112">
                  <c:v>4562</c:v>
                </c:pt>
                <c:pt idx="113">
                  <c:v>4111</c:v>
                </c:pt>
                <c:pt idx="114">
                  <c:v>3499</c:v>
                </c:pt>
                <c:pt idx="115">
                  <c:v>3333</c:v>
                </c:pt>
                <c:pt idx="116">
                  <c:v>3389</c:v>
                </c:pt>
                <c:pt idx="117">
                  <c:v>3747</c:v>
                </c:pt>
                <c:pt idx="118">
                  <c:v>3650</c:v>
                </c:pt>
                <c:pt idx="119">
                  <c:v>3467</c:v>
                </c:pt>
                <c:pt idx="120">
                  <c:v>3276</c:v>
                </c:pt>
                <c:pt idx="121">
                  <c:v>3119</c:v>
                </c:pt>
                <c:pt idx="122">
                  <c:v>2870</c:v>
                </c:pt>
                <c:pt idx="123">
                  <c:v>2892</c:v>
                </c:pt>
                <c:pt idx="124">
                  <c:v>3091</c:v>
                </c:pt>
                <c:pt idx="125">
                  <c:v>2992</c:v>
                </c:pt>
                <c:pt idx="126">
                  <c:v>2848</c:v>
                </c:pt>
                <c:pt idx="127">
                  <c:v>2724</c:v>
                </c:pt>
                <c:pt idx="128">
                  <c:v>2606</c:v>
                </c:pt>
                <c:pt idx="129">
                  <c:v>2372</c:v>
                </c:pt>
                <c:pt idx="130">
                  <c:v>2348</c:v>
                </c:pt>
                <c:pt idx="131">
                  <c:v>2470</c:v>
                </c:pt>
                <c:pt idx="132">
                  <c:v>2275</c:v>
                </c:pt>
                <c:pt idx="133">
                  <c:v>2084</c:v>
                </c:pt>
                <c:pt idx="134">
                  <c:v>1927</c:v>
                </c:pt>
                <c:pt idx="135">
                  <c:v>1799</c:v>
                </c:pt>
                <c:pt idx="136">
                  <c:v>1599</c:v>
                </c:pt>
              </c:numCache>
            </c:numRef>
          </c:val>
          <c:extLst>
            <c:ext xmlns:c16="http://schemas.microsoft.com/office/drawing/2014/chart" uri="{C3380CC4-5D6E-409C-BE32-E72D297353CC}">
              <c16:uniqueId val="{00000007-EDB9-4256-AE28-72A2561918A2}"/>
            </c:ext>
          </c:extLst>
        </c:ser>
        <c:dLbls>
          <c:showLegendKey val="0"/>
          <c:showVal val="0"/>
          <c:showCatName val="0"/>
          <c:showSerName val="0"/>
          <c:showPercent val="0"/>
          <c:showBubbleSize val="0"/>
        </c:dLbls>
        <c:gapWidth val="50"/>
        <c:axId val="207093791"/>
        <c:axId val="209778303"/>
      </c:barChart>
      <c:lineChart>
        <c:grouping val="standard"/>
        <c:varyColors val="0"/>
        <c:ser>
          <c:idx val="0"/>
          <c:order val="0"/>
          <c:tx>
            <c:strRef>
              <c:f>Sheet1!$E$1</c:f>
              <c:strCache>
                <c:ptCount val="1"/>
                <c:pt idx="0">
                  <c:v>B</c:v>
                </c:pt>
              </c:strCache>
            </c:strRef>
          </c:tx>
          <c:spPr>
            <a:ln w="28575" cap="rnd">
              <a:solidFill>
                <a:srgbClr val="C00000"/>
              </a:solidFill>
              <a:prstDash val="sysDot"/>
              <a:round/>
            </a:ln>
            <a:effectLst/>
          </c:spPr>
          <c:marker>
            <c:symbol val="none"/>
          </c:marker>
          <c:val>
            <c:numRef>
              <c:f>Sheet1!$E$2:$E$186</c:f>
              <c:numCache>
                <c:formatCode>General</c:formatCode>
                <c:ptCount val="185"/>
                <c:pt idx="0">
                  <c:v>10.906399302941281</c:v>
                </c:pt>
                <c:pt idx="1">
                  <c:v>11.006864666764159</c:v>
                </c:pt>
                <c:pt idx="2">
                  <c:v>11.101992696116213</c:v>
                </c:pt>
                <c:pt idx="3">
                  <c:v>11.191995222849073</c:v>
                </c:pt>
                <c:pt idx="4">
                  <c:v>11.277564086019993</c:v>
                </c:pt>
                <c:pt idx="5">
                  <c:v>11.359158608422149</c:v>
                </c:pt>
                <c:pt idx="6">
                  <c:v>11.436617888015462</c:v>
                </c:pt>
                <c:pt idx="7">
                  <c:v>11.509818893886404</c:v>
                </c:pt>
                <c:pt idx="8">
                  <c:v>11.646570369688561</c:v>
                </c:pt>
                <c:pt idx="9">
                  <c:v>11.832105954177678</c:v>
                </c:pt>
                <c:pt idx="10">
                  <c:v>0.89495774569486386</c:v>
                </c:pt>
                <c:pt idx="11">
                  <c:v>2.371296230458519</c:v>
                </c:pt>
                <c:pt idx="12">
                  <c:v>4.0340433171065584</c:v>
                </c:pt>
                <c:pt idx="13">
                  <c:v>5.9234840889381601</c:v>
                </c:pt>
                <c:pt idx="14">
                  <c:v>8.0814381841141216</c:v>
                </c:pt>
                <c:pt idx="15">
                  <c:v>10.548950677150492</c:v>
                </c:pt>
                <c:pt idx="16">
                  <c:v>13.365088119747037</c:v>
                </c:pt>
                <c:pt idx="17">
                  <c:v>16.565388625336457</c:v>
                </c:pt>
                <c:pt idx="18">
                  <c:v>20.183567631856562</c:v>
                </c:pt>
                <c:pt idx="19">
                  <c:v>24.251389765433135</c:v>
                </c:pt>
                <c:pt idx="20">
                  <c:v>28.798417478055516</c:v>
                </c:pt>
                <c:pt idx="21">
                  <c:v>33.852564097667035</c:v>
                </c:pt>
                <c:pt idx="22">
                  <c:v>39.439110028235163</c:v>
                </c:pt>
                <c:pt idx="23">
                  <c:v>45.580157393388198</c:v>
                </c:pt>
                <c:pt idx="24">
                  <c:v>52.296510866236787</c:v>
                </c:pt>
                <c:pt idx="25">
                  <c:v>59.609406524433787</c:v>
                </c:pt>
                <c:pt idx="26">
                  <c:v>67.540553348570114</c:v>
                </c:pt>
                <c:pt idx="27">
                  <c:v>76.111191613546339</c:v>
                </c:pt>
                <c:pt idx="28">
                  <c:v>85.342478031037885</c:v>
                </c:pt>
                <c:pt idx="29">
                  <c:v>95.255971042071366</c:v>
                </c:pt>
                <c:pt idx="30">
                  <c:v>105.87341417016626</c:v>
                </c:pt>
                <c:pt idx="31">
                  <c:v>117.21725535991835</c:v>
                </c:pt>
                <c:pt idx="32">
                  <c:v>129.3121543738431</c:v>
                </c:pt>
                <c:pt idx="33">
                  <c:v>142.18509122340515</c:v>
                </c:pt>
                <c:pt idx="34">
                  <c:v>155.86444570218077</c:v>
                </c:pt>
                <c:pt idx="35">
                  <c:v>170.38112923376454</c:v>
                </c:pt>
                <c:pt idx="36">
                  <c:v>185.76728359191031</c:v>
                </c:pt>
                <c:pt idx="37">
                  <c:v>202.05634279466071</c:v>
                </c:pt>
                <c:pt idx="38">
                  <c:v>219.82063099405758</c:v>
                </c:pt>
                <c:pt idx="39">
                  <c:v>239.51690508056987</c:v>
                </c:pt>
                <c:pt idx="40">
                  <c:v>261.48146417730129</c:v>
                </c:pt>
                <c:pt idx="41">
                  <c:v>285.99413063722886</c:v>
                </c:pt>
                <c:pt idx="42">
                  <c:v>313.31890354625472</c:v>
                </c:pt>
                <c:pt idx="43">
                  <c:v>343.72272863954993</c:v>
                </c:pt>
                <c:pt idx="44">
                  <c:v>377.48509874539343</c:v>
                </c:pt>
                <c:pt idx="45">
                  <c:v>414.89630397024024</c:v>
                </c:pt>
                <c:pt idx="46">
                  <c:v>456.26143717120181</c:v>
                </c:pt>
                <c:pt idx="47">
                  <c:v>501.89853448689439</c:v>
                </c:pt>
                <c:pt idx="48">
                  <c:v>552.14499091861501</c:v>
                </c:pt>
                <c:pt idx="49">
                  <c:v>607.35660073122767</c:v>
                </c:pt>
                <c:pt idx="50">
                  <c:v>667.913578948907</c:v>
                </c:pt>
                <c:pt idx="51">
                  <c:v>734.22420575685544</c:v>
                </c:pt>
                <c:pt idx="52">
                  <c:v>806.71462088669159</c:v>
                </c:pt>
                <c:pt idx="53">
                  <c:v>885.82010313947694</c:v>
                </c:pt>
                <c:pt idx="54">
                  <c:v>972.00405775025865</c:v>
                </c:pt>
                <c:pt idx="55">
                  <c:v>1065.7685749287702</c:v>
                </c:pt>
                <c:pt idx="56">
                  <c:v>1167.6588385879973</c:v>
                </c:pt>
                <c:pt idx="57">
                  <c:v>1278.2589346195448</c:v>
                </c:pt>
                <c:pt idx="58">
                  <c:v>1398.1893891890713</c:v>
                </c:pt>
                <c:pt idx="59">
                  <c:v>1528.1069550345881</c:v>
                </c:pt>
                <c:pt idx="60">
                  <c:v>1668.7088489861981</c:v>
                </c:pt>
                <c:pt idx="61">
                  <c:v>1820.7343574920269</c:v>
                </c:pt>
                <c:pt idx="62">
                  <c:v>1980.8799781611301</c:v>
                </c:pt>
                <c:pt idx="63">
                  <c:v>2146.6819954051862</c:v>
                </c:pt>
                <c:pt idx="64">
                  <c:v>2316.6657562391078</c:v>
                </c:pt>
                <c:pt idx="65">
                  <c:v>2489.905772435759</c:v>
                </c:pt>
                <c:pt idx="66">
                  <c:v>2665.7151051596229</c:v>
                </c:pt>
                <c:pt idx="67">
                  <c:v>2843.5205044569461</c:v>
                </c:pt>
                <c:pt idx="68">
                  <c:v>3022.7919580576981</c:v>
                </c:pt>
                <c:pt idx="69">
                  <c:v>3204.8700520519819</c:v>
                </c:pt>
                <c:pt idx="70">
                  <c:v>3390.7061410875231</c:v>
                </c:pt>
                <c:pt idx="71">
                  <c:v>3580.8811372896685</c:v>
                </c:pt>
                <c:pt idx="72">
                  <c:v>3775.7719046470284</c:v>
                </c:pt>
                <c:pt idx="73">
                  <c:v>3975.6978471291504</c:v>
                </c:pt>
                <c:pt idx="74">
                  <c:v>4180.9563949033</c:v>
                </c:pt>
                <c:pt idx="75">
                  <c:v>4391.8191470810898</c:v>
                </c:pt>
                <c:pt idx="76">
                  <c:v>4608.570829041194</c:v>
                </c:pt>
                <c:pt idx="77">
                  <c:v>4831.6097619514039</c:v>
                </c:pt>
                <c:pt idx="78">
                  <c:v>5056.2358672888859</c:v>
                </c:pt>
                <c:pt idx="79">
                  <c:v>5287.2730047236191</c:v>
                </c:pt>
                <c:pt idx="80">
                  <c:v>5524.786305708737</c:v>
                </c:pt>
                <c:pt idx="81">
                  <c:v>5768.7515797665747</c:v>
                </c:pt>
                <c:pt idx="82">
                  <c:v>6019.0662300064896</c:v>
                </c:pt>
                <c:pt idx="83">
                  <c:v>6264.2022578834112</c:v>
                </c:pt>
                <c:pt idx="84">
                  <c:v>6495.352917039465</c:v>
                </c:pt>
                <c:pt idx="85">
                  <c:v>6700.5127670149805</c:v>
                </c:pt>
                <c:pt idx="86">
                  <c:v>6883.0998856606057</c:v>
                </c:pt>
                <c:pt idx="87">
                  <c:v>7041.5761095229655</c:v>
                </c:pt>
                <c:pt idx="88">
                  <c:v>7175.1995765693473</c:v>
                </c:pt>
                <c:pt idx="89">
                  <c:v>7283.7125414143902</c:v>
                </c:pt>
                <c:pt idx="90">
                  <c:v>7367.2535371972426</c:v>
                </c:pt>
                <c:pt idx="91">
                  <c:v>7426.2901643123269</c:v>
                </c:pt>
                <c:pt idx="92">
                  <c:v>7453.9924360284358</c:v>
                </c:pt>
                <c:pt idx="93">
                  <c:v>7458.9025044548198</c:v>
                </c:pt>
                <c:pt idx="94">
                  <c:v>7442.2312980145271</c:v>
                </c:pt>
                <c:pt idx="95">
                  <c:v>7405.2860506964771</c:v>
                </c:pt>
                <c:pt idx="96">
                  <c:v>7349.3827286993801</c:v>
                </c:pt>
                <c:pt idx="97">
                  <c:v>7276.0465363655676</c:v>
                </c:pt>
                <c:pt idx="98">
                  <c:v>7187.3248428237976</c:v>
                </c:pt>
                <c:pt idx="99">
                  <c:v>7077.9656119549145</c:v>
                </c:pt>
                <c:pt idx="100">
                  <c:v>6957.5113230172838</c:v>
                </c:pt>
                <c:pt idx="101">
                  <c:v>6827.6603619480384</c:v>
                </c:pt>
                <c:pt idx="102">
                  <c:v>6689.9052830602805</c:v>
                </c:pt>
                <c:pt idx="103">
                  <c:v>6545.5669169954017</c:v>
                </c:pt>
                <c:pt idx="104">
                  <c:v>6395.821208433149</c:v>
                </c:pt>
                <c:pt idx="105">
                  <c:v>6241.789032590138</c:v>
                </c:pt>
                <c:pt idx="106">
                  <c:v>6091.0707947998526</c:v>
                </c:pt>
                <c:pt idx="107">
                  <c:v>5937.6922666281389</c:v>
                </c:pt>
                <c:pt idx="108">
                  <c:v>5782.4167828388663</c:v>
                </c:pt>
                <c:pt idx="109">
                  <c:v>5625.8985378205389</c:v>
                </c:pt>
                <c:pt idx="110">
                  <c:v>5468.7059021604291</c:v>
                </c:pt>
                <c:pt idx="111">
                  <c:v>5311.3224465516341</c:v>
                </c:pt>
                <c:pt idx="112">
                  <c:v>5154.1765125446273</c:v>
                </c:pt>
                <c:pt idx="113">
                  <c:v>5003.1666181935934</c:v>
                </c:pt>
                <c:pt idx="114">
                  <c:v>4852.807512133053</c:v>
                </c:pt>
                <c:pt idx="115">
                  <c:v>4703.4077967723624</c:v>
                </c:pt>
                <c:pt idx="116">
                  <c:v>4555.2551253640022</c:v>
                </c:pt>
                <c:pt idx="117">
                  <c:v>4408.604537529669</c:v>
                </c:pt>
                <c:pt idx="118">
                  <c:v>4263.672018311634</c:v>
                </c:pt>
                <c:pt idx="119">
                  <c:v>4120.6491506341135</c:v>
                </c:pt>
                <c:pt idx="120">
                  <c:v>3984.176168487119</c:v>
                </c:pt>
                <c:pt idx="121">
                  <c:v>3847.9981950758811</c:v>
                </c:pt>
                <c:pt idx="122">
                  <c:v>3779.6664392780617</c:v>
                </c:pt>
                <c:pt idx="123">
                  <c:v>3712.478890715603</c:v>
                </c:pt>
              </c:numCache>
            </c:numRef>
          </c:val>
          <c:smooth val="0"/>
          <c:extLst>
            <c:ext xmlns:c16="http://schemas.microsoft.com/office/drawing/2014/chart" uri="{C3380CC4-5D6E-409C-BE32-E72D297353CC}">
              <c16:uniqueId val="{00000001-2190-442D-BD58-5B49B037E7B1}"/>
            </c:ext>
          </c:extLst>
        </c:ser>
        <c:ser>
          <c:idx val="1"/>
          <c:order val="1"/>
          <c:tx>
            <c:strRef>
              <c:f>Sheet1!$C$1</c:f>
              <c:strCache>
                <c:ptCount val="1"/>
                <c:pt idx="0">
                  <c:v>V2</c:v>
                </c:pt>
              </c:strCache>
            </c:strRef>
          </c:tx>
          <c:spPr>
            <a:ln w="28575" cap="rnd">
              <a:solidFill>
                <a:srgbClr val="FF9900"/>
              </a:solidFill>
              <a:prstDash val="solid"/>
              <a:round/>
            </a:ln>
            <a:effectLst/>
          </c:spPr>
          <c:marker>
            <c:symbol val="none"/>
          </c:marker>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C$2:$C$186</c:f>
              <c:numCache>
                <c:formatCode>General</c:formatCode>
                <c:ptCount val="185"/>
                <c:pt idx="122">
                  <c:v>3717.3203728109293</c:v>
                </c:pt>
                <c:pt idx="123">
                  <c:v>3587.2524645937979</c:v>
                </c:pt>
                <c:pt idx="124">
                  <c:v>3459.5956048514786</c:v>
                </c:pt>
                <c:pt idx="125">
                  <c:v>3334.4575969322723</c:v>
                </c:pt>
                <c:pt idx="126">
                  <c:v>3211.9302602029848</c:v>
                </c:pt>
                <c:pt idx="127">
                  <c:v>3095.5777981525002</c:v>
                </c:pt>
                <c:pt idx="128">
                  <c:v>2981.7236110340596</c:v>
                </c:pt>
                <c:pt idx="129">
                  <c:v>2870.4308047313343</c:v>
                </c:pt>
                <c:pt idx="130">
                  <c:v>2761.7517847744502</c:v>
                </c:pt>
                <c:pt idx="131">
                  <c:v>2655.7319370443538</c:v>
                </c:pt>
                <c:pt idx="132">
                  <c:v>2554.4562197140135</c:v>
                </c:pt>
                <c:pt idx="133">
                  <c:v>2459.3353668178761</c:v>
                </c:pt>
                <c:pt idx="134">
                  <c:v>2371.0372711414566</c:v>
                </c:pt>
                <c:pt idx="135">
                  <c:v>2289.7764949863458</c:v>
                </c:pt>
                <c:pt idx="136">
                  <c:v>2215.5165377155563</c:v>
                </c:pt>
                <c:pt idx="137">
                  <c:v>2148.0834435121055</c:v>
                </c:pt>
                <c:pt idx="138">
                  <c:v>2087.2255968651843</c:v>
                </c:pt>
                <c:pt idx="139">
                  <c:v>2032.6247191234636</c:v>
                </c:pt>
                <c:pt idx="140">
                  <c:v>1983.9103024905471</c:v>
                </c:pt>
                <c:pt idx="141">
                  <c:v>1940.6618669077202</c:v>
                </c:pt>
                <c:pt idx="142">
                  <c:v>1902.4486812179316</c:v>
                </c:pt>
                <c:pt idx="143">
                  <c:v>1868.8246095161317</c:v>
                </c:pt>
                <c:pt idx="144">
                  <c:v>1839.350422416348</c:v>
                </c:pt>
                <c:pt idx="145">
                  <c:v>1813.607844860044</c:v>
                </c:pt>
                <c:pt idx="146">
                  <c:v>1791.1552391249143</c:v>
                </c:pt>
                <c:pt idx="147">
                  <c:v>1771.4717173397225</c:v>
                </c:pt>
                <c:pt idx="148">
                  <c:v>1754.0398397381921</c:v>
                </c:pt>
                <c:pt idx="149">
                  <c:v>1738.4116843504078</c:v>
                </c:pt>
                <c:pt idx="150">
                  <c:v>1724.2103779239624</c:v>
                </c:pt>
                <c:pt idx="151">
                  <c:v>1711.1166117689929</c:v>
                </c:pt>
                <c:pt idx="152">
                  <c:v>1698.8592428521195</c:v>
                </c:pt>
                <c:pt idx="153">
                  <c:v>1687.2045233318549</c:v>
                </c:pt>
                <c:pt idx="154">
                  <c:v>1675.9371042929934</c:v>
                </c:pt>
                <c:pt idx="155">
                  <c:v>1664.8691617892382</c:v>
                </c:pt>
                <c:pt idx="156">
                  <c:v>1653.8477541666705</c:v>
                </c:pt>
                <c:pt idx="157">
                  <c:v>1642.7470920830849</c:v>
                </c:pt>
                <c:pt idx="158">
                  <c:v>1631.4708726549154</c:v>
                </c:pt>
                <c:pt idx="159">
                  <c:v>1619.9457783617115</c:v>
                </c:pt>
                <c:pt idx="160">
                  <c:v>1608.1164182539669</c:v>
                </c:pt>
                <c:pt idx="161">
                  <c:v>1595.9449655972951</c:v>
                </c:pt>
                <c:pt idx="162">
                  <c:v>1583.4076573575637</c:v>
                </c:pt>
                <c:pt idx="163">
                  <c:v>1570.4921465617326</c:v>
                </c:pt>
                <c:pt idx="164">
                  <c:v>1557.1936812698145</c:v>
                </c:pt>
                <c:pt idx="165">
                  <c:v>1543.5146610912534</c:v>
                </c:pt>
                <c:pt idx="166">
                  <c:v>1529.4655735561521</c:v>
                </c:pt>
                <c:pt idx="167">
                  <c:v>1515.0626691981038</c:v>
                </c:pt>
                <c:pt idx="168">
                  <c:v>1500.325181473997</c:v>
                </c:pt>
                <c:pt idx="169">
                  <c:v>1485.2719143283566</c:v>
                </c:pt>
                <c:pt idx="170">
                  <c:v>1469.9219746993945</c:v>
                </c:pt>
                <c:pt idx="171">
                  <c:v>1454.2938407099214</c:v>
                </c:pt>
                <c:pt idx="172">
                  <c:v>1438.4086354984336</c:v>
                </c:pt>
                <c:pt idx="173">
                  <c:v>1422.289170980149</c:v>
                </c:pt>
                <c:pt idx="174">
                  <c:v>1405.958131271449</c:v>
                </c:pt>
                <c:pt idx="175">
                  <c:v>1389.4382886818582</c:v>
                </c:pt>
                <c:pt idx="176">
                  <c:v>1372.7517863014632</c:v>
                </c:pt>
                <c:pt idx="177">
                  <c:v>1355.9198274592079</c:v>
                </c:pt>
                <c:pt idx="178">
                  <c:v>1338.9626530210999</c:v>
                </c:pt>
                <c:pt idx="179">
                  <c:v>1321.8995366256718</c:v>
                </c:pt>
                <c:pt idx="180">
                  <c:v>1304.7480061581841</c:v>
                </c:pt>
                <c:pt idx="181">
                  <c:v>1287.5247882388519</c:v>
                </c:pt>
                <c:pt idx="182">
                  <c:v>1270.2458857563975</c:v>
                </c:pt>
                <c:pt idx="183">
                  <c:v>1252.9264493519463</c:v>
                </c:pt>
                <c:pt idx="184">
                  <c:v>1235.5807168696326</c:v>
                </c:pt>
              </c:numCache>
            </c:numRef>
          </c:val>
          <c:smooth val="0"/>
          <c:extLst>
            <c:ext xmlns:c16="http://schemas.microsoft.com/office/drawing/2014/chart" uri="{C3380CC4-5D6E-409C-BE32-E72D297353CC}">
              <c16:uniqueId val="{00000001-8216-4360-A02D-44DD6057B4BC}"/>
            </c:ext>
          </c:extLst>
        </c:ser>
        <c:ser>
          <c:idx val="2"/>
          <c:order val="2"/>
          <c:tx>
            <c:strRef>
              <c:f>Sheet1!$D$1</c:f>
              <c:strCache>
                <c:ptCount val="1"/>
                <c:pt idx="0">
                  <c:v>V3</c:v>
                </c:pt>
              </c:strCache>
            </c:strRef>
          </c:tx>
          <c:spPr>
            <a:ln w="28575" cap="rnd">
              <a:solidFill>
                <a:srgbClr val="4472C4"/>
              </a:solidFill>
              <a:prstDash val="sysDash"/>
              <a:round/>
            </a:ln>
            <a:effectLst/>
          </c:spPr>
          <c:marker>
            <c:symbol val="none"/>
          </c:marker>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D$2:$D$186</c:f>
              <c:numCache>
                <c:formatCode>General</c:formatCode>
                <c:ptCount val="185"/>
                <c:pt idx="122">
                  <c:v>3717.3203728109293</c:v>
                </c:pt>
                <c:pt idx="123">
                  <c:v>3587.2524645937979</c:v>
                </c:pt>
                <c:pt idx="124">
                  <c:v>3459.5956048514786</c:v>
                </c:pt>
                <c:pt idx="125">
                  <c:v>3341.4494120366089</c:v>
                </c:pt>
                <c:pt idx="126">
                  <c:v>3237.6080944700898</c:v>
                </c:pt>
                <c:pt idx="127">
                  <c:v>3154.0826688712214</c:v>
                </c:pt>
                <c:pt idx="128">
                  <c:v>3088.318636930941</c:v>
                </c:pt>
                <c:pt idx="129">
                  <c:v>3040.8462170980793</c:v>
                </c:pt>
                <c:pt idx="130">
                  <c:v>3011.8460315895509</c:v>
                </c:pt>
                <c:pt idx="131">
                  <c:v>3001.3027183391177</c:v>
                </c:pt>
                <c:pt idx="132">
                  <c:v>3009.0043787155414</c:v>
                </c:pt>
                <c:pt idx="133">
                  <c:v>3034.5677322001943</c:v>
                </c:pt>
                <c:pt idx="134">
                  <c:v>3077.428870784544</c:v>
                </c:pt>
                <c:pt idx="135">
                  <c:v>3136.9609149041139</c:v>
                </c:pt>
                <c:pt idx="136">
                  <c:v>3212.4399057505052</c:v>
                </c:pt>
                <c:pt idx="137">
                  <c:v>3303.1101913349512</c:v>
                </c:pt>
                <c:pt idx="138">
                  <c:v>3408.2231995894163</c:v>
                </c:pt>
                <c:pt idx="139">
                  <c:v>3526.8792871828559</c:v>
                </c:pt>
                <c:pt idx="140">
                  <c:v>3657.8296085760094</c:v>
                </c:pt>
                <c:pt idx="141">
                  <c:v>3799.7527494511419</c:v>
                </c:pt>
                <c:pt idx="142">
                  <c:v>3951.4689737158737</c:v>
                </c:pt>
                <c:pt idx="143">
                  <c:v>4111.9367026309465</c:v>
                </c:pt>
                <c:pt idx="144">
                  <c:v>4280.2061316067593</c:v>
                </c:pt>
                <c:pt idx="145">
                  <c:v>4455.3914432630063</c:v>
                </c:pt>
                <c:pt idx="146">
                  <c:v>4636.6394272408079</c:v>
                </c:pt>
                <c:pt idx="147">
                  <c:v>4823.0699885614558</c:v>
                </c:pt>
                <c:pt idx="148">
                  <c:v>5013.8116758517326</c:v>
                </c:pt>
                <c:pt idx="149">
                  <c:v>5208.0304808589881</c:v>
                </c:pt>
                <c:pt idx="150">
                  <c:v>5404.906556110137</c:v>
                </c:pt>
                <c:pt idx="151">
                  <c:v>5603.6478324460131</c:v>
                </c:pt>
                <c:pt idx="152">
                  <c:v>5803.4734582411438</c:v>
                </c:pt>
                <c:pt idx="153">
                  <c:v>6003.6026156830139</c:v>
                </c:pt>
                <c:pt idx="154">
                  <c:v>6203.2394064496939</c:v>
                </c:pt>
                <c:pt idx="155">
                  <c:v>6401.5730008229275</c:v>
                </c:pt>
                <c:pt idx="156">
                  <c:v>6597.7826875276942</c:v>
                </c:pt>
                <c:pt idx="157">
                  <c:v>6791.0348794257998</c:v>
                </c:pt>
                <c:pt idx="158">
                  <c:v>6980.4904842956785</c:v>
                </c:pt>
                <c:pt idx="159">
                  <c:v>7165.31658364547</c:v>
                </c:pt>
                <c:pt idx="160">
                  <c:v>7344.6867079749563</c:v>
                </c:pt>
                <c:pt idx="161">
                  <c:v>7517.8201774854497</c:v>
                </c:pt>
                <c:pt idx="162">
                  <c:v>7683.9679936694802</c:v>
                </c:pt>
                <c:pt idx="163">
                  <c:v>7842.4120483937531</c:v>
                </c:pt>
                <c:pt idx="164">
                  <c:v>7992.4627039589695</c:v>
                </c:pt>
                <c:pt idx="165">
                  <c:v>8133.4739515591327</c:v>
                </c:pt>
                <c:pt idx="166">
                  <c:v>8264.8448342995143</c:v>
                </c:pt>
                <c:pt idx="167">
                  <c:v>8386.018546664267</c:v>
                </c:pt>
                <c:pt idx="168">
                  <c:v>8496.4880602502981</c:v>
                </c:pt>
                <c:pt idx="169">
                  <c:v>8595.7986251349994</c:v>
                </c:pt>
                <c:pt idx="170">
                  <c:v>8683.5501936583878</c:v>
                </c:pt>
                <c:pt idx="171">
                  <c:v>8759.4002919232862</c:v>
                </c:pt>
                <c:pt idx="172">
                  <c:v>8823.0661412435256</c:v>
                </c:pt>
                <c:pt idx="173">
                  <c:v>8874.3240935909489</c:v>
                </c:pt>
                <c:pt idx="174">
                  <c:v>8913.0142797149238</c:v>
                </c:pt>
                <c:pt idx="175">
                  <c:v>8939.0409128273932</c:v>
                </c:pt>
                <c:pt idx="176">
                  <c:v>8952.3703888885793</c:v>
                </c:pt>
                <c:pt idx="177">
                  <c:v>8953.0303147325521</c:v>
                </c:pt>
                <c:pt idx="178">
                  <c:v>8941.1093507829573</c:v>
                </c:pt>
                <c:pt idx="179">
                  <c:v>8916.7564045940835</c:v>
                </c:pt>
                <c:pt idx="180">
                  <c:v>8880.1791920565811</c:v>
                </c:pt>
                <c:pt idx="181">
                  <c:v>8831.6421248784118</c:v>
                </c:pt>
                <c:pt idx="182">
                  <c:v>8771.4635849990609</c:v>
                </c:pt>
                <c:pt idx="183">
                  <c:v>8700.0122798349021</c:v>
                </c:pt>
                <c:pt idx="184">
                  <c:v>8617.7034954934334</c:v>
                </c:pt>
              </c:numCache>
            </c:numRef>
          </c:val>
          <c:smooth val="0"/>
          <c:extLst>
            <c:ext xmlns:c16="http://schemas.microsoft.com/office/drawing/2014/chart" uri="{C3380CC4-5D6E-409C-BE32-E72D297353CC}">
              <c16:uniqueId val="{00000002-8216-4360-A02D-44DD6057B4BC}"/>
            </c:ext>
          </c:extLst>
        </c:ser>
        <c:ser>
          <c:idx val="4"/>
          <c:order val="3"/>
          <c:tx>
            <c:strRef>
              <c:f>Sheet1!$F$1</c:f>
              <c:strCache>
                <c:ptCount val="1"/>
                <c:pt idx="0">
                  <c:v>C</c:v>
                </c:pt>
              </c:strCache>
            </c:strRef>
          </c:tx>
          <c:spPr>
            <a:ln w="28575" cap="rnd">
              <a:solidFill>
                <a:srgbClr val="00B050"/>
              </a:solidFill>
              <a:prstDash val="sysDash"/>
              <a:round/>
            </a:ln>
            <a:effectLst/>
          </c:spPr>
          <c:marker>
            <c:symbol val="none"/>
          </c:marker>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F$2:$F$186</c:f>
              <c:numCache>
                <c:formatCode>General</c:formatCode>
                <c:ptCount val="185"/>
                <c:pt idx="128">
                  <c:v>3088.318636930941</c:v>
                </c:pt>
                <c:pt idx="129">
                  <c:v>3040.8462170980793</c:v>
                </c:pt>
                <c:pt idx="130">
                  <c:v>2993.3737972652175</c:v>
                </c:pt>
                <c:pt idx="131">
                  <c:v>2988.1021406400009</c:v>
                </c:pt>
                <c:pt idx="132">
                  <c:v>2991.952970828213</c:v>
                </c:pt>
                <c:pt idx="133">
                  <c:v>3004.7346475705394</c:v>
                </c:pt>
                <c:pt idx="134">
                  <c:v>3026.1652168627138</c:v>
                </c:pt>
                <c:pt idx="135">
                  <c:v>3055.9312389224992</c:v>
                </c:pt>
                <c:pt idx="136">
                  <c:v>3093.6707343456947</c:v>
                </c:pt>
                <c:pt idx="137">
                  <c:v>3139.0058771379177</c:v>
                </c:pt>
                <c:pt idx="138">
                  <c:v>3191.5623812651497</c:v>
                </c:pt>
                <c:pt idx="139">
                  <c:v>3250.8904250618698</c:v>
                </c:pt>
                <c:pt idx="140">
                  <c:v>3316.3655857584467</c:v>
                </c:pt>
                <c:pt idx="141">
                  <c:v>3387.3271561960128</c:v>
                </c:pt>
                <c:pt idx="142">
                  <c:v>3463.1852683283782</c:v>
                </c:pt>
                <c:pt idx="143">
                  <c:v>3543.4191327859157</c:v>
                </c:pt>
                <c:pt idx="144">
                  <c:v>3627.5538472738222</c:v>
                </c:pt>
                <c:pt idx="145">
                  <c:v>3715.1465031019447</c:v>
                </c:pt>
                <c:pt idx="146">
                  <c:v>3805.770495090846</c:v>
                </c:pt>
                <c:pt idx="147">
                  <c:v>3898.9857757511704</c:v>
                </c:pt>
                <c:pt idx="148">
                  <c:v>3994.3566193963084</c:v>
                </c:pt>
                <c:pt idx="149">
                  <c:v>4091.4660218999365</c:v>
                </c:pt>
                <c:pt idx="150">
                  <c:v>4189.9040595255101</c:v>
                </c:pt>
                <c:pt idx="151">
                  <c:v>4289.2746976934486</c:v>
                </c:pt>
                <c:pt idx="152">
                  <c:v>4389.1875105910149</c:v>
                </c:pt>
                <c:pt idx="153">
                  <c:v>4489.252089311949</c:v>
                </c:pt>
                <c:pt idx="154">
                  <c:v>4589.0704846952885</c:v>
                </c:pt>
                <c:pt idx="155">
                  <c:v>4688.2372818819058</c:v>
                </c:pt>
                <c:pt idx="156">
                  <c:v>4786.3421252342905</c:v>
                </c:pt>
                <c:pt idx="157">
                  <c:v>4882.9682211833424</c:v>
                </c:pt>
                <c:pt idx="158">
                  <c:v>4977.6960236182822</c:v>
                </c:pt>
                <c:pt idx="159">
                  <c:v>5070.1090732931771</c:v>
                </c:pt>
                <c:pt idx="160">
                  <c:v>5159.7941354579216</c:v>
                </c:pt>
                <c:pt idx="161">
                  <c:v>5246.3608702131678</c:v>
                </c:pt>
                <c:pt idx="162">
                  <c:v>5329.4347783051817</c:v>
                </c:pt>
                <c:pt idx="163">
                  <c:v>5408.6568056673186</c:v>
                </c:pt>
                <c:pt idx="164">
                  <c:v>5483.6821334499273</c:v>
                </c:pt>
                <c:pt idx="165">
                  <c:v>5554.1877572500089</c:v>
                </c:pt>
                <c:pt idx="166">
                  <c:v>5619.8731986201983</c:v>
                </c:pt>
                <c:pt idx="167">
                  <c:v>5680.4600548025755</c:v>
                </c:pt>
                <c:pt idx="168">
                  <c:v>5735.6948115955929</c:v>
                </c:pt>
                <c:pt idx="169">
                  <c:v>5785.3500940379417</c:v>
                </c:pt>
                <c:pt idx="170">
                  <c:v>5829.2258782996378</c:v>
                </c:pt>
                <c:pt idx="171">
                  <c:v>5867.1509274320852</c:v>
                </c:pt>
                <c:pt idx="172">
                  <c:v>5898.9838520922058</c:v>
                </c:pt>
                <c:pt idx="173">
                  <c:v>5924.6128282659174</c:v>
                </c:pt>
                <c:pt idx="174">
                  <c:v>5943.9579213279048</c:v>
                </c:pt>
                <c:pt idx="175">
                  <c:v>5956.9712378841396</c:v>
                </c:pt>
                <c:pt idx="176">
                  <c:v>5963.6359759147308</c:v>
                </c:pt>
                <c:pt idx="177">
                  <c:v>5963.9659388367181</c:v>
                </c:pt>
                <c:pt idx="178">
                  <c:v>5958.0054568619216</c:v>
                </c:pt>
                <c:pt idx="179">
                  <c:v>5945.8289837674856</c:v>
                </c:pt>
                <c:pt idx="180">
                  <c:v>5927.5403774987335</c:v>
                </c:pt>
                <c:pt idx="181">
                  <c:v>5903.2718439096479</c:v>
                </c:pt>
                <c:pt idx="182">
                  <c:v>5873.1825739699743</c:v>
                </c:pt>
                <c:pt idx="183">
                  <c:v>5837.4569213878949</c:v>
                </c:pt>
                <c:pt idx="184">
                  <c:v>5796.3025292171606</c:v>
                </c:pt>
              </c:numCache>
            </c:numRef>
          </c:val>
          <c:smooth val="0"/>
          <c:extLst>
            <c:ext xmlns:c16="http://schemas.microsoft.com/office/drawing/2014/chart" uri="{C3380CC4-5D6E-409C-BE32-E72D297353CC}">
              <c16:uniqueId val="{00000006-EDB9-4256-AE28-72A2561918A2}"/>
            </c:ext>
          </c:extLst>
        </c:ser>
        <c:dLbls>
          <c:showLegendKey val="0"/>
          <c:showVal val="0"/>
          <c:showCatName val="0"/>
          <c:showSerName val="0"/>
          <c:showPercent val="0"/>
          <c:showBubbleSize val="0"/>
        </c:dLbls>
        <c:marker val="1"/>
        <c:smooth val="0"/>
        <c:axId val="207093791"/>
        <c:axId val="209778303"/>
      </c:lineChart>
      <c:catAx>
        <c:axId val="207093791"/>
        <c:scaling>
          <c:orientation val="minMax"/>
        </c:scaling>
        <c:delete val="0"/>
        <c:axPos val="b"/>
        <c:numFmt formatCode="m/d/yyyy" sourceLinked="1"/>
        <c:majorTickMark val="none"/>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209778303"/>
        <c:crosses val="autoZero"/>
        <c:auto val="1"/>
        <c:lblAlgn val="ctr"/>
        <c:lblOffset val="100"/>
        <c:tickLblSkip val="7"/>
        <c:noMultiLvlLbl val="1"/>
      </c:catAx>
      <c:valAx>
        <c:axId val="209778303"/>
        <c:scaling>
          <c:orientation val="minMax"/>
          <c:max val="120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207093791"/>
        <c:crosses val="autoZero"/>
        <c:crossBetween val="between"/>
      </c:valAx>
      <c:spPr>
        <a:noFill/>
        <a:ln>
          <a:noFill/>
        </a:ln>
        <a:effectLst/>
      </c:spPr>
    </c:plotArea>
    <c:legend>
      <c:legendPos val="t"/>
      <c:legendEntry>
        <c:idx val="1"/>
        <c:delete val="1"/>
      </c:legendEntry>
      <c:legendEntry>
        <c:idx val="2"/>
        <c:delete val="1"/>
      </c:legendEntry>
      <c:legendEntry>
        <c:idx val="3"/>
        <c:delete val="1"/>
      </c:legendEntry>
      <c:legendEntry>
        <c:idx val="4"/>
        <c:delete val="1"/>
      </c:legendEntry>
      <c:layout>
        <c:manualLayout>
          <c:xMode val="edge"/>
          <c:yMode val="edge"/>
          <c:x val="0.16985079028679401"/>
          <c:y val="0.29765623168945426"/>
          <c:w val="0.14188217964413682"/>
          <c:h val="4.7962349411764922E-2"/>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5"/>
          <c:order val="4"/>
          <c:tx>
            <c:strRef>
              <c:f>Sheet1!$G$1</c:f>
              <c:strCache>
                <c:ptCount val="1"/>
                <c:pt idx="0">
                  <c:v>Reálná data</c:v>
                </c:pt>
              </c:strCache>
            </c:strRef>
          </c:tx>
          <c:spPr>
            <a:solidFill>
              <a:schemeClr val="bg1">
                <a:lumMod val="85000"/>
              </a:schemeClr>
            </a:solidFill>
            <a:ln>
              <a:noFill/>
            </a:ln>
            <a:effectLst/>
          </c:spPr>
          <c:invertIfNegative val="0"/>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G$2:$G$186</c:f>
              <c:numCache>
                <c:formatCode>General</c:formatCode>
                <c:ptCount val="185"/>
                <c:pt idx="0">
                  <c:v>12</c:v>
                </c:pt>
                <c:pt idx="1">
                  <c:v>14</c:v>
                </c:pt>
                <c:pt idx="2">
                  <c:v>14</c:v>
                </c:pt>
                <c:pt idx="3">
                  <c:v>16</c:v>
                </c:pt>
                <c:pt idx="4">
                  <c:v>16</c:v>
                </c:pt>
                <c:pt idx="5">
                  <c:v>23</c:v>
                </c:pt>
                <c:pt idx="6">
                  <c:v>26</c:v>
                </c:pt>
                <c:pt idx="7">
                  <c:v>24</c:v>
                </c:pt>
                <c:pt idx="8">
                  <c:v>22</c:v>
                </c:pt>
                <c:pt idx="9">
                  <c:v>24</c:v>
                </c:pt>
                <c:pt idx="10">
                  <c:v>27</c:v>
                </c:pt>
                <c:pt idx="11">
                  <c:v>31</c:v>
                </c:pt>
                <c:pt idx="12">
                  <c:v>35</c:v>
                </c:pt>
                <c:pt idx="13">
                  <c:v>41</c:v>
                </c:pt>
                <c:pt idx="14">
                  <c:v>38</c:v>
                </c:pt>
                <c:pt idx="15">
                  <c:v>43</c:v>
                </c:pt>
                <c:pt idx="16">
                  <c:v>46</c:v>
                </c:pt>
                <c:pt idx="17">
                  <c:v>43</c:v>
                </c:pt>
                <c:pt idx="18">
                  <c:v>40</c:v>
                </c:pt>
                <c:pt idx="19">
                  <c:v>42</c:v>
                </c:pt>
                <c:pt idx="20">
                  <c:v>40</c:v>
                </c:pt>
                <c:pt idx="21">
                  <c:v>38</c:v>
                </c:pt>
                <c:pt idx="22">
                  <c:v>38</c:v>
                </c:pt>
                <c:pt idx="23">
                  <c:v>42</c:v>
                </c:pt>
                <c:pt idx="24">
                  <c:v>46</c:v>
                </c:pt>
                <c:pt idx="25">
                  <c:v>45</c:v>
                </c:pt>
                <c:pt idx="26">
                  <c:v>49</c:v>
                </c:pt>
                <c:pt idx="27">
                  <c:v>53</c:v>
                </c:pt>
                <c:pt idx="28">
                  <c:v>51</c:v>
                </c:pt>
                <c:pt idx="29">
                  <c:v>50</c:v>
                </c:pt>
                <c:pt idx="30">
                  <c:v>45</c:v>
                </c:pt>
                <c:pt idx="31">
                  <c:v>44</c:v>
                </c:pt>
                <c:pt idx="32">
                  <c:v>52</c:v>
                </c:pt>
                <c:pt idx="33">
                  <c:v>58</c:v>
                </c:pt>
                <c:pt idx="34">
                  <c:v>72</c:v>
                </c:pt>
                <c:pt idx="35">
                  <c:v>86</c:v>
                </c:pt>
                <c:pt idx="36">
                  <c:v>75</c:v>
                </c:pt>
                <c:pt idx="37">
                  <c:v>78</c:v>
                </c:pt>
                <c:pt idx="38">
                  <c:v>77</c:v>
                </c:pt>
                <c:pt idx="39">
                  <c:v>77</c:v>
                </c:pt>
                <c:pt idx="40">
                  <c:v>99</c:v>
                </c:pt>
                <c:pt idx="41">
                  <c:v>113</c:v>
                </c:pt>
                <c:pt idx="42">
                  <c:v>114</c:v>
                </c:pt>
                <c:pt idx="43">
                  <c:v>116</c:v>
                </c:pt>
                <c:pt idx="44">
                  <c:v>115</c:v>
                </c:pt>
                <c:pt idx="45">
                  <c:v>112</c:v>
                </c:pt>
                <c:pt idx="46">
                  <c:v>116</c:v>
                </c:pt>
                <c:pt idx="47">
                  <c:v>133</c:v>
                </c:pt>
                <c:pt idx="48">
                  <c:v>146</c:v>
                </c:pt>
                <c:pt idx="49">
                  <c:v>138</c:v>
                </c:pt>
                <c:pt idx="50">
                  <c:v>142</c:v>
                </c:pt>
                <c:pt idx="51">
                  <c:v>153</c:v>
                </c:pt>
                <c:pt idx="52">
                  <c:v>151</c:v>
                </c:pt>
                <c:pt idx="53">
                  <c:v>163</c:v>
                </c:pt>
                <c:pt idx="54">
                  <c:v>171</c:v>
                </c:pt>
                <c:pt idx="55">
                  <c:v>194</c:v>
                </c:pt>
                <c:pt idx="56">
                  <c:v>216</c:v>
                </c:pt>
                <c:pt idx="57">
                  <c:v>210</c:v>
                </c:pt>
                <c:pt idx="58">
                  <c:v>234</c:v>
                </c:pt>
                <c:pt idx="59">
                  <c:v>238</c:v>
                </c:pt>
                <c:pt idx="60">
                  <c:v>267</c:v>
                </c:pt>
                <c:pt idx="61">
                  <c:v>311</c:v>
                </c:pt>
                <c:pt idx="62">
                  <c:v>318</c:v>
                </c:pt>
                <c:pt idx="63">
                  <c:v>345</c:v>
                </c:pt>
                <c:pt idx="64">
                  <c:v>345</c:v>
                </c:pt>
                <c:pt idx="65">
                  <c:v>384</c:v>
                </c:pt>
                <c:pt idx="66">
                  <c:v>389</c:v>
                </c:pt>
                <c:pt idx="67">
                  <c:v>424</c:v>
                </c:pt>
                <c:pt idx="68">
                  <c:v>471</c:v>
                </c:pt>
                <c:pt idx="69">
                  <c:v>487</c:v>
                </c:pt>
                <c:pt idx="70">
                  <c:v>511</c:v>
                </c:pt>
                <c:pt idx="71">
                  <c:v>519</c:v>
                </c:pt>
                <c:pt idx="72">
                  <c:v>527</c:v>
                </c:pt>
                <c:pt idx="73">
                  <c:v>561</c:v>
                </c:pt>
                <c:pt idx="74">
                  <c:v>601</c:v>
                </c:pt>
                <c:pt idx="75">
                  <c:v>644</c:v>
                </c:pt>
                <c:pt idx="76">
                  <c:v>651</c:v>
                </c:pt>
                <c:pt idx="77">
                  <c:v>691</c:v>
                </c:pt>
                <c:pt idx="78">
                  <c:v>716</c:v>
                </c:pt>
                <c:pt idx="79">
                  <c:v>745</c:v>
                </c:pt>
                <c:pt idx="80">
                  <c:v>753</c:v>
                </c:pt>
                <c:pt idx="81">
                  <c:v>782</c:v>
                </c:pt>
                <c:pt idx="82">
                  <c:v>817</c:v>
                </c:pt>
                <c:pt idx="83">
                  <c:v>859</c:v>
                </c:pt>
                <c:pt idx="84">
                  <c:v>869</c:v>
                </c:pt>
                <c:pt idx="85">
                  <c:v>895</c:v>
                </c:pt>
                <c:pt idx="86">
                  <c:v>914</c:v>
                </c:pt>
                <c:pt idx="87">
                  <c:v>929</c:v>
                </c:pt>
                <c:pt idx="88">
                  <c:v>941</c:v>
                </c:pt>
                <c:pt idx="89">
                  <c:v>985</c:v>
                </c:pt>
                <c:pt idx="90">
                  <c:v>989</c:v>
                </c:pt>
                <c:pt idx="91">
                  <c:v>981</c:v>
                </c:pt>
                <c:pt idx="92">
                  <c:v>973</c:v>
                </c:pt>
                <c:pt idx="93">
                  <c:v>968</c:v>
                </c:pt>
                <c:pt idx="94">
                  <c:v>938</c:v>
                </c:pt>
                <c:pt idx="95">
                  <c:v>965</c:v>
                </c:pt>
                <c:pt idx="96">
                  <c:v>987</c:v>
                </c:pt>
                <c:pt idx="97">
                  <c:v>994</c:v>
                </c:pt>
                <c:pt idx="98">
                  <c:v>994</c:v>
                </c:pt>
                <c:pt idx="99">
                  <c:v>1005</c:v>
                </c:pt>
                <c:pt idx="100">
                  <c:v>975</c:v>
                </c:pt>
                <c:pt idx="101">
                  <c:v>956</c:v>
                </c:pt>
                <c:pt idx="102">
                  <c:v>972</c:v>
                </c:pt>
                <c:pt idx="103">
                  <c:v>991</c:v>
                </c:pt>
                <c:pt idx="104">
                  <c:v>963</c:v>
                </c:pt>
                <c:pt idx="105">
                  <c:v>929</c:v>
                </c:pt>
                <c:pt idx="106">
                  <c:v>878</c:v>
                </c:pt>
                <c:pt idx="107">
                  <c:v>858</c:v>
                </c:pt>
                <c:pt idx="108">
                  <c:v>801</c:v>
                </c:pt>
                <c:pt idx="109">
                  <c:v>808</c:v>
                </c:pt>
                <c:pt idx="110">
                  <c:v>868</c:v>
                </c:pt>
                <c:pt idx="111">
                  <c:v>854</c:v>
                </c:pt>
                <c:pt idx="112">
                  <c:v>810</c:v>
                </c:pt>
                <c:pt idx="113">
                  <c:v>764</c:v>
                </c:pt>
                <c:pt idx="114">
                  <c:v>696</c:v>
                </c:pt>
                <c:pt idx="115">
                  <c:v>683</c:v>
                </c:pt>
                <c:pt idx="116">
                  <c:v>698</c:v>
                </c:pt>
                <c:pt idx="117">
                  <c:v>726</c:v>
                </c:pt>
                <c:pt idx="118">
                  <c:v>705</c:v>
                </c:pt>
                <c:pt idx="119">
                  <c:v>688</c:v>
                </c:pt>
                <c:pt idx="120">
                  <c:v>644</c:v>
                </c:pt>
                <c:pt idx="121">
                  <c:v>616</c:v>
                </c:pt>
                <c:pt idx="122">
                  <c:v>595</c:v>
                </c:pt>
                <c:pt idx="123">
                  <c:v>587</c:v>
                </c:pt>
                <c:pt idx="124">
                  <c:v>576</c:v>
                </c:pt>
                <c:pt idx="125">
                  <c:v>562</c:v>
                </c:pt>
                <c:pt idx="126">
                  <c:v>533</c:v>
                </c:pt>
                <c:pt idx="127">
                  <c:v>536</c:v>
                </c:pt>
                <c:pt idx="128">
                  <c:v>505</c:v>
                </c:pt>
                <c:pt idx="129">
                  <c:v>489</c:v>
                </c:pt>
                <c:pt idx="130">
                  <c:v>474</c:v>
                </c:pt>
                <c:pt idx="131">
                  <c:v>491</c:v>
                </c:pt>
                <c:pt idx="132">
                  <c:v>455</c:v>
                </c:pt>
                <c:pt idx="133">
                  <c:v>410</c:v>
                </c:pt>
                <c:pt idx="134">
                  <c:v>373</c:v>
                </c:pt>
                <c:pt idx="135">
                  <c:v>354</c:v>
                </c:pt>
                <c:pt idx="136">
                  <c:v>329</c:v>
                </c:pt>
              </c:numCache>
            </c:numRef>
          </c:val>
          <c:extLst>
            <c:ext xmlns:c16="http://schemas.microsoft.com/office/drawing/2014/chart" uri="{C3380CC4-5D6E-409C-BE32-E72D297353CC}">
              <c16:uniqueId val="{00000000-1358-4843-A083-9E75CCD15D58}"/>
            </c:ext>
          </c:extLst>
        </c:ser>
        <c:dLbls>
          <c:showLegendKey val="0"/>
          <c:showVal val="0"/>
          <c:showCatName val="0"/>
          <c:showSerName val="0"/>
          <c:showPercent val="0"/>
          <c:showBubbleSize val="0"/>
        </c:dLbls>
        <c:gapWidth val="50"/>
        <c:axId val="207093791"/>
        <c:axId val="209778303"/>
      </c:barChart>
      <c:lineChart>
        <c:grouping val="standard"/>
        <c:varyColors val="0"/>
        <c:ser>
          <c:idx val="0"/>
          <c:order val="0"/>
          <c:tx>
            <c:strRef>
              <c:f>Sheet1!$E$1</c:f>
              <c:strCache>
                <c:ptCount val="1"/>
                <c:pt idx="0">
                  <c:v>B</c:v>
                </c:pt>
              </c:strCache>
            </c:strRef>
          </c:tx>
          <c:spPr>
            <a:ln w="28575" cap="rnd">
              <a:solidFill>
                <a:srgbClr val="C00000"/>
              </a:solidFill>
              <a:prstDash val="sysDot"/>
              <a:round/>
            </a:ln>
            <a:effectLst/>
          </c:spPr>
          <c:marker>
            <c:symbol val="none"/>
          </c:marker>
          <c:val>
            <c:numRef>
              <c:f>Sheet1!$E$2:$E$186</c:f>
              <c:numCache>
                <c:formatCode>General</c:formatCode>
                <c:ptCount val="185"/>
                <c:pt idx="0">
                  <c:v>2.1499938108275587</c:v>
                </c:pt>
                <c:pt idx="1">
                  <c:v>2.1489942988240536</c:v>
                </c:pt>
                <c:pt idx="2">
                  <c:v>2.1563756917328081</c:v>
                </c:pt>
                <c:pt idx="3">
                  <c:v>2.2220662509694518</c:v>
                </c:pt>
                <c:pt idx="4">
                  <c:v>2.3490076857795001</c:v>
                </c:pt>
                <c:pt idx="5">
                  <c:v>2.5056648229639888</c:v>
                </c:pt>
                <c:pt idx="6">
                  <c:v>2.6689272128599746</c:v>
                </c:pt>
                <c:pt idx="7">
                  <c:v>2.7597022170835119</c:v>
                </c:pt>
                <c:pt idx="8">
                  <c:v>2.7634894993383736</c:v>
                </c:pt>
                <c:pt idx="9">
                  <c:v>2.7844883124857778</c:v>
                </c:pt>
                <c:pt idx="10">
                  <c:v>0.20709584228404368</c:v>
                </c:pt>
                <c:pt idx="11">
                  <c:v>0.55286125342098946</c:v>
                </c:pt>
                <c:pt idx="12">
                  <c:v>0.92492594653068261</c:v>
                </c:pt>
                <c:pt idx="13">
                  <c:v>1.3428704468709667</c:v>
                </c:pt>
                <c:pt idx="14">
                  <c:v>1.8215746154633203</c:v>
                </c:pt>
                <c:pt idx="15">
                  <c:v>2.474726350772896</c:v>
                </c:pt>
                <c:pt idx="16">
                  <c:v>3.2262958173138752</c:v>
                </c:pt>
                <c:pt idx="17">
                  <c:v>4.0752726566685098</c:v>
                </c:pt>
                <c:pt idx="18">
                  <c:v>4.964831800229037</c:v>
                </c:pt>
                <c:pt idx="19">
                  <c:v>5.9796446817234861</c:v>
                </c:pt>
                <c:pt idx="20">
                  <c:v>6.9865220280905787</c:v>
                </c:pt>
                <c:pt idx="21">
                  <c:v>8.1285182926197859</c:v>
                </c:pt>
                <c:pt idx="22">
                  <c:v>9.1804172488551359</c:v>
                </c:pt>
                <c:pt idx="23">
                  <c:v>10.418830696230001</c:v>
                </c:pt>
                <c:pt idx="24">
                  <c:v>11.78672416277089</c:v>
                </c:pt>
                <c:pt idx="25">
                  <c:v>13.30313543074859</c:v>
                </c:pt>
                <c:pt idx="26">
                  <c:v>14.947197294775943</c:v>
                </c:pt>
                <c:pt idx="27">
                  <c:v>16.977580490328688</c:v>
                </c:pt>
                <c:pt idx="28">
                  <c:v>18.948832729355825</c:v>
                </c:pt>
                <c:pt idx="29">
                  <c:v>21.035005821232751</c:v>
                </c:pt>
                <c:pt idx="30">
                  <c:v>22.79008070672829</c:v>
                </c:pt>
                <c:pt idx="31">
                  <c:v>24.283364648339056</c:v>
                </c:pt>
                <c:pt idx="32">
                  <c:v>26.458338629574964</c:v>
                </c:pt>
                <c:pt idx="33">
                  <c:v>28.646989117777778</c:v>
                </c:pt>
                <c:pt idx="34">
                  <c:v>31.489840034288211</c:v>
                </c:pt>
                <c:pt idx="35">
                  <c:v>35.917569727058805</c:v>
                </c:pt>
                <c:pt idx="36">
                  <c:v>40.173210690576973</c:v>
                </c:pt>
                <c:pt idx="37">
                  <c:v>44.917326484515712</c:v>
                </c:pt>
                <c:pt idx="38">
                  <c:v>50.222859935349035</c:v>
                </c:pt>
                <c:pt idx="39">
                  <c:v>55.047065351332463</c:v>
                </c:pt>
                <c:pt idx="40">
                  <c:v>61.622436562134602</c:v>
                </c:pt>
                <c:pt idx="41">
                  <c:v>68.056789909912723</c:v>
                </c:pt>
                <c:pt idx="42">
                  <c:v>73.64408921424284</c:v>
                </c:pt>
                <c:pt idx="43">
                  <c:v>80.619933129478653</c:v>
                </c:pt>
                <c:pt idx="44">
                  <c:v>88.07899661871042</c:v>
                </c:pt>
                <c:pt idx="45">
                  <c:v>95.99289157549795</c:v>
                </c:pt>
                <c:pt idx="46">
                  <c:v>105.14804756840543</c:v>
                </c:pt>
                <c:pt idx="47">
                  <c:v>113.32509751051417</c:v>
                </c:pt>
                <c:pt idx="48">
                  <c:v>120.30662358525673</c:v>
                </c:pt>
                <c:pt idx="49">
                  <c:v>126.35260730869122</c:v>
                </c:pt>
                <c:pt idx="50">
                  <c:v>132.55700194229081</c:v>
                </c:pt>
                <c:pt idx="51">
                  <c:v>140.21559433107447</c:v>
                </c:pt>
                <c:pt idx="52">
                  <c:v>147.70800294563014</c:v>
                </c:pt>
                <c:pt idx="53">
                  <c:v>155.93072542142394</c:v>
                </c:pt>
                <c:pt idx="54">
                  <c:v>163.49652986130411</c:v>
                </c:pt>
                <c:pt idx="55">
                  <c:v>171.65081493185716</c:v>
                </c:pt>
                <c:pt idx="56">
                  <c:v>184.77767711514741</c:v>
                </c:pt>
                <c:pt idx="57">
                  <c:v>199.22673147933284</c:v>
                </c:pt>
                <c:pt idx="58">
                  <c:v>214.28313321665527</c:v>
                </c:pt>
                <c:pt idx="59">
                  <c:v>231.28268874017573</c:v>
                </c:pt>
                <c:pt idx="60">
                  <c:v>250.2023933218222</c:v>
                </c:pt>
                <c:pt idx="61">
                  <c:v>273.55373933241361</c:v>
                </c:pt>
                <c:pt idx="62">
                  <c:v>294.60134620266598</c:v>
                </c:pt>
                <c:pt idx="63">
                  <c:v>314.45124331739214</c:v>
                </c:pt>
                <c:pt idx="64">
                  <c:v>332.5686204660027</c:v>
                </c:pt>
                <c:pt idx="65">
                  <c:v>353.67984779847114</c:v>
                </c:pt>
                <c:pt idx="66">
                  <c:v>374.76843161274172</c:v>
                </c:pt>
                <c:pt idx="67">
                  <c:v>395.45393621540632</c:v>
                </c:pt>
                <c:pt idx="68">
                  <c:v>416.22658895811321</c:v>
                </c:pt>
                <c:pt idx="69">
                  <c:v>439.49680756860073</c:v>
                </c:pt>
                <c:pt idx="70">
                  <c:v>463.80650615405699</c:v>
                </c:pt>
                <c:pt idx="71">
                  <c:v>491.69529048648286</c:v>
                </c:pt>
                <c:pt idx="72">
                  <c:v>514.62782032996608</c:v>
                </c:pt>
                <c:pt idx="73">
                  <c:v>542.76377346828315</c:v>
                </c:pt>
                <c:pt idx="74">
                  <c:v>571.70415232551045</c:v>
                </c:pt>
                <c:pt idx="75">
                  <c:v>598.1235515957876</c:v>
                </c:pt>
                <c:pt idx="76">
                  <c:v>627.01965865816146</c:v>
                </c:pt>
                <c:pt idx="77">
                  <c:v>662.56637295883513</c:v>
                </c:pt>
                <c:pt idx="78">
                  <c:v>696.77991904977682</c:v>
                </c:pt>
                <c:pt idx="79">
                  <c:v>736.21371531368322</c:v>
                </c:pt>
                <c:pt idx="80">
                  <c:v>772.53255554566829</c:v>
                </c:pt>
                <c:pt idx="81">
                  <c:v>805.78382447843671</c:v>
                </c:pt>
                <c:pt idx="82">
                  <c:v>841.9893416438631</c:v>
                </c:pt>
                <c:pt idx="83">
                  <c:v>882.02158240072845</c:v>
                </c:pt>
                <c:pt idx="84">
                  <c:v>910.91403168216937</c:v>
                </c:pt>
                <c:pt idx="85">
                  <c:v>942.67992886788625</c:v>
                </c:pt>
                <c:pt idx="86">
                  <c:v>970.43554108544595</c:v>
                </c:pt>
                <c:pt idx="87">
                  <c:v>997.78119122566216</c:v>
                </c:pt>
                <c:pt idx="88">
                  <c:v>1019.29769693552</c:v>
                </c:pt>
                <c:pt idx="89">
                  <c:v>1038.1767751657321</c:v>
                </c:pt>
                <c:pt idx="90">
                  <c:v>1051.0202288728483</c:v>
                </c:pt>
                <c:pt idx="91">
                  <c:v>1060.944426202873</c:v>
                </c:pt>
                <c:pt idx="92">
                  <c:v>1064.9020645552769</c:v>
                </c:pt>
                <c:pt idx="93">
                  <c:v>1065.6035332043584</c:v>
                </c:pt>
                <c:pt idx="94">
                  <c:v>1063.2218293980754</c:v>
                </c:pt>
                <c:pt idx="95">
                  <c:v>1057.9437089167161</c:v>
                </c:pt>
                <c:pt idx="96">
                  <c:v>1049.9571750530026</c:v>
                </c:pt>
                <c:pt idx="97">
                  <c:v>1039.4801235543416</c:v>
                </c:pt>
                <c:pt idx="98">
                  <c:v>1026.8050483601664</c:v>
                </c:pt>
                <c:pt idx="99">
                  <c:v>1011.1816261834061</c:v>
                </c:pt>
                <c:pt idx="100">
                  <c:v>993.97312723803236</c:v>
                </c:pt>
                <c:pt idx="101">
                  <c:v>975.42218856806994</c:v>
                </c:pt>
                <c:pt idx="102">
                  <c:v>955.74204142953727</c:v>
                </c:pt>
                <c:pt idx="103">
                  <c:v>935.12138406555948</c:v>
                </c:pt>
                <c:pt idx="104">
                  <c:v>913.72821583057805</c:v>
                </c:pt>
                <c:pt idx="105">
                  <c:v>891.72266867301209</c:v>
                </c:pt>
                <c:pt idx="106">
                  <c:v>870.19056168921099</c:v>
                </c:pt>
                <c:pt idx="107">
                  <c:v>848.2783968043841</c:v>
                </c:pt>
                <c:pt idx="108">
                  <c:v>826.09522655285684</c:v>
                </c:pt>
                <c:pt idx="109">
                  <c:v>803.7345113132003</c:v>
                </c:pt>
                <c:pt idx="110">
                  <c:v>781.27745039129161</c:v>
                </c:pt>
                <c:pt idx="111">
                  <c:v>758.79312829906974</c:v>
                </c:pt>
                <c:pt idx="112">
                  <c:v>736.34273933010911</c:v>
                </c:pt>
                <c:pt idx="113">
                  <c:v>714.76896532338731</c:v>
                </c:pt>
                <c:pt idx="114">
                  <c:v>693.28816508878606</c:v>
                </c:pt>
                <c:pt idx="115">
                  <c:v>671.94442658932269</c:v>
                </c:pt>
                <c:pt idx="116">
                  <c:v>650.77884492202975</c:v>
                </c:pt>
                <c:pt idx="117">
                  <c:v>629.82785589255423</c:v>
                </c:pt>
                <c:pt idx="118">
                  <c:v>609.12231583988466</c:v>
                </c:pt>
                <c:pt idx="119">
                  <c:v>588.68959493554769</c:v>
                </c:pt>
                <c:pt idx="120">
                  <c:v>569.19261238671868</c:v>
                </c:pt>
                <c:pt idx="121">
                  <c:v>549.73777576364239</c:v>
                </c:pt>
                <c:pt idx="122">
                  <c:v>539.97567465497059</c:v>
                </c:pt>
                <c:pt idx="123">
                  <c:v>530.37703878424622</c:v>
                </c:pt>
              </c:numCache>
            </c:numRef>
          </c:val>
          <c:smooth val="0"/>
          <c:extLst>
            <c:ext xmlns:c16="http://schemas.microsoft.com/office/drawing/2014/chart" uri="{C3380CC4-5D6E-409C-BE32-E72D297353CC}">
              <c16:uniqueId val="{00000001-1358-4843-A083-9E75CCD15D58}"/>
            </c:ext>
          </c:extLst>
        </c:ser>
        <c:ser>
          <c:idx val="1"/>
          <c:order val="1"/>
          <c:tx>
            <c:strRef>
              <c:f>Sheet1!$C$1</c:f>
              <c:strCache>
                <c:ptCount val="1"/>
                <c:pt idx="0">
                  <c:v>V2</c:v>
                </c:pt>
              </c:strCache>
            </c:strRef>
          </c:tx>
          <c:spPr>
            <a:ln w="28575" cap="rnd">
              <a:solidFill>
                <a:srgbClr val="FF9900"/>
              </a:solidFill>
              <a:prstDash val="solid"/>
              <a:round/>
            </a:ln>
            <a:effectLst/>
          </c:spPr>
          <c:marker>
            <c:symbol val="none"/>
          </c:marker>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C$2:$C$186</c:f>
              <c:numCache>
                <c:formatCode>General</c:formatCode>
                <c:ptCount val="185"/>
                <c:pt idx="122">
                  <c:v>531.06870896275336</c:v>
                </c:pt>
                <c:pt idx="123">
                  <c:v>512.48677650420518</c:v>
                </c:pt>
                <c:pt idx="124">
                  <c:v>494.24929442182855</c:v>
                </c:pt>
                <c:pt idx="125">
                  <c:v>476.37166385925991</c:v>
                </c:pt>
                <c:pt idx="126">
                  <c:v>458.86700243556277</c:v>
                </c:pt>
                <c:pt idx="127">
                  <c:v>442.24450407417885</c:v>
                </c:pt>
                <c:pt idx="128">
                  <c:v>425.9789175497458</c:v>
                </c:pt>
                <c:pt idx="129">
                  <c:v>410.07925837795983</c:v>
                </c:pt>
                <c:pt idx="130">
                  <c:v>394.55301338654505</c:v>
                </c:pt>
                <c:pt idx="131">
                  <c:v>379.40666655287828</c:v>
                </c:pt>
                <c:pt idx="132">
                  <c:v>364.938081911832</c:v>
                </c:pt>
                <c:pt idx="133">
                  <c:v>351.34880160323451</c:v>
                </c:pt>
                <c:pt idx="134">
                  <c:v>338.73424300405543</c:v>
                </c:pt>
                <c:pt idx="135">
                  <c:v>327.12505919583464</c:v>
                </c:pt>
                <c:pt idx="136">
                  <c:v>316.51603557659615</c:v>
                </c:pt>
                <c:pt idx="137">
                  <c:v>306.8823202417754</c:v>
                </c:pt>
                <c:pt idx="138">
                  <c:v>298.18796656555611</c:v>
                </c:pt>
                <c:pt idx="139">
                  <c:v>290.38750420492232</c:v>
                </c:pt>
                <c:pt idx="140">
                  <c:v>283.42800118808822</c:v>
                </c:pt>
                <c:pt idx="141">
                  <c:v>277.24938634024738</c:v>
                </c:pt>
                <c:pt idx="142">
                  <c:v>271.7901239807095</c:v>
                </c:pt>
                <c:pt idx="143">
                  <c:v>266.9864776554283</c:v>
                </c:pt>
                <c:pt idx="144">
                  <c:v>262.77569759856374</c:v>
                </c:pt>
                <c:pt idx="145">
                  <c:v>259.09802764894295</c:v>
                </c:pt>
                <c:pt idx="146">
                  <c:v>255.89037397781516</c:v>
                </c:pt>
                <c:pt idx="147">
                  <c:v>253.07832081749058</c:v>
                </c:pt>
                <c:pt idx="148">
                  <c:v>250.58794500798206</c:v>
                </c:pt>
                <c:pt idx="149">
                  <c:v>248.3552549320971</c:v>
                </c:pt>
                <c:pt idx="150">
                  <c:v>246.32640922790671</c:v>
                </c:pt>
                <c:pt idx="151">
                  <c:v>244.45579039767617</c:v>
                </c:pt>
                <c:pt idx="152">
                  <c:v>242.70466204899367</c:v>
                </c:pt>
                <c:pt idx="153">
                  <c:v>241.03963019050209</c:v>
                </c:pt>
                <c:pt idx="154">
                  <c:v>239.4299293624334</c:v>
                </c:pt>
                <c:pt idx="155">
                  <c:v>237.84872641330512</c:v>
                </c:pt>
                <c:pt idx="156">
                  <c:v>236.2741715915362</c:v>
                </c:pt>
                <c:pt idx="157">
                  <c:v>234.68829421478921</c:v>
                </c:pt>
                <c:pt idx="158">
                  <c:v>233.07733613393634</c:v>
                </c:pt>
                <c:pt idx="159">
                  <c:v>231.43082296500617</c:v>
                </c:pt>
                <c:pt idx="160">
                  <c:v>229.74084137336703</c:v>
                </c:pt>
                <c:pt idx="161">
                  <c:v>228.00198730637354</c:v>
                </c:pt>
                <c:pt idx="162">
                  <c:v>226.21086589821056</c:v>
                </c:pt>
                <c:pt idx="163">
                  <c:v>224.36571321938723</c:v>
                </c:pt>
                <c:pt idx="164">
                  <c:v>222.4658503920075</c:v>
                </c:pt>
                <c:pt idx="165">
                  <c:v>220.5116202322296</c:v>
                </c:pt>
                <c:pt idx="166">
                  <c:v>218.50452102336342</c:v>
                </c:pt>
                <c:pt idx="167">
                  <c:v>216.44687437049802</c:v>
                </c:pt>
                <c:pt idx="168">
                  <c:v>214.34142802903094</c:v>
                </c:pt>
                <c:pt idx="169">
                  <c:v>212.19086839279984</c:v>
                </c:pt>
                <c:pt idx="170">
                  <c:v>209.99792514232479</c:v>
                </c:pt>
                <c:pt idx="171">
                  <c:v>207.76523812347352</c:v>
                </c:pt>
                <c:pt idx="172">
                  <c:v>205.49582505782104</c:v>
                </c:pt>
                <c:pt idx="173">
                  <c:v>203.19294493118213</c:v>
                </c:pt>
                <c:pt idx="174">
                  <c:v>200.85983847160608</c:v>
                </c:pt>
                <c:pt idx="175">
                  <c:v>198.49975900670705</c:v>
                </c:pt>
                <c:pt idx="176">
                  <c:v>196.11586997172475</c:v>
                </c:pt>
                <c:pt idx="177">
                  <c:v>193.71120054450739</c:v>
                </c:pt>
                <c:pt idx="178">
                  <c:v>191.28864240225809</c:v>
                </c:pt>
                <c:pt idx="179">
                  <c:v>188.8509490408573</c:v>
                </c:pt>
                <c:pt idx="180">
                  <c:v>186.40062455208681</c:v>
                </c:pt>
                <c:pt idx="181">
                  <c:v>183.94005855634848</c:v>
                </c:pt>
                <c:pt idx="182">
                  <c:v>181.47153727936436</c:v>
                </c:pt>
                <c:pt idx="183">
                  <c:v>178.99722519194012</c:v>
                </c:pt>
                <c:pt idx="184">
                  <c:v>176.51915635967802</c:v>
                </c:pt>
              </c:numCache>
            </c:numRef>
          </c:val>
          <c:smooth val="0"/>
          <c:extLst>
            <c:ext xmlns:c16="http://schemas.microsoft.com/office/drawing/2014/chart" uri="{C3380CC4-5D6E-409C-BE32-E72D297353CC}">
              <c16:uniqueId val="{00000002-1358-4843-A083-9E75CCD15D58}"/>
            </c:ext>
          </c:extLst>
        </c:ser>
        <c:ser>
          <c:idx val="2"/>
          <c:order val="2"/>
          <c:tx>
            <c:strRef>
              <c:f>Sheet1!$D$1</c:f>
              <c:strCache>
                <c:ptCount val="1"/>
                <c:pt idx="0">
                  <c:v>V3</c:v>
                </c:pt>
              </c:strCache>
            </c:strRef>
          </c:tx>
          <c:spPr>
            <a:ln w="28575" cap="rnd">
              <a:solidFill>
                <a:srgbClr val="4472C4"/>
              </a:solidFill>
              <a:prstDash val="sysDash"/>
              <a:round/>
            </a:ln>
            <a:effectLst/>
          </c:spPr>
          <c:marker>
            <c:symbol val="none"/>
          </c:marker>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D$2:$D$186</c:f>
              <c:numCache>
                <c:formatCode>General</c:formatCode>
                <c:ptCount val="185"/>
                <c:pt idx="122">
                  <c:v>531.06870896275336</c:v>
                </c:pt>
                <c:pt idx="123">
                  <c:v>512.48677650420518</c:v>
                </c:pt>
                <c:pt idx="124">
                  <c:v>494.24929442182855</c:v>
                </c:pt>
                <c:pt idx="125">
                  <c:v>477.37053773839199</c:v>
                </c:pt>
                <c:pt idx="126">
                  <c:v>462.53542294430656</c:v>
                </c:pt>
                <c:pt idx="127">
                  <c:v>450.60270381070836</c:v>
                </c:pt>
                <c:pt idx="128">
                  <c:v>441.20743624266157</c:v>
                </c:pt>
                <c:pt idx="129">
                  <c:v>434.42536900509612</c:v>
                </c:pt>
                <c:pt idx="130">
                  <c:v>430.28230638656566</c:v>
                </c:pt>
                <c:pt idx="131">
                  <c:v>428.7760537113723</c:v>
                </c:pt>
                <c:pt idx="132">
                  <c:v>429.87633843875085</c:v>
                </c:pt>
                <c:pt idx="133">
                  <c:v>433.52840384348417</c:v>
                </c:pt>
                <c:pt idx="134">
                  <c:v>439.65168815848443</c:v>
                </c:pt>
                <c:pt idx="135">
                  <c:v>448.15663329147196</c:v>
                </c:pt>
                <c:pt idx="136">
                  <c:v>458.93981208762546</c:v>
                </c:pt>
                <c:pt idx="137">
                  <c:v>471.89326959933436</c:v>
                </c:pt>
                <c:pt idx="138">
                  <c:v>486.91006233992852</c:v>
                </c:pt>
                <c:pt idx="139">
                  <c:v>503.8616642814016</c:v>
                </c:pt>
                <c:pt idx="140">
                  <c:v>522.56966121090295</c:v>
                </c:pt>
                <c:pt idx="141">
                  <c:v>542.8452714993706</c:v>
                </c:pt>
                <c:pt idx="142">
                  <c:v>564.5199541385881</c:v>
                </c:pt>
                <c:pt idx="143">
                  <c:v>587.44490573770793</c:v>
                </c:pt>
                <c:pt idx="144">
                  <c:v>611.48443406507454</c:v>
                </c:pt>
                <c:pt idx="145">
                  <c:v>636.51198831382749</c:v>
                </c:pt>
                <c:pt idx="146">
                  <c:v>662.40567602425949</c:v>
                </c:pt>
                <c:pt idx="147">
                  <c:v>689.0397639107689</c:v>
                </c:pt>
                <c:pt idx="148">
                  <c:v>716.28975354188231</c:v>
                </c:pt>
                <c:pt idx="149">
                  <c:v>744.03649573443045</c:v>
                </c:pt>
                <c:pt idx="150">
                  <c:v>772.16286436114649</c:v>
                </c:pt>
                <c:pt idx="151">
                  <c:v>800.55570179675692</c:v>
                </c:pt>
                <c:pt idx="152">
                  <c:v>829.10345299003075</c:v>
                </c:pt>
                <c:pt idx="153">
                  <c:v>857.69456772036813</c:v>
                </c:pt>
                <c:pt idx="154">
                  <c:v>886.21534131561202</c:v>
                </c:pt>
                <c:pt idx="155">
                  <c:v>914.54993595483825</c:v>
                </c:pt>
                <c:pt idx="156">
                  <c:v>942.58110210517293</c:v>
                </c:pt>
                <c:pt idx="157">
                  <c:v>970.18975074525304</c:v>
                </c:pt>
                <c:pt idx="158">
                  <c:v>997.25600637926061</c:v>
                </c:pt>
                <c:pt idx="159">
                  <c:v>1023.6608755108638</c:v>
                </c:pt>
                <c:pt idx="160">
                  <c:v>1049.2862859680522</c:v>
                </c:pt>
                <c:pt idx="161">
                  <c:v>1074.0207072473386</c:v>
                </c:pt>
                <c:pt idx="162">
                  <c:v>1097.7571349395025</c:v>
                </c:pt>
                <c:pt idx="163">
                  <c:v>1120.392977736559</c:v>
                </c:pt>
                <c:pt idx="164">
                  <c:v>1141.8297117110851</c:v>
                </c:pt>
                <c:pt idx="165">
                  <c:v>1161.9750459039567</c:v>
                </c:pt>
                <c:pt idx="166">
                  <c:v>1180.7431256214106</c:v>
                </c:pt>
                <c:pt idx="167">
                  <c:v>1198.0544037820048</c:v>
                </c:pt>
                <c:pt idx="168">
                  <c:v>1213.8364446276032</c:v>
                </c:pt>
                <c:pt idx="169">
                  <c:v>1228.0242810770612</c:v>
                </c:pt>
                <c:pt idx="170">
                  <c:v>1240.5607609957756</c:v>
                </c:pt>
                <c:pt idx="171">
                  <c:v>1251.3969574277176</c:v>
                </c:pt>
                <c:pt idx="172">
                  <c:v>1260.4924716725523</c:v>
                </c:pt>
                <c:pt idx="173">
                  <c:v>1267.8153526317299</c:v>
                </c:pt>
                <c:pt idx="174">
                  <c:v>1273.3427608542424</c:v>
                </c:pt>
                <c:pt idx="175">
                  <c:v>1277.0610119220764</c:v>
                </c:pt>
                <c:pt idx="176">
                  <c:v>1278.9653050507345</c:v>
                </c:pt>
                <c:pt idx="177">
                  <c:v>1279.05958424403</c:v>
                </c:pt>
                <c:pt idx="178">
                  <c:v>1277.3565158239369</c:v>
                </c:pt>
                <c:pt idx="179">
                  <c:v>1273.8773732171928</c:v>
                </c:pt>
                <c:pt idx="180">
                  <c:v>1268.651831404379</c:v>
                </c:pt>
                <c:pt idx="181">
                  <c:v>1261.7176651184484</c:v>
                </c:pt>
                <c:pt idx="182">
                  <c:v>1253.1203594585052</c:v>
                </c:pt>
                <c:pt idx="183">
                  <c:v>1242.9125891880776</c:v>
                </c:pt>
                <c:pt idx="184">
                  <c:v>1231.1536834568872</c:v>
                </c:pt>
              </c:numCache>
            </c:numRef>
          </c:val>
          <c:smooth val="0"/>
          <c:extLst>
            <c:ext xmlns:c16="http://schemas.microsoft.com/office/drawing/2014/chart" uri="{C3380CC4-5D6E-409C-BE32-E72D297353CC}">
              <c16:uniqueId val="{00000003-1358-4843-A083-9E75CCD15D58}"/>
            </c:ext>
          </c:extLst>
        </c:ser>
        <c:ser>
          <c:idx val="4"/>
          <c:order val="3"/>
          <c:tx>
            <c:strRef>
              <c:f>Sheet1!$F$1</c:f>
              <c:strCache>
                <c:ptCount val="1"/>
                <c:pt idx="0">
                  <c:v>C</c:v>
                </c:pt>
              </c:strCache>
            </c:strRef>
          </c:tx>
          <c:spPr>
            <a:ln w="28575" cap="rnd">
              <a:solidFill>
                <a:srgbClr val="00B050"/>
              </a:solidFill>
              <a:prstDash val="sysDash"/>
              <a:round/>
            </a:ln>
            <a:effectLst/>
          </c:spPr>
          <c:marker>
            <c:symbol val="none"/>
          </c:marker>
          <c:cat>
            <c:numRef>
              <c:f>Sheet1!$A$2:$A$186</c:f>
              <c:numCache>
                <c:formatCode>m/d/yyyy</c:formatCode>
                <c:ptCount val="185"/>
                <c:pt idx="0">
                  <c:v>44440</c:v>
                </c:pt>
                <c:pt idx="1">
                  <c:v>44441</c:v>
                </c:pt>
                <c:pt idx="2">
                  <c:v>44442</c:v>
                </c:pt>
                <c:pt idx="3">
                  <c:v>44443</c:v>
                </c:pt>
                <c:pt idx="4">
                  <c:v>44444</c:v>
                </c:pt>
                <c:pt idx="5">
                  <c:v>44445</c:v>
                </c:pt>
                <c:pt idx="6">
                  <c:v>44446</c:v>
                </c:pt>
                <c:pt idx="7">
                  <c:v>44447</c:v>
                </c:pt>
                <c:pt idx="8">
                  <c:v>44448</c:v>
                </c:pt>
                <c:pt idx="9">
                  <c:v>44449</c:v>
                </c:pt>
                <c:pt idx="10">
                  <c:v>44450</c:v>
                </c:pt>
                <c:pt idx="11">
                  <c:v>44451</c:v>
                </c:pt>
                <c:pt idx="12">
                  <c:v>44452</c:v>
                </c:pt>
                <c:pt idx="13">
                  <c:v>44453</c:v>
                </c:pt>
                <c:pt idx="14">
                  <c:v>44454</c:v>
                </c:pt>
                <c:pt idx="15">
                  <c:v>44455</c:v>
                </c:pt>
                <c:pt idx="16">
                  <c:v>44456</c:v>
                </c:pt>
                <c:pt idx="17">
                  <c:v>44457</c:v>
                </c:pt>
                <c:pt idx="18">
                  <c:v>44458</c:v>
                </c:pt>
                <c:pt idx="19">
                  <c:v>44459</c:v>
                </c:pt>
                <c:pt idx="20">
                  <c:v>44460</c:v>
                </c:pt>
                <c:pt idx="21">
                  <c:v>44461</c:v>
                </c:pt>
                <c:pt idx="22">
                  <c:v>44462</c:v>
                </c:pt>
                <c:pt idx="23">
                  <c:v>44463</c:v>
                </c:pt>
                <c:pt idx="24">
                  <c:v>44464</c:v>
                </c:pt>
                <c:pt idx="25">
                  <c:v>44465</c:v>
                </c:pt>
                <c:pt idx="26">
                  <c:v>44466</c:v>
                </c:pt>
                <c:pt idx="27">
                  <c:v>44467</c:v>
                </c:pt>
                <c:pt idx="28">
                  <c:v>44468</c:v>
                </c:pt>
                <c:pt idx="29">
                  <c:v>44469</c:v>
                </c:pt>
                <c:pt idx="30">
                  <c:v>44470</c:v>
                </c:pt>
                <c:pt idx="31">
                  <c:v>44471</c:v>
                </c:pt>
                <c:pt idx="32">
                  <c:v>44472</c:v>
                </c:pt>
                <c:pt idx="33">
                  <c:v>44473</c:v>
                </c:pt>
                <c:pt idx="34">
                  <c:v>44474</c:v>
                </c:pt>
                <c:pt idx="35">
                  <c:v>44475</c:v>
                </c:pt>
                <c:pt idx="36">
                  <c:v>44476</c:v>
                </c:pt>
                <c:pt idx="37">
                  <c:v>44477</c:v>
                </c:pt>
                <c:pt idx="38">
                  <c:v>44478</c:v>
                </c:pt>
                <c:pt idx="39">
                  <c:v>44479</c:v>
                </c:pt>
                <c:pt idx="40">
                  <c:v>44480</c:v>
                </c:pt>
                <c:pt idx="41">
                  <c:v>44481</c:v>
                </c:pt>
                <c:pt idx="42">
                  <c:v>44482</c:v>
                </c:pt>
                <c:pt idx="43">
                  <c:v>44483</c:v>
                </c:pt>
                <c:pt idx="44">
                  <c:v>44484</c:v>
                </c:pt>
                <c:pt idx="45">
                  <c:v>44485</c:v>
                </c:pt>
                <c:pt idx="46">
                  <c:v>44486</c:v>
                </c:pt>
                <c:pt idx="47">
                  <c:v>44487</c:v>
                </c:pt>
                <c:pt idx="48">
                  <c:v>44488</c:v>
                </c:pt>
                <c:pt idx="49">
                  <c:v>44489</c:v>
                </c:pt>
                <c:pt idx="50">
                  <c:v>44490</c:v>
                </c:pt>
                <c:pt idx="51">
                  <c:v>44491</c:v>
                </c:pt>
                <c:pt idx="52">
                  <c:v>44492</c:v>
                </c:pt>
                <c:pt idx="53">
                  <c:v>44493</c:v>
                </c:pt>
                <c:pt idx="54">
                  <c:v>44494</c:v>
                </c:pt>
                <c:pt idx="55">
                  <c:v>44495</c:v>
                </c:pt>
                <c:pt idx="56">
                  <c:v>44496</c:v>
                </c:pt>
                <c:pt idx="57">
                  <c:v>44497</c:v>
                </c:pt>
                <c:pt idx="58">
                  <c:v>44498</c:v>
                </c:pt>
                <c:pt idx="59">
                  <c:v>44499</c:v>
                </c:pt>
                <c:pt idx="60">
                  <c:v>44500</c:v>
                </c:pt>
                <c:pt idx="61">
                  <c:v>44501</c:v>
                </c:pt>
                <c:pt idx="62">
                  <c:v>44502</c:v>
                </c:pt>
                <c:pt idx="63">
                  <c:v>44503</c:v>
                </c:pt>
                <c:pt idx="64">
                  <c:v>44504</c:v>
                </c:pt>
                <c:pt idx="65">
                  <c:v>44505</c:v>
                </c:pt>
                <c:pt idx="66">
                  <c:v>44506</c:v>
                </c:pt>
                <c:pt idx="67">
                  <c:v>44507</c:v>
                </c:pt>
                <c:pt idx="68">
                  <c:v>44508</c:v>
                </c:pt>
                <c:pt idx="69">
                  <c:v>44509</c:v>
                </c:pt>
                <c:pt idx="70">
                  <c:v>44510</c:v>
                </c:pt>
                <c:pt idx="71">
                  <c:v>44511</c:v>
                </c:pt>
                <c:pt idx="72">
                  <c:v>44512</c:v>
                </c:pt>
                <c:pt idx="73">
                  <c:v>44513</c:v>
                </c:pt>
                <c:pt idx="74">
                  <c:v>44514</c:v>
                </c:pt>
                <c:pt idx="75">
                  <c:v>44515</c:v>
                </c:pt>
                <c:pt idx="76">
                  <c:v>44516</c:v>
                </c:pt>
                <c:pt idx="77">
                  <c:v>44517</c:v>
                </c:pt>
                <c:pt idx="78">
                  <c:v>44518</c:v>
                </c:pt>
                <c:pt idx="79">
                  <c:v>44519</c:v>
                </c:pt>
                <c:pt idx="80">
                  <c:v>44520</c:v>
                </c:pt>
                <c:pt idx="81">
                  <c:v>44521</c:v>
                </c:pt>
                <c:pt idx="82">
                  <c:v>44522</c:v>
                </c:pt>
                <c:pt idx="83">
                  <c:v>44523</c:v>
                </c:pt>
                <c:pt idx="84">
                  <c:v>44524</c:v>
                </c:pt>
                <c:pt idx="85">
                  <c:v>44525</c:v>
                </c:pt>
                <c:pt idx="86">
                  <c:v>44526</c:v>
                </c:pt>
                <c:pt idx="87">
                  <c:v>44527</c:v>
                </c:pt>
                <c:pt idx="88">
                  <c:v>44528</c:v>
                </c:pt>
                <c:pt idx="89">
                  <c:v>44529</c:v>
                </c:pt>
                <c:pt idx="90">
                  <c:v>44530</c:v>
                </c:pt>
                <c:pt idx="91">
                  <c:v>44531</c:v>
                </c:pt>
                <c:pt idx="92">
                  <c:v>44532</c:v>
                </c:pt>
                <c:pt idx="93">
                  <c:v>44533</c:v>
                </c:pt>
                <c:pt idx="94">
                  <c:v>44534</c:v>
                </c:pt>
                <c:pt idx="95">
                  <c:v>44535</c:v>
                </c:pt>
                <c:pt idx="96">
                  <c:v>44536</c:v>
                </c:pt>
                <c:pt idx="97">
                  <c:v>44537</c:v>
                </c:pt>
                <c:pt idx="98">
                  <c:v>44538</c:v>
                </c:pt>
                <c:pt idx="99">
                  <c:v>44539</c:v>
                </c:pt>
                <c:pt idx="100">
                  <c:v>44540</c:v>
                </c:pt>
                <c:pt idx="101">
                  <c:v>44541</c:v>
                </c:pt>
                <c:pt idx="102">
                  <c:v>44542</c:v>
                </c:pt>
                <c:pt idx="103">
                  <c:v>44543</c:v>
                </c:pt>
                <c:pt idx="104">
                  <c:v>44544</c:v>
                </c:pt>
                <c:pt idx="105">
                  <c:v>44545</c:v>
                </c:pt>
                <c:pt idx="106">
                  <c:v>44546</c:v>
                </c:pt>
                <c:pt idx="107">
                  <c:v>44547</c:v>
                </c:pt>
                <c:pt idx="108">
                  <c:v>44548</c:v>
                </c:pt>
                <c:pt idx="109">
                  <c:v>44549</c:v>
                </c:pt>
                <c:pt idx="110">
                  <c:v>44550</c:v>
                </c:pt>
                <c:pt idx="111">
                  <c:v>44551</c:v>
                </c:pt>
                <c:pt idx="112">
                  <c:v>44552</c:v>
                </c:pt>
                <c:pt idx="113">
                  <c:v>44553</c:v>
                </c:pt>
                <c:pt idx="114">
                  <c:v>44554</c:v>
                </c:pt>
                <c:pt idx="115">
                  <c:v>44555</c:v>
                </c:pt>
                <c:pt idx="116">
                  <c:v>44556</c:v>
                </c:pt>
                <c:pt idx="117">
                  <c:v>44557</c:v>
                </c:pt>
                <c:pt idx="118">
                  <c:v>44558</c:v>
                </c:pt>
                <c:pt idx="119">
                  <c:v>44559</c:v>
                </c:pt>
                <c:pt idx="120">
                  <c:v>44560</c:v>
                </c:pt>
                <c:pt idx="121">
                  <c:v>44561</c:v>
                </c:pt>
                <c:pt idx="122">
                  <c:v>44562</c:v>
                </c:pt>
                <c:pt idx="123">
                  <c:v>44563</c:v>
                </c:pt>
                <c:pt idx="124">
                  <c:v>44564</c:v>
                </c:pt>
                <c:pt idx="125">
                  <c:v>44565</c:v>
                </c:pt>
                <c:pt idx="126">
                  <c:v>44566</c:v>
                </c:pt>
                <c:pt idx="127">
                  <c:v>44567</c:v>
                </c:pt>
                <c:pt idx="128">
                  <c:v>44568</c:v>
                </c:pt>
                <c:pt idx="129">
                  <c:v>44569</c:v>
                </c:pt>
                <c:pt idx="130">
                  <c:v>44570</c:v>
                </c:pt>
                <c:pt idx="131">
                  <c:v>44571</c:v>
                </c:pt>
                <c:pt idx="132">
                  <c:v>44572</c:v>
                </c:pt>
                <c:pt idx="133">
                  <c:v>44573</c:v>
                </c:pt>
                <c:pt idx="134">
                  <c:v>44574</c:v>
                </c:pt>
                <c:pt idx="135">
                  <c:v>44575</c:v>
                </c:pt>
                <c:pt idx="136">
                  <c:v>44576</c:v>
                </c:pt>
                <c:pt idx="137">
                  <c:v>44577</c:v>
                </c:pt>
                <c:pt idx="138">
                  <c:v>44578</c:v>
                </c:pt>
                <c:pt idx="139">
                  <c:v>44579</c:v>
                </c:pt>
                <c:pt idx="140">
                  <c:v>44580</c:v>
                </c:pt>
                <c:pt idx="141">
                  <c:v>44581</c:v>
                </c:pt>
                <c:pt idx="142">
                  <c:v>44582</c:v>
                </c:pt>
                <c:pt idx="143">
                  <c:v>44583</c:v>
                </c:pt>
                <c:pt idx="144">
                  <c:v>44584</c:v>
                </c:pt>
                <c:pt idx="145">
                  <c:v>44585</c:v>
                </c:pt>
                <c:pt idx="146">
                  <c:v>44586</c:v>
                </c:pt>
                <c:pt idx="147">
                  <c:v>44587</c:v>
                </c:pt>
                <c:pt idx="148">
                  <c:v>44588</c:v>
                </c:pt>
                <c:pt idx="149">
                  <c:v>44589</c:v>
                </c:pt>
                <c:pt idx="150">
                  <c:v>44590</c:v>
                </c:pt>
                <c:pt idx="151">
                  <c:v>44591</c:v>
                </c:pt>
                <c:pt idx="152">
                  <c:v>44592</c:v>
                </c:pt>
                <c:pt idx="153">
                  <c:v>44593</c:v>
                </c:pt>
                <c:pt idx="154">
                  <c:v>44594</c:v>
                </c:pt>
                <c:pt idx="155">
                  <c:v>44595</c:v>
                </c:pt>
                <c:pt idx="156">
                  <c:v>44596</c:v>
                </c:pt>
                <c:pt idx="157">
                  <c:v>44597</c:v>
                </c:pt>
                <c:pt idx="158">
                  <c:v>44598</c:v>
                </c:pt>
                <c:pt idx="159">
                  <c:v>44599</c:v>
                </c:pt>
                <c:pt idx="160">
                  <c:v>44600</c:v>
                </c:pt>
                <c:pt idx="161">
                  <c:v>44601</c:v>
                </c:pt>
                <c:pt idx="162">
                  <c:v>44602</c:v>
                </c:pt>
                <c:pt idx="163">
                  <c:v>44603</c:v>
                </c:pt>
                <c:pt idx="164">
                  <c:v>44604</c:v>
                </c:pt>
                <c:pt idx="165">
                  <c:v>44605</c:v>
                </c:pt>
                <c:pt idx="166">
                  <c:v>44606</c:v>
                </c:pt>
                <c:pt idx="167">
                  <c:v>44607</c:v>
                </c:pt>
                <c:pt idx="168">
                  <c:v>44608</c:v>
                </c:pt>
                <c:pt idx="169">
                  <c:v>44609</c:v>
                </c:pt>
                <c:pt idx="170">
                  <c:v>44610</c:v>
                </c:pt>
                <c:pt idx="171">
                  <c:v>44611</c:v>
                </c:pt>
                <c:pt idx="172">
                  <c:v>44612</c:v>
                </c:pt>
                <c:pt idx="173">
                  <c:v>44613</c:v>
                </c:pt>
                <c:pt idx="174">
                  <c:v>44614</c:v>
                </c:pt>
                <c:pt idx="175">
                  <c:v>44615</c:v>
                </c:pt>
                <c:pt idx="176">
                  <c:v>44616</c:v>
                </c:pt>
                <c:pt idx="177">
                  <c:v>44617</c:v>
                </c:pt>
                <c:pt idx="178">
                  <c:v>44618</c:v>
                </c:pt>
                <c:pt idx="179">
                  <c:v>44619</c:v>
                </c:pt>
                <c:pt idx="180">
                  <c:v>44620</c:v>
                </c:pt>
                <c:pt idx="181">
                  <c:v>44621</c:v>
                </c:pt>
                <c:pt idx="182">
                  <c:v>44622</c:v>
                </c:pt>
                <c:pt idx="183">
                  <c:v>44623</c:v>
                </c:pt>
                <c:pt idx="184">
                  <c:v>44624</c:v>
                </c:pt>
              </c:numCache>
            </c:numRef>
          </c:cat>
          <c:val>
            <c:numRef>
              <c:f>Sheet1!$F$2:$F$186</c:f>
              <c:numCache>
                <c:formatCode>General</c:formatCode>
                <c:ptCount val="185"/>
                <c:pt idx="128">
                  <c:v>438.66998467711016</c:v>
                </c:pt>
                <c:pt idx="129">
                  <c:v>435.27895105832749</c:v>
                </c:pt>
                <c:pt idx="130">
                  <c:v>433.2074197490623</c:v>
                </c:pt>
                <c:pt idx="131">
                  <c:v>432.45429341146553</c:v>
                </c:pt>
                <c:pt idx="132">
                  <c:v>433.00443577515478</c:v>
                </c:pt>
                <c:pt idx="133">
                  <c:v>434.83046847752144</c:v>
                </c:pt>
                <c:pt idx="134">
                  <c:v>437.8921106350216</c:v>
                </c:pt>
                <c:pt idx="135">
                  <c:v>442.14458320151539</c:v>
                </c:pt>
                <c:pt idx="136">
                  <c:v>447.53617259959219</c:v>
                </c:pt>
                <c:pt idx="137">
                  <c:v>454.01290135544656</c:v>
                </c:pt>
                <c:pt idx="138">
                  <c:v>461.52129772574364</c:v>
                </c:pt>
                <c:pt idx="139">
                  <c:v>469.99709869648018</c:v>
                </c:pt>
                <c:pt idx="140">
                  <c:v>479.35109716123088</c:v>
                </c:pt>
                <c:pt idx="141">
                  <c:v>489.48890230546465</c:v>
                </c:pt>
                <c:pt idx="142">
                  <c:v>500.3262436250734</c:v>
                </c:pt>
                <c:pt idx="143">
                  <c:v>511.78871942463343</c:v>
                </c:pt>
                <c:pt idx="144">
                  <c:v>523.80848358831668</c:v>
                </c:pt>
                <c:pt idx="145">
                  <c:v>536.32226071269326</c:v>
                </c:pt>
                <c:pt idx="146">
                  <c:v>549.26910456790927</c:v>
                </c:pt>
                <c:pt idx="147">
                  <c:v>562.58614851116386</c:v>
                </c:pt>
                <c:pt idx="148">
                  <c:v>576.2111433267205</c:v>
                </c:pt>
                <c:pt idx="149">
                  <c:v>590.08451442299463</c:v>
                </c:pt>
                <c:pt idx="150">
                  <c:v>604.14769873635271</c:v>
                </c:pt>
                <c:pt idx="151">
                  <c:v>618.34411745415775</c:v>
                </c:pt>
                <c:pt idx="152">
                  <c:v>632.61799305079478</c:v>
                </c:pt>
                <c:pt idx="153">
                  <c:v>646.91355041596341</c:v>
                </c:pt>
                <c:pt idx="154">
                  <c:v>661.17393721358542</c:v>
                </c:pt>
                <c:pt idx="155">
                  <c:v>675.34123453319864</c:v>
                </c:pt>
                <c:pt idx="156">
                  <c:v>689.35681760836599</c:v>
                </c:pt>
                <c:pt idx="157">
                  <c:v>703.16114192840598</c:v>
                </c:pt>
                <c:pt idx="158">
                  <c:v>716.69426974540977</c:v>
                </c:pt>
                <c:pt idx="159">
                  <c:v>729.89670431121147</c:v>
                </c:pt>
                <c:pt idx="160">
                  <c:v>742.70940953980551</c:v>
                </c:pt>
                <c:pt idx="161">
                  <c:v>755.07662017944892</c:v>
                </c:pt>
                <c:pt idx="162">
                  <c:v>766.94483402553067</c:v>
                </c:pt>
                <c:pt idx="163">
                  <c:v>778.26275542405881</c:v>
                </c:pt>
                <c:pt idx="164">
                  <c:v>788.98112241132196</c:v>
                </c:pt>
                <c:pt idx="165">
                  <c:v>799.05378950775764</c:v>
                </c:pt>
                <c:pt idx="166">
                  <c:v>808.43782936648483</c:v>
                </c:pt>
                <c:pt idx="167">
                  <c:v>817.09346844678169</c:v>
                </c:pt>
                <c:pt idx="168">
                  <c:v>824.98448886958124</c:v>
                </c:pt>
                <c:pt idx="169">
                  <c:v>832.07840709431014</c:v>
                </c:pt>
                <c:pt idx="170">
                  <c:v>838.34664705366743</c:v>
                </c:pt>
                <c:pt idx="171">
                  <c:v>843.76474526963818</c:v>
                </c:pt>
                <c:pt idx="172">
                  <c:v>848.31250239205553</c:v>
                </c:pt>
                <c:pt idx="173">
                  <c:v>851.97394287164423</c:v>
                </c:pt>
                <c:pt idx="174">
                  <c:v>854.73764698290063</c:v>
                </c:pt>
                <c:pt idx="175">
                  <c:v>856.59677251681785</c:v>
                </c:pt>
                <c:pt idx="176">
                  <c:v>857.54891908114666</c:v>
                </c:pt>
                <c:pt idx="177">
                  <c:v>857.59605867779453</c:v>
                </c:pt>
                <c:pt idx="178">
                  <c:v>856.74452446774796</c:v>
                </c:pt>
                <c:pt idx="179">
                  <c:v>855.00495316437593</c:v>
                </c:pt>
                <c:pt idx="180">
                  <c:v>852.39218225796901</c:v>
                </c:pt>
                <c:pt idx="181">
                  <c:v>848.92509911500349</c:v>
                </c:pt>
                <c:pt idx="182">
                  <c:v>844.6264462850321</c:v>
                </c:pt>
                <c:pt idx="183">
                  <c:v>839.52256114981844</c:v>
                </c:pt>
                <c:pt idx="184">
                  <c:v>833.6431082842231</c:v>
                </c:pt>
              </c:numCache>
            </c:numRef>
          </c:val>
          <c:smooth val="0"/>
          <c:extLst>
            <c:ext xmlns:c16="http://schemas.microsoft.com/office/drawing/2014/chart" uri="{C3380CC4-5D6E-409C-BE32-E72D297353CC}">
              <c16:uniqueId val="{00000004-1358-4843-A083-9E75CCD15D58}"/>
            </c:ext>
          </c:extLst>
        </c:ser>
        <c:dLbls>
          <c:showLegendKey val="0"/>
          <c:showVal val="0"/>
          <c:showCatName val="0"/>
          <c:showSerName val="0"/>
          <c:showPercent val="0"/>
          <c:showBubbleSize val="0"/>
        </c:dLbls>
        <c:marker val="1"/>
        <c:smooth val="0"/>
        <c:axId val="207093791"/>
        <c:axId val="209778303"/>
      </c:lineChart>
      <c:catAx>
        <c:axId val="207093791"/>
        <c:scaling>
          <c:orientation val="minMax"/>
        </c:scaling>
        <c:delete val="0"/>
        <c:axPos val="b"/>
        <c:numFmt formatCode="m/d/yyyy" sourceLinked="1"/>
        <c:majorTickMark val="none"/>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209778303"/>
        <c:crosses val="autoZero"/>
        <c:auto val="1"/>
        <c:lblAlgn val="ctr"/>
        <c:lblOffset val="100"/>
        <c:tickLblSkip val="7"/>
        <c:noMultiLvlLbl val="1"/>
      </c:catAx>
      <c:valAx>
        <c:axId val="209778303"/>
        <c:scaling>
          <c:orientation val="minMax"/>
          <c:max val="1600"/>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207093791"/>
        <c:crosses val="autoZero"/>
        <c:crossBetween val="between"/>
      </c:valAx>
      <c:spPr>
        <a:noFill/>
        <a:ln>
          <a:noFill/>
        </a:ln>
        <a:effectLst/>
      </c:spPr>
    </c:plotArea>
    <c:legend>
      <c:legendPos val="t"/>
      <c:legendEntry>
        <c:idx val="1"/>
        <c:delete val="1"/>
      </c:legendEntry>
      <c:legendEntry>
        <c:idx val="2"/>
        <c:delete val="1"/>
      </c:legendEntry>
      <c:legendEntry>
        <c:idx val="3"/>
        <c:delete val="1"/>
      </c:legendEntry>
      <c:legendEntry>
        <c:idx val="4"/>
        <c:delete val="1"/>
      </c:legendEntry>
      <c:layout>
        <c:manualLayout>
          <c:xMode val="edge"/>
          <c:yMode val="edge"/>
          <c:x val="0.18325151767194545"/>
          <c:y val="0.40781247491311057"/>
          <c:w val="0.14188217964413682"/>
          <c:h val="4.7962349411764922E-2"/>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cs-CZ" sz="1800" b="1" i="0" baseline="0" dirty="0">
                <a:effectLst/>
              </a:rPr>
              <a:t>7 denní počet nových příjmů na 100 000 obyv.</a:t>
            </a:r>
            <a:endParaRPr lang="cs-CZ"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cs-CZ"/>
        </a:p>
      </c:txPr>
    </c:title>
    <c:autoTitleDeleted val="0"/>
    <c:plotArea>
      <c:layout/>
      <c:barChart>
        <c:barDir val="col"/>
        <c:grouping val="clustered"/>
        <c:varyColors val="0"/>
        <c:ser>
          <c:idx val="3"/>
          <c:order val="0"/>
          <c:tx>
            <c:strRef>
              <c:f>'64'!$F$2</c:f>
              <c:strCache>
                <c:ptCount val="1"/>
                <c:pt idx="0">
                  <c:v>28.12.2021</c:v>
                </c:pt>
              </c:strCache>
            </c:strRef>
          </c:tx>
          <c:spPr>
            <a:solidFill>
              <a:schemeClr val="accent4"/>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F$3:$F$16</c:f>
              <c:numCache>
                <c:formatCode>General</c:formatCode>
                <c:ptCount val="14"/>
                <c:pt idx="0">
                  <c:v>17.637319127491999</c:v>
                </c:pt>
                <c:pt idx="1">
                  <c:v>21.693427773231001</c:v>
                </c:pt>
                <c:pt idx="2">
                  <c:v>25.245252957434001</c:v>
                </c:pt>
                <c:pt idx="3">
                  <c:v>18.861419271096999</c:v>
                </c:pt>
                <c:pt idx="4">
                  <c:v>13.82495974497</c:v>
                </c:pt>
                <c:pt idx="5">
                  <c:v>36.763131746366</c:v>
                </c:pt>
                <c:pt idx="6">
                  <c:v>24.350005335113</c:v>
                </c:pt>
                <c:pt idx="7">
                  <c:v>19.38094221866</c:v>
                </c:pt>
                <c:pt idx="8">
                  <c:v>26.026551689192001</c:v>
                </c:pt>
                <c:pt idx="9">
                  <c:v>34.90022779473</c:v>
                </c:pt>
                <c:pt idx="10">
                  <c:v>27.452896078676002</c:v>
                </c:pt>
                <c:pt idx="11">
                  <c:v>27.994454431883</c:v>
                </c:pt>
                <c:pt idx="12">
                  <c:v>26.352251367537001</c:v>
                </c:pt>
                <c:pt idx="13">
                  <c:v>33.591334839428001</c:v>
                </c:pt>
              </c:numCache>
            </c:numRef>
          </c:val>
          <c:extLst>
            <c:ext xmlns:c16="http://schemas.microsoft.com/office/drawing/2014/chart" uri="{C3380CC4-5D6E-409C-BE32-E72D297353CC}">
              <c16:uniqueId val="{00000003-8164-4D1F-9C43-C8BD577298DE}"/>
            </c:ext>
          </c:extLst>
        </c:ser>
        <c:ser>
          <c:idx val="2"/>
          <c:order val="1"/>
          <c:tx>
            <c:strRef>
              <c:f>'64'!$E$2</c:f>
              <c:strCache>
                <c:ptCount val="1"/>
                <c:pt idx="0">
                  <c:v>04.01.2022</c:v>
                </c:pt>
              </c:strCache>
            </c:strRef>
          </c:tx>
          <c:spPr>
            <a:solidFill>
              <a:schemeClr val="accent3"/>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E$3:$E$16</c:f>
              <c:numCache>
                <c:formatCode>General</c:formatCode>
                <c:ptCount val="14"/>
                <c:pt idx="0">
                  <c:v>15.207688431357999</c:v>
                </c:pt>
                <c:pt idx="1">
                  <c:v>16.137793831305999</c:v>
                </c:pt>
                <c:pt idx="2">
                  <c:v>17.765178007083001</c:v>
                </c:pt>
                <c:pt idx="3">
                  <c:v>14.602389113107</c:v>
                </c:pt>
                <c:pt idx="4">
                  <c:v>8.9455621879210003</c:v>
                </c:pt>
                <c:pt idx="5">
                  <c:v>25.837542392024002</c:v>
                </c:pt>
                <c:pt idx="6">
                  <c:v>24.897196466238999</c:v>
                </c:pt>
                <c:pt idx="7">
                  <c:v>18.074361844367999</c:v>
                </c:pt>
                <c:pt idx="8">
                  <c:v>20.729111964843</c:v>
                </c:pt>
                <c:pt idx="9">
                  <c:v>28.061669645761999</c:v>
                </c:pt>
                <c:pt idx="10">
                  <c:v>22.608267358909998</c:v>
                </c:pt>
                <c:pt idx="11">
                  <c:v>17.901215759163001</c:v>
                </c:pt>
                <c:pt idx="12">
                  <c:v>18.940680670416999</c:v>
                </c:pt>
                <c:pt idx="13">
                  <c:v>31.184791447946001</c:v>
                </c:pt>
              </c:numCache>
            </c:numRef>
          </c:val>
          <c:extLst>
            <c:ext xmlns:c16="http://schemas.microsoft.com/office/drawing/2014/chart" uri="{C3380CC4-5D6E-409C-BE32-E72D297353CC}">
              <c16:uniqueId val="{00000002-8164-4D1F-9C43-C8BD577298DE}"/>
            </c:ext>
          </c:extLst>
        </c:ser>
        <c:ser>
          <c:idx val="1"/>
          <c:order val="2"/>
          <c:tx>
            <c:strRef>
              <c:f>'64'!$D$2</c:f>
              <c:strCache>
                <c:ptCount val="1"/>
                <c:pt idx="0">
                  <c:v>11.01.2022</c:v>
                </c:pt>
              </c:strCache>
            </c:strRef>
          </c:tx>
          <c:spPr>
            <a:solidFill>
              <a:schemeClr val="accent2"/>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D$3:$D$16</c:f>
              <c:numCache>
                <c:formatCode>General</c:formatCode>
                <c:ptCount val="14"/>
                <c:pt idx="0">
                  <c:v>10.438413361168999</c:v>
                </c:pt>
                <c:pt idx="1">
                  <c:v>12.610407201512</c:v>
                </c:pt>
                <c:pt idx="2">
                  <c:v>10.472104930491</c:v>
                </c:pt>
                <c:pt idx="3">
                  <c:v>10.951791834830001</c:v>
                </c:pt>
                <c:pt idx="4">
                  <c:v>8.1323292617469995</c:v>
                </c:pt>
                <c:pt idx="5">
                  <c:v>20.817677013002001</c:v>
                </c:pt>
                <c:pt idx="6">
                  <c:v>16.962925064909999</c:v>
                </c:pt>
                <c:pt idx="7">
                  <c:v>17.856598448652999</c:v>
                </c:pt>
                <c:pt idx="8">
                  <c:v>15.66199570677</c:v>
                </c:pt>
                <c:pt idx="9">
                  <c:v>14.856178047756</c:v>
                </c:pt>
                <c:pt idx="10">
                  <c:v>18.974795819084999</c:v>
                </c:pt>
                <c:pt idx="11">
                  <c:v>15.235077241840999</c:v>
                </c:pt>
                <c:pt idx="12">
                  <c:v>14.617264430431</c:v>
                </c:pt>
                <c:pt idx="13">
                  <c:v>20.355346186279998</c:v>
                </c:pt>
              </c:numCache>
            </c:numRef>
          </c:val>
          <c:extLst>
            <c:ext xmlns:c16="http://schemas.microsoft.com/office/drawing/2014/chart" uri="{C3380CC4-5D6E-409C-BE32-E72D297353CC}">
              <c16:uniqueId val="{00000001-8164-4D1F-9C43-C8BD577298DE}"/>
            </c:ext>
          </c:extLst>
        </c:ser>
        <c:ser>
          <c:idx val="0"/>
          <c:order val="3"/>
          <c:tx>
            <c:strRef>
              <c:f>'64'!$C$2</c:f>
              <c:strCache>
                <c:ptCount val="1"/>
                <c:pt idx="0">
                  <c:v>18.01.2022</c:v>
                </c:pt>
              </c:strCache>
            </c:strRef>
          </c:tx>
          <c:spPr>
            <a:solidFill>
              <a:schemeClr val="accent1"/>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C$3:$C$16</c:f>
              <c:numCache>
                <c:formatCode>General</c:formatCode>
                <c:ptCount val="14"/>
                <c:pt idx="0">
                  <c:v>8.3687279533509997</c:v>
                </c:pt>
                <c:pt idx="1">
                  <c:v>6.7902192623520001</c:v>
                </c:pt>
                <c:pt idx="2">
                  <c:v>12.716127415596</c:v>
                </c:pt>
                <c:pt idx="3">
                  <c:v>5.6787068773189997</c:v>
                </c:pt>
                <c:pt idx="4">
                  <c:v>17.891124375842999</c:v>
                </c:pt>
                <c:pt idx="5">
                  <c:v>12.549663447554</c:v>
                </c:pt>
                <c:pt idx="6">
                  <c:v>12.311800450338</c:v>
                </c:pt>
                <c:pt idx="7">
                  <c:v>10.452642994333001</c:v>
                </c:pt>
                <c:pt idx="8">
                  <c:v>9.2129386510410001</c:v>
                </c:pt>
                <c:pt idx="9">
                  <c:v>12.498054548112</c:v>
                </c:pt>
                <c:pt idx="10">
                  <c:v>9.5883276745370001</c:v>
                </c:pt>
                <c:pt idx="11">
                  <c:v>8.3792924830119997</c:v>
                </c:pt>
                <c:pt idx="12">
                  <c:v>10.087971226635</c:v>
                </c:pt>
                <c:pt idx="13">
                  <c:v>12.333534881342</c:v>
                </c:pt>
              </c:numCache>
            </c:numRef>
          </c:val>
          <c:extLst>
            <c:ext xmlns:c16="http://schemas.microsoft.com/office/drawing/2014/chart" uri="{C3380CC4-5D6E-409C-BE32-E72D297353CC}">
              <c16:uniqueId val="{00000000-8164-4D1F-9C43-C8BD577298DE}"/>
            </c:ext>
          </c:extLst>
        </c:ser>
        <c:dLbls>
          <c:showLegendKey val="0"/>
          <c:showVal val="0"/>
          <c:showCatName val="0"/>
          <c:showSerName val="0"/>
          <c:showPercent val="0"/>
          <c:showBubbleSize val="0"/>
        </c:dLbls>
        <c:gapWidth val="219"/>
        <c:overlap val="-27"/>
        <c:axId val="1517945871"/>
        <c:axId val="2040461823"/>
      </c:barChart>
      <c:catAx>
        <c:axId val="15179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cs-CZ"/>
          </a:p>
        </c:txPr>
        <c:crossAx val="2040461823"/>
        <c:crosses val="autoZero"/>
        <c:auto val="1"/>
        <c:lblAlgn val="ctr"/>
        <c:lblOffset val="100"/>
        <c:noMultiLvlLbl val="0"/>
      </c:catAx>
      <c:valAx>
        <c:axId val="204046182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cs-CZ"/>
          </a:p>
        </c:txPr>
        <c:crossAx val="15179458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chart>
  <c:spPr>
    <a:noFill/>
    <a:ln>
      <a:noFill/>
    </a:ln>
    <a:effectLst/>
  </c:spPr>
  <c:txPr>
    <a:bodyPr/>
    <a:lstStyle/>
    <a:p>
      <a:pPr>
        <a:defRPr/>
      </a:pPr>
      <a:endParaRPr lang="cs-CZ"/>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cs-CZ" sz="1800" b="1" i="0" baseline="0" dirty="0">
                <a:effectLst/>
              </a:rPr>
              <a:t>7 denní počet nových příjmů na JIP na 100 000 obyv.</a:t>
            </a:r>
            <a:endParaRPr lang="cs-CZ"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cs-CZ"/>
        </a:p>
      </c:txPr>
    </c:title>
    <c:autoTitleDeleted val="0"/>
    <c:plotArea>
      <c:layout/>
      <c:barChart>
        <c:barDir val="col"/>
        <c:grouping val="clustered"/>
        <c:varyColors val="0"/>
        <c:ser>
          <c:idx val="3"/>
          <c:order val="0"/>
          <c:tx>
            <c:strRef>
              <c:f>'64'!$F$2</c:f>
              <c:strCache>
                <c:ptCount val="1"/>
                <c:pt idx="0">
                  <c:v>28.12.2021</c:v>
                </c:pt>
              </c:strCache>
            </c:strRef>
          </c:tx>
          <c:spPr>
            <a:solidFill>
              <a:schemeClr val="accent4"/>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F$3:$F$16</c:f>
              <c:numCache>
                <c:formatCode>General</c:formatCode>
                <c:ptCount val="14"/>
                <c:pt idx="0">
                  <c:v>4.3193434597940001</c:v>
                </c:pt>
                <c:pt idx="1">
                  <c:v>5.0265259474560002</c:v>
                </c:pt>
                <c:pt idx="2">
                  <c:v>5.4230543390039996</c:v>
                </c:pt>
                <c:pt idx="3">
                  <c:v>4.8674630377019996</c:v>
                </c:pt>
                <c:pt idx="4">
                  <c:v>2.4396987785239999</c:v>
                </c:pt>
                <c:pt idx="5">
                  <c:v>6.0533670747019999</c:v>
                </c:pt>
                <c:pt idx="6">
                  <c:v>3.2831467867559998</c:v>
                </c:pt>
                <c:pt idx="7">
                  <c:v>4.3552679143050002</c:v>
                </c:pt>
                <c:pt idx="8">
                  <c:v>4.3761458592439997</c:v>
                </c:pt>
                <c:pt idx="9">
                  <c:v>4.7162469992869998</c:v>
                </c:pt>
                <c:pt idx="10">
                  <c:v>7.3678728446440003</c:v>
                </c:pt>
                <c:pt idx="11">
                  <c:v>6.2844693622590002</c:v>
                </c:pt>
                <c:pt idx="12">
                  <c:v>4.3234162399859999</c:v>
                </c:pt>
                <c:pt idx="13">
                  <c:v>5.0136320655860001</c:v>
                </c:pt>
              </c:numCache>
            </c:numRef>
          </c:val>
          <c:extLst>
            <c:ext xmlns:c16="http://schemas.microsoft.com/office/drawing/2014/chart" uri="{C3380CC4-5D6E-409C-BE32-E72D297353CC}">
              <c16:uniqueId val="{00000003-8164-4D1F-9C43-C8BD577298DE}"/>
            </c:ext>
          </c:extLst>
        </c:ser>
        <c:ser>
          <c:idx val="2"/>
          <c:order val="1"/>
          <c:tx>
            <c:strRef>
              <c:f>'64'!$E$2</c:f>
              <c:strCache>
                <c:ptCount val="1"/>
                <c:pt idx="0">
                  <c:v>04.01.2022</c:v>
                </c:pt>
              </c:strCache>
            </c:strRef>
          </c:tx>
          <c:spPr>
            <a:solidFill>
              <a:schemeClr val="accent3"/>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E$3:$E$16</c:f>
              <c:numCache>
                <c:formatCode>General</c:formatCode>
                <c:ptCount val="14"/>
                <c:pt idx="0">
                  <c:v>4.4093297818729997</c:v>
                </c:pt>
                <c:pt idx="1">
                  <c:v>3.8801252927730001</c:v>
                </c:pt>
                <c:pt idx="2">
                  <c:v>2.9920299801399999</c:v>
                </c:pt>
                <c:pt idx="3">
                  <c:v>3.8534082381810002</c:v>
                </c:pt>
                <c:pt idx="4">
                  <c:v>2.0330823154359998</c:v>
                </c:pt>
                <c:pt idx="5">
                  <c:v>5.1675084784039997</c:v>
                </c:pt>
                <c:pt idx="6">
                  <c:v>6.0191024423870001</c:v>
                </c:pt>
                <c:pt idx="7">
                  <c:v>4.3552679143050002</c:v>
                </c:pt>
                <c:pt idx="8">
                  <c:v>2.30323466276</c:v>
                </c:pt>
                <c:pt idx="9">
                  <c:v>4.952059349252</c:v>
                </c:pt>
                <c:pt idx="10">
                  <c:v>4.4409096597850004</c:v>
                </c:pt>
                <c:pt idx="11">
                  <c:v>4.5705231725519999</c:v>
                </c:pt>
                <c:pt idx="12">
                  <c:v>2.676400529515</c:v>
                </c:pt>
                <c:pt idx="13">
                  <c:v>4.4119962177150001</c:v>
                </c:pt>
              </c:numCache>
            </c:numRef>
          </c:val>
          <c:extLst>
            <c:ext xmlns:c16="http://schemas.microsoft.com/office/drawing/2014/chart" uri="{C3380CC4-5D6E-409C-BE32-E72D297353CC}">
              <c16:uniqueId val="{00000002-8164-4D1F-9C43-C8BD577298DE}"/>
            </c:ext>
          </c:extLst>
        </c:ser>
        <c:ser>
          <c:idx val="1"/>
          <c:order val="2"/>
          <c:tx>
            <c:strRef>
              <c:f>'64'!$D$2</c:f>
              <c:strCache>
                <c:ptCount val="1"/>
                <c:pt idx="0">
                  <c:v>11.01.2022</c:v>
                </c:pt>
              </c:strCache>
            </c:strRef>
          </c:tx>
          <c:spPr>
            <a:solidFill>
              <a:schemeClr val="accent2"/>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D$3:$D$16</c:f>
              <c:numCache>
                <c:formatCode>General</c:formatCode>
                <c:ptCount val="14"/>
                <c:pt idx="0">
                  <c:v>3.2395075948450001</c:v>
                </c:pt>
                <c:pt idx="1">
                  <c:v>3.5273866297929999</c:v>
                </c:pt>
                <c:pt idx="2">
                  <c:v>1.8700187375870001</c:v>
                </c:pt>
                <c:pt idx="3">
                  <c:v>3.6505972782759999</c:v>
                </c:pt>
                <c:pt idx="4">
                  <c:v>0.406616463087</c:v>
                </c:pt>
                <c:pt idx="5">
                  <c:v>3.543434385191</c:v>
                </c:pt>
                <c:pt idx="6">
                  <c:v>6.0191024423870001</c:v>
                </c:pt>
                <c:pt idx="7">
                  <c:v>5.0085581014510003</c:v>
                </c:pt>
                <c:pt idx="8">
                  <c:v>2.994205061588</c:v>
                </c:pt>
                <c:pt idx="9">
                  <c:v>2.1223111496790001</c:v>
                </c:pt>
                <c:pt idx="10">
                  <c:v>4.7436989547710002</c:v>
                </c:pt>
                <c:pt idx="11">
                  <c:v>2.8565769828450001</c:v>
                </c:pt>
                <c:pt idx="12">
                  <c:v>2.0587696380880001</c:v>
                </c:pt>
                <c:pt idx="13">
                  <c:v>3.1084518806629999</c:v>
                </c:pt>
              </c:numCache>
            </c:numRef>
          </c:val>
          <c:extLst>
            <c:ext xmlns:c16="http://schemas.microsoft.com/office/drawing/2014/chart" uri="{C3380CC4-5D6E-409C-BE32-E72D297353CC}">
              <c16:uniqueId val="{00000001-8164-4D1F-9C43-C8BD577298DE}"/>
            </c:ext>
          </c:extLst>
        </c:ser>
        <c:ser>
          <c:idx val="0"/>
          <c:order val="3"/>
          <c:tx>
            <c:strRef>
              <c:f>'64'!$C$2</c:f>
              <c:strCache>
                <c:ptCount val="1"/>
                <c:pt idx="0">
                  <c:v>18.01.2022</c:v>
                </c:pt>
              </c:strCache>
            </c:strRef>
          </c:tx>
          <c:spPr>
            <a:solidFill>
              <a:schemeClr val="accent1"/>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C$3:$C$16</c:f>
              <c:numCache>
                <c:formatCode>General</c:formatCode>
                <c:ptCount val="14"/>
                <c:pt idx="0">
                  <c:v>1.619753797422</c:v>
                </c:pt>
                <c:pt idx="1">
                  <c:v>1.410954651917</c:v>
                </c:pt>
                <c:pt idx="2">
                  <c:v>1.6830168638280001</c:v>
                </c:pt>
                <c:pt idx="3">
                  <c:v>1.2168657594250001</c:v>
                </c:pt>
                <c:pt idx="4">
                  <c:v>0.406616463087</c:v>
                </c:pt>
                <c:pt idx="5">
                  <c:v>1.6240740932119999</c:v>
                </c:pt>
                <c:pt idx="6">
                  <c:v>4.1039334834460002</c:v>
                </c:pt>
                <c:pt idx="7">
                  <c:v>2.3953973528680002</c:v>
                </c:pt>
                <c:pt idx="8">
                  <c:v>1.842587730208</c:v>
                </c:pt>
                <c:pt idx="9">
                  <c:v>2.5939358496080001</c:v>
                </c:pt>
                <c:pt idx="10">
                  <c:v>2.4223143598829999</c:v>
                </c:pt>
                <c:pt idx="11">
                  <c:v>1.142630793138</c:v>
                </c:pt>
                <c:pt idx="12">
                  <c:v>1.6470157104709999</c:v>
                </c:pt>
                <c:pt idx="13">
                  <c:v>1.804907543611</c:v>
                </c:pt>
              </c:numCache>
            </c:numRef>
          </c:val>
          <c:extLst>
            <c:ext xmlns:c16="http://schemas.microsoft.com/office/drawing/2014/chart" uri="{C3380CC4-5D6E-409C-BE32-E72D297353CC}">
              <c16:uniqueId val="{00000000-8164-4D1F-9C43-C8BD577298DE}"/>
            </c:ext>
          </c:extLst>
        </c:ser>
        <c:dLbls>
          <c:showLegendKey val="0"/>
          <c:showVal val="0"/>
          <c:showCatName val="0"/>
          <c:showSerName val="0"/>
          <c:showPercent val="0"/>
          <c:showBubbleSize val="0"/>
        </c:dLbls>
        <c:gapWidth val="219"/>
        <c:overlap val="-27"/>
        <c:axId val="1517945871"/>
        <c:axId val="2040461823"/>
      </c:barChart>
      <c:catAx>
        <c:axId val="15179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cs-CZ"/>
          </a:p>
        </c:txPr>
        <c:crossAx val="2040461823"/>
        <c:crosses val="autoZero"/>
        <c:auto val="1"/>
        <c:lblAlgn val="ctr"/>
        <c:lblOffset val="100"/>
        <c:noMultiLvlLbl val="0"/>
      </c:catAx>
      <c:valAx>
        <c:axId val="204046182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cs-CZ"/>
          </a:p>
        </c:txPr>
        <c:crossAx val="15179458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chart>
  <c:spPr>
    <a:noFill/>
    <a:ln>
      <a:noFill/>
    </a:ln>
    <a:effectLst/>
  </c:spPr>
  <c:txPr>
    <a:bodyPr/>
    <a:lstStyle/>
    <a:p>
      <a:pPr>
        <a:defRPr/>
      </a:pPr>
      <a:endParaRPr lang="cs-CZ"/>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cs-CZ" sz="1400" b="1" i="0" u="none" strike="noStrike" baseline="0" dirty="0">
                <a:effectLst/>
              </a:rPr>
              <a:t>7denní počet případů, hospitalizovaných do 3 dnů od pozitivity / 100 tisíc obyvatel</a:t>
            </a:r>
            <a:endParaRPr lang="cs-CZ"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cs-CZ"/>
        </a:p>
      </c:txPr>
    </c:title>
    <c:autoTitleDeleted val="0"/>
    <c:plotArea>
      <c:layout/>
      <c:barChart>
        <c:barDir val="col"/>
        <c:grouping val="clustered"/>
        <c:varyColors val="0"/>
        <c:ser>
          <c:idx val="3"/>
          <c:order val="0"/>
          <c:tx>
            <c:strRef>
              <c:f>'64'!$F$2</c:f>
              <c:strCache>
                <c:ptCount val="1"/>
                <c:pt idx="0">
                  <c:v>28.12.2021</c:v>
                </c:pt>
              </c:strCache>
            </c:strRef>
          </c:tx>
          <c:spPr>
            <a:solidFill>
              <a:schemeClr val="accent4"/>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F$3:$F$16</c:f>
              <c:numCache>
                <c:formatCode>General</c:formatCode>
                <c:ptCount val="14"/>
                <c:pt idx="0">
                  <c:v>10.935641499999999</c:v>
                </c:pt>
                <c:pt idx="1">
                  <c:v>10.801167599999999</c:v>
                </c:pt>
                <c:pt idx="2">
                  <c:v>15.8495597</c:v>
                </c:pt>
                <c:pt idx="3">
                  <c:v>12.351089</c:v>
                </c:pt>
                <c:pt idx="4">
                  <c:v>7.5005709999999999</c:v>
                </c:pt>
                <c:pt idx="5">
                  <c:v>14.687810499999999</c:v>
                </c:pt>
                <c:pt idx="6">
                  <c:v>14.9160632</c:v>
                </c:pt>
                <c:pt idx="7">
                  <c:v>11.256292999999999</c:v>
                </c:pt>
                <c:pt idx="8">
                  <c:v>16.2568661</c:v>
                </c:pt>
                <c:pt idx="9">
                  <c:v>15.132101199999999</c:v>
                </c:pt>
                <c:pt idx="10">
                  <c:v>16.7318231</c:v>
                </c:pt>
                <c:pt idx="11">
                  <c:v>16.970065999999999</c:v>
                </c:pt>
                <c:pt idx="12">
                  <c:v>16.720707300000001</c:v>
                </c:pt>
                <c:pt idx="13">
                  <c:v>18.694973399999999</c:v>
                </c:pt>
              </c:numCache>
            </c:numRef>
          </c:val>
          <c:extLst>
            <c:ext xmlns:c16="http://schemas.microsoft.com/office/drawing/2014/chart" uri="{C3380CC4-5D6E-409C-BE32-E72D297353CC}">
              <c16:uniqueId val="{00000003-8164-4D1F-9C43-C8BD577298DE}"/>
            </c:ext>
          </c:extLst>
        </c:ser>
        <c:ser>
          <c:idx val="2"/>
          <c:order val="1"/>
          <c:tx>
            <c:strRef>
              <c:f>'64'!$E$2</c:f>
              <c:strCache>
                <c:ptCount val="1"/>
                <c:pt idx="0">
                  <c:v>04.01.2022</c:v>
                </c:pt>
              </c:strCache>
            </c:strRef>
          </c:tx>
          <c:spPr>
            <a:solidFill>
              <a:schemeClr val="accent3"/>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E$3:$E$16</c:f>
              <c:numCache>
                <c:formatCode>General</c:formatCode>
                <c:ptCount val="14"/>
                <c:pt idx="0">
                  <c:v>8.9132967999999995</c:v>
                </c:pt>
                <c:pt idx="1">
                  <c:v>11.158822199999999</c:v>
                </c:pt>
                <c:pt idx="2">
                  <c:v>13.3633542</c:v>
                </c:pt>
                <c:pt idx="3">
                  <c:v>12.012703</c:v>
                </c:pt>
                <c:pt idx="4">
                  <c:v>7.5005709999999999</c:v>
                </c:pt>
                <c:pt idx="5">
                  <c:v>15.6669979</c:v>
                </c:pt>
                <c:pt idx="6">
                  <c:v>28.0241188</c:v>
                </c:pt>
                <c:pt idx="7">
                  <c:v>15.0689084</c:v>
                </c:pt>
                <c:pt idx="8">
                  <c:v>12.622978399999999</c:v>
                </c:pt>
                <c:pt idx="9">
                  <c:v>14.542538800000001</c:v>
                </c:pt>
                <c:pt idx="10">
                  <c:v>17.317436900000001</c:v>
                </c:pt>
                <c:pt idx="11">
                  <c:v>11.419109799999999</c:v>
                </c:pt>
                <c:pt idx="12">
                  <c:v>14.652166100000001</c:v>
                </c:pt>
                <c:pt idx="13">
                  <c:v>19.449479100000001</c:v>
                </c:pt>
              </c:numCache>
            </c:numRef>
          </c:val>
          <c:extLst>
            <c:ext xmlns:c16="http://schemas.microsoft.com/office/drawing/2014/chart" uri="{C3380CC4-5D6E-409C-BE32-E72D297353CC}">
              <c16:uniqueId val="{00000002-8164-4D1F-9C43-C8BD577298DE}"/>
            </c:ext>
          </c:extLst>
        </c:ser>
        <c:ser>
          <c:idx val="1"/>
          <c:order val="2"/>
          <c:tx>
            <c:strRef>
              <c:f>'64'!$D$2</c:f>
              <c:strCache>
                <c:ptCount val="1"/>
                <c:pt idx="0">
                  <c:v>11.01.2022</c:v>
                </c:pt>
              </c:strCache>
            </c:strRef>
          </c:tx>
          <c:spPr>
            <a:solidFill>
              <a:schemeClr val="accent2"/>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D$3:$D$16</c:f>
              <c:numCache>
                <c:formatCode>General</c:formatCode>
                <c:ptCount val="14"/>
                <c:pt idx="0">
                  <c:v>8.3889852000000005</c:v>
                </c:pt>
                <c:pt idx="1">
                  <c:v>7.2961529000000001</c:v>
                </c:pt>
                <c:pt idx="2">
                  <c:v>8.2355555000000003</c:v>
                </c:pt>
                <c:pt idx="3">
                  <c:v>8.4596499999999999</c:v>
                </c:pt>
                <c:pt idx="4">
                  <c:v>5.7958958000000003</c:v>
                </c:pt>
                <c:pt idx="5">
                  <c:v>11.7502484</c:v>
                </c:pt>
                <c:pt idx="6">
                  <c:v>13.5600574</c:v>
                </c:pt>
                <c:pt idx="7">
                  <c:v>13.434930400000001</c:v>
                </c:pt>
                <c:pt idx="8">
                  <c:v>9.9453768999999994</c:v>
                </c:pt>
                <c:pt idx="9">
                  <c:v>9.6295189000000008</c:v>
                </c:pt>
                <c:pt idx="10">
                  <c:v>12.297890000000001</c:v>
                </c:pt>
                <c:pt idx="11">
                  <c:v>9.0401285999999992</c:v>
                </c:pt>
                <c:pt idx="12">
                  <c:v>8.9636780999999992</c:v>
                </c:pt>
                <c:pt idx="13">
                  <c:v>15.509282900000001</c:v>
                </c:pt>
              </c:numCache>
            </c:numRef>
          </c:val>
          <c:extLst>
            <c:ext xmlns:c16="http://schemas.microsoft.com/office/drawing/2014/chart" uri="{C3380CC4-5D6E-409C-BE32-E72D297353CC}">
              <c16:uniqueId val="{00000001-8164-4D1F-9C43-C8BD577298DE}"/>
            </c:ext>
          </c:extLst>
        </c:ser>
        <c:ser>
          <c:idx val="0"/>
          <c:order val="3"/>
          <c:tx>
            <c:strRef>
              <c:f>'64'!$C$2</c:f>
              <c:strCache>
                <c:ptCount val="1"/>
                <c:pt idx="0">
                  <c:v>18.01.2022</c:v>
                </c:pt>
              </c:strCache>
            </c:strRef>
          </c:tx>
          <c:spPr>
            <a:solidFill>
              <a:schemeClr val="accent1"/>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C$3:$C$16</c:f>
              <c:numCache>
                <c:formatCode>General</c:formatCode>
                <c:ptCount val="14"/>
                <c:pt idx="0">
                  <c:v>5.3180173999999996</c:v>
                </c:pt>
                <c:pt idx="1">
                  <c:v>3.6480763999999999</c:v>
                </c:pt>
                <c:pt idx="2">
                  <c:v>6.3709014000000002</c:v>
                </c:pt>
                <c:pt idx="3">
                  <c:v>4.7374039999999997</c:v>
                </c:pt>
                <c:pt idx="4">
                  <c:v>8.1824411000000001</c:v>
                </c:pt>
                <c:pt idx="5">
                  <c:v>8.6902878999999995</c:v>
                </c:pt>
                <c:pt idx="6">
                  <c:v>8.3620353999999999</c:v>
                </c:pt>
                <c:pt idx="7">
                  <c:v>7.0805714000000002</c:v>
                </c:pt>
                <c:pt idx="8">
                  <c:v>8.0328043999999998</c:v>
                </c:pt>
                <c:pt idx="9">
                  <c:v>6.2886654000000002</c:v>
                </c:pt>
                <c:pt idx="10">
                  <c:v>7.5293203999999996</c:v>
                </c:pt>
                <c:pt idx="11">
                  <c:v>7.9299374</c:v>
                </c:pt>
                <c:pt idx="12">
                  <c:v>5.8608663999999999</c:v>
                </c:pt>
                <c:pt idx="13">
                  <c:v>8.0480602999999995</c:v>
                </c:pt>
              </c:numCache>
            </c:numRef>
          </c:val>
          <c:extLst>
            <c:ext xmlns:c16="http://schemas.microsoft.com/office/drawing/2014/chart" uri="{C3380CC4-5D6E-409C-BE32-E72D297353CC}">
              <c16:uniqueId val="{00000000-8164-4D1F-9C43-C8BD577298DE}"/>
            </c:ext>
          </c:extLst>
        </c:ser>
        <c:dLbls>
          <c:showLegendKey val="0"/>
          <c:showVal val="0"/>
          <c:showCatName val="0"/>
          <c:showSerName val="0"/>
          <c:showPercent val="0"/>
          <c:showBubbleSize val="0"/>
        </c:dLbls>
        <c:gapWidth val="219"/>
        <c:overlap val="-27"/>
        <c:axId val="1517945871"/>
        <c:axId val="2040461823"/>
      </c:barChart>
      <c:catAx>
        <c:axId val="15179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cs-CZ"/>
          </a:p>
        </c:txPr>
        <c:crossAx val="2040461823"/>
        <c:crosses val="autoZero"/>
        <c:auto val="1"/>
        <c:lblAlgn val="ctr"/>
        <c:lblOffset val="100"/>
        <c:noMultiLvlLbl val="0"/>
      </c:catAx>
      <c:valAx>
        <c:axId val="204046182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cs-CZ"/>
          </a:p>
        </c:txPr>
        <c:crossAx val="15179458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chart>
  <c:spPr>
    <a:noFill/>
    <a:ln>
      <a:noFill/>
    </a:ln>
    <a:effectLst/>
  </c:spPr>
  <c:txPr>
    <a:bodyPr/>
    <a:lstStyle/>
    <a:p>
      <a:pPr>
        <a:defRPr/>
      </a:pPr>
      <a:endParaRPr lang="cs-CZ"/>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cs-CZ" sz="1400" b="1" i="0" u="none" strike="noStrike" baseline="0" dirty="0">
                <a:effectLst/>
              </a:rPr>
              <a:t>7denní počty nových hospitalizací na JIP v den diagnózy</a:t>
            </a:r>
            <a:endParaRPr lang="cs-CZ"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cs-CZ"/>
        </a:p>
      </c:txPr>
    </c:title>
    <c:autoTitleDeleted val="0"/>
    <c:plotArea>
      <c:layout/>
      <c:barChart>
        <c:barDir val="col"/>
        <c:grouping val="clustered"/>
        <c:varyColors val="0"/>
        <c:ser>
          <c:idx val="3"/>
          <c:order val="0"/>
          <c:tx>
            <c:strRef>
              <c:f>'64'!$F$2</c:f>
              <c:strCache>
                <c:ptCount val="1"/>
                <c:pt idx="0">
                  <c:v>28.12.2021</c:v>
                </c:pt>
              </c:strCache>
            </c:strRef>
          </c:tx>
          <c:spPr>
            <a:solidFill>
              <a:schemeClr val="accent4"/>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F$3:$F$16</c:f>
              <c:numCache>
                <c:formatCode>General</c:formatCode>
                <c:ptCount val="14"/>
                <c:pt idx="0">
                  <c:v>2.4717544999999999</c:v>
                </c:pt>
                <c:pt idx="1">
                  <c:v>2.2889891000000002</c:v>
                </c:pt>
                <c:pt idx="2">
                  <c:v>6.2155136000000004</c:v>
                </c:pt>
                <c:pt idx="3">
                  <c:v>2.3687019999999999</c:v>
                </c:pt>
                <c:pt idx="4">
                  <c:v>5.4549607</c:v>
                </c:pt>
                <c:pt idx="5">
                  <c:v>1.9583747</c:v>
                </c:pt>
                <c:pt idx="6">
                  <c:v>3.1640134</c:v>
                </c:pt>
                <c:pt idx="7">
                  <c:v>2.5417434999999999</c:v>
                </c:pt>
                <c:pt idx="8">
                  <c:v>3.0601159</c:v>
                </c:pt>
                <c:pt idx="9">
                  <c:v>3.1443327000000001</c:v>
                </c:pt>
                <c:pt idx="10">
                  <c:v>1.0875684999999999</c:v>
                </c:pt>
                <c:pt idx="11">
                  <c:v>1.7445862000000001</c:v>
                </c:pt>
                <c:pt idx="12">
                  <c:v>5.5161096000000001</c:v>
                </c:pt>
                <c:pt idx="13">
                  <c:v>2.6826867000000001</c:v>
                </c:pt>
              </c:numCache>
            </c:numRef>
          </c:val>
          <c:extLst>
            <c:ext xmlns:c16="http://schemas.microsoft.com/office/drawing/2014/chart" uri="{C3380CC4-5D6E-409C-BE32-E72D297353CC}">
              <c16:uniqueId val="{00000003-8164-4D1F-9C43-C8BD577298DE}"/>
            </c:ext>
          </c:extLst>
        </c:ser>
        <c:ser>
          <c:idx val="2"/>
          <c:order val="1"/>
          <c:tx>
            <c:strRef>
              <c:f>'64'!$E$2</c:f>
              <c:strCache>
                <c:ptCount val="1"/>
                <c:pt idx="0">
                  <c:v>04.01.2022</c:v>
                </c:pt>
              </c:strCache>
            </c:strRef>
          </c:tx>
          <c:spPr>
            <a:solidFill>
              <a:schemeClr val="accent3"/>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E$3:$E$16</c:f>
              <c:numCache>
                <c:formatCode>General</c:formatCode>
                <c:ptCount val="14"/>
                <c:pt idx="0">
                  <c:v>1.4980329999999999</c:v>
                </c:pt>
                <c:pt idx="1">
                  <c:v>1.3590873000000001</c:v>
                </c:pt>
                <c:pt idx="2">
                  <c:v>2.9523689000000002</c:v>
                </c:pt>
                <c:pt idx="3">
                  <c:v>0.84596499999999997</c:v>
                </c:pt>
                <c:pt idx="4">
                  <c:v>1.7046752000000001</c:v>
                </c:pt>
                <c:pt idx="5">
                  <c:v>0.85678889999999996</c:v>
                </c:pt>
                <c:pt idx="6">
                  <c:v>1.1300047</c:v>
                </c:pt>
                <c:pt idx="7">
                  <c:v>3.4495091000000002</c:v>
                </c:pt>
                <c:pt idx="8">
                  <c:v>3.6338876999999998</c:v>
                </c:pt>
                <c:pt idx="9">
                  <c:v>3.3408535000000001</c:v>
                </c:pt>
                <c:pt idx="10">
                  <c:v>1.5895231999999999</c:v>
                </c:pt>
                <c:pt idx="11">
                  <c:v>3.0133762000000002</c:v>
                </c:pt>
                <c:pt idx="12">
                  <c:v>3.2751899999999998</c:v>
                </c:pt>
                <c:pt idx="13">
                  <c:v>0.33533580000000002</c:v>
                </c:pt>
              </c:numCache>
            </c:numRef>
          </c:val>
          <c:extLst>
            <c:ext xmlns:c16="http://schemas.microsoft.com/office/drawing/2014/chart" uri="{C3380CC4-5D6E-409C-BE32-E72D297353CC}">
              <c16:uniqueId val="{00000002-8164-4D1F-9C43-C8BD577298DE}"/>
            </c:ext>
          </c:extLst>
        </c:ser>
        <c:ser>
          <c:idx val="1"/>
          <c:order val="2"/>
          <c:tx>
            <c:strRef>
              <c:f>'64'!$D$2</c:f>
              <c:strCache>
                <c:ptCount val="1"/>
                <c:pt idx="0">
                  <c:v>11.01.2022</c:v>
                </c:pt>
              </c:strCache>
            </c:strRef>
          </c:tx>
          <c:spPr>
            <a:solidFill>
              <a:schemeClr val="accent2"/>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D$3:$D$16</c:f>
              <c:numCache>
                <c:formatCode>General</c:formatCode>
                <c:ptCount val="14"/>
                <c:pt idx="0">
                  <c:v>1.1235248</c:v>
                </c:pt>
                <c:pt idx="1">
                  <c:v>0.64377819999999997</c:v>
                </c:pt>
                <c:pt idx="2">
                  <c:v>0.77693920000000005</c:v>
                </c:pt>
                <c:pt idx="3">
                  <c:v>0.33838600000000002</c:v>
                </c:pt>
                <c:pt idx="4">
                  <c:v>0.68186999999999998</c:v>
                </c:pt>
                <c:pt idx="5">
                  <c:v>0.97918729999999998</c:v>
                </c:pt>
                <c:pt idx="6">
                  <c:v>2.0340085999999999</c:v>
                </c:pt>
                <c:pt idx="7">
                  <c:v>1.8155311000000001</c:v>
                </c:pt>
                <c:pt idx="8">
                  <c:v>1.5300579000000001</c:v>
                </c:pt>
                <c:pt idx="9">
                  <c:v>3.7338950999999998</c:v>
                </c:pt>
                <c:pt idx="10">
                  <c:v>1.5895231999999999</c:v>
                </c:pt>
                <c:pt idx="11">
                  <c:v>2.3789812000000001</c:v>
                </c:pt>
                <c:pt idx="12">
                  <c:v>2.5856762999999998</c:v>
                </c:pt>
                <c:pt idx="13">
                  <c:v>0.41916979999999998</c:v>
                </c:pt>
              </c:numCache>
            </c:numRef>
          </c:val>
          <c:extLst>
            <c:ext xmlns:c16="http://schemas.microsoft.com/office/drawing/2014/chart" uri="{C3380CC4-5D6E-409C-BE32-E72D297353CC}">
              <c16:uniqueId val="{00000001-8164-4D1F-9C43-C8BD577298DE}"/>
            </c:ext>
          </c:extLst>
        </c:ser>
        <c:ser>
          <c:idx val="0"/>
          <c:order val="3"/>
          <c:tx>
            <c:strRef>
              <c:f>'64'!$C$2</c:f>
              <c:strCache>
                <c:ptCount val="1"/>
                <c:pt idx="0">
                  <c:v>18.01.2022</c:v>
                </c:pt>
              </c:strCache>
            </c:strRef>
          </c:tx>
          <c:spPr>
            <a:solidFill>
              <a:schemeClr val="accent1"/>
            </a:solidFill>
            <a:ln>
              <a:noFill/>
            </a:ln>
            <a:effectLst/>
          </c:spPr>
          <c:invertIfNegative val="0"/>
          <c:cat>
            <c:multiLvlStrRef>
              <c:f>'64'!$A$3:$B$16</c:f>
              <c:multiLvlStrCache>
                <c:ptCount val="14"/>
                <c:lvl>
                  <c:pt idx="0">
                    <c:v>CZ010</c:v>
                  </c:pt>
                  <c:pt idx="1">
                    <c:v>CZ020</c:v>
                  </c:pt>
                  <c:pt idx="2">
                    <c:v>CZ031</c:v>
                  </c:pt>
                  <c:pt idx="3">
                    <c:v>CZ032</c:v>
                  </c:pt>
                  <c:pt idx="4">
                    <c:v>CZ041</c:v>
                  </c:pt>
                  <c:pt idx="5">
                    <c:v>CZ042</c:v>
                  </c:pt>
                  <c:pt idx="6">
                    <c:v>CZ051</c:v>
                  </c:pt>
                  <c:pt idx="7">
                    <c:v>CZ052</c:v>
                  </c:pt>
                  <c:pt idx="8">
                    <c:v>CZ053</c:v>
                  </c:pt>
                  <c:pt idx="9">
                    <c:v>CZ063</c:v>
                  </c:pt>
                  <c:pt idx="10">
                    <c:v>CZ064</c:v>
                  </c:pt>
                  <c:pt idx="11">
                    <c:v>CZ071</c:v>
                  </c:pt>
                  <c:pt idx="12">
                    <c:v>CZ072</c:v>
                  </c:pt>
                  <c:pt idx="13">
                    <c:v>CZ080</c:v>
                  </c:pt>
                </c:lvl>
                <c:lvl>
                  <c:pt idx="0">
                    <c:v>Hlavní město Praha</c:v>
                  </c:pt>
                  <c:pt idx="1">
                    <c:v>Středočeský kraj</c:v>
                  </c:pt>
                  <c:pt idx="2">
                    <c:v>Jihočeský kraj</c:v>
                  </c:pt>
                  <c:pt idx="3">
                    <c:v>Plzeňský kraj</c:v>
                  </c:pt>
                  <c:pt idx="4">
                    <c:v>Karlovarský kraj</c:v>
                  </c:pt>
                  <c:pt idx="5">
                    <c:v>Ústecký kraj</c:v>
                  </c:pt>
                  <c:pt idx="6">
                    <c:v>Liberecký kraj</c:v>
                  </c:pt>
                  <c:pt idx="7">
                    <c:v>Královéhradecký kraj</c:v>
                  </c:pt>
                  <c:pt idx="8">
                    <c:v>Pardubický kraj</c:v>
                  </c:pt>
                  <c:pt idx="9">
                    <c:v>Kraj Vysočina</c:v>
                  </c:pt>
                  <c:pt idx="10">
                    <c:v>Jihomoravský kraj</c:v>
                  </c:pt>
                  <c:pt idx="11">
                    <c:v>Olomoucký kraj</c:v>
                  </c:pt>
                  <c:pt idx="12">
                    <c:v>Zlínský kraj</c:v>
                  </c:pt>
                  <c:pt idx="13">
                    <c:v>Moravskoslezský kraj</c:v>
                  </c:pt>
                </c:lvl>
              </c:multiLvlStrCache>
            </c:multiLvlStrRef>
          </c:cat>
          <c:val>
            <c:numRef>
              <c:f>'64'!$C$3:$C$16</c:f>
              <c:numCache>
                <c:formatCode>General</c:formatCode>
                <c:ptCount val="14"/>
                <c:pt idx="0">
                  <c:v>0.1498033</c:v>
                </c:pt>
                <c:pt idx="1">
                  <c:v>0.2145927</c:v>
                </c:pt>
                <c:pt idx="2">
                  <c:v>0.31077559999999999</c:v>
                </c:pt>
                <c:pt idx="3">
                  <c:v>0.16919300000000001</c:v>
                </c:pt>
                <c:pt idx="4">
                  <c:v>1.3637401</c:v>
                </c:pt>
                <c:pt idx="5">
                  <c:v>0.48959360000000002</c:v>
                </c:pt>
                <c:pt idx="6">
                  <c:v>0.67800280000000002</c:v>
                </c:pt>
                <c:pt idx="7">
                  <c:v>1.0893185999999999</c:v>
                </c:pt>
                <c:pt idx="8">
                  <c:v>0.76502890000000001</c:v>
                </c:pt>
                <c:pt idx="9">
                  <c:v>0.78608310000000003</c:v>
                </c:pt>
                <c:pt idx="10">
                  <c:v>0.25097730000000001</c:v>
                </c:pt>
                <c:pt idx="11">
                  <c:v>0.15859870000000001</c:v>
                </c:pt>
                <c:pt idx="12">
                  <c:v>0.34475679999999997</c:v>
                </c:pt>
                <c:pt idx="13">
                  <c:v>0.2515018</c:v>
                </c:pt>
              </c:numCache>
            </c:numRef>
          </c:val>
          <c:extLst>
            <c:ext xmlns:c16="http://schemas.microsoft.com/office/drawing/2014/chart" uri="{C3380CC4-5D6E-409C-BE32-E72D297353CC}">
              <c16:uniqueId val="{00000000-8164-4D1F-9C43-C8BD577298DE}"/>
            </c:ext>
          </c:extLst>
        </c:ser>
        <c:dLbls>
          <c:showLegendKey val="0"/>
          <c:showVal val="0"/>
          <c:showCatName val="0"/>
          <c:showSerName val="0"/>
          <c:showPercent val="0"/>
          <c:showBubbleSize val="0"/>
        </c:dLbls>
        <c:gapWidth val="219"/>
        <c:overlap val="-27"/>
        <c:axId val="1517945871"/>
        <c:axId val="2040461823"/>
      </c:barChart>
      <c:catAx>
        <c:axId val="15179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cs-CZ"/>
          </a:p>
        </c:txPr>
        <c:crossAx val="2040461823"/>
        <c:crosses val="autoZero"/>
        <c:auto val="1"/>
        <c:lblAlgn val="ctr"/>
        <c:lblOffset val="100"/>
        <c:noMultiLvlLbl val="0"/>
      </c:catAx>
      <c:valAx>
        <c:axId val="204046182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cs-CZ"/>
          </a:p>
        </c:txPr>
        <c:crossAx val="15179458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cs-CZ"/>
        </a:p>
      </c:txPr>
    </c:legend>
    <c:plotVisOnly val="1"/>
    <c:dispBlanksAs val="gap"/>
    <c:showDLblsOverMax val="0"/>
  </c:chart>
  <c:spPr>
    <a:noFill/>
    <a:ln>
      <a:noFill/>
    </a:ln>
    <a:effectLst/>
  </c:spPr>
  <c:txPr>
    <a:bodyPr/>
    <a:lstStyle/>
    <a:p>
      <a:pPr>
        <a:defRPr/>
      </a:pPr>
      <a:endParaRPr lang="cs-CZ"/>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388612884737783E-2"/>
          <c:y val="3.7475733179641986E-2"/>
          <c:w val="0.92647190119621747"/>
          <c:h val="0.71333410604347958"/>
        </c:manualLayout>
      </c:layout>
      <c:lineChart>
        <c:grouping val="standard"/>
        <c:varyColors val="0"/>
        <c:ser>
          <c:idx val="3"/>
          <c:order val="0"/>
          <c:tx>
            <c:v>JIP_v_den_pozitivity_7dni_100_000</c:v>
          </c:tx>
          <c:spPr>
            <a:ln>
              <a:solidFill>
                <a:srgbClr val="D31145"/>
              </a:solidFill>
            </a:ln>
          </c:spPr>
          <c:marker>
            <c:symbol val="none"/>
          </c:marker>
          <c:cat>
            <c:numRef>
              <c:f>Sheet1!$A$2:$A$507</c:f>
              <c:numCache>
                <c:formatCode>m/d/yyyy</c:formatCode>
                <c:ptCount val="506"/>
                <c:pt idx="0">
                  <c:v>44075</c:v>
                </c:pt>
                <c:pt idx="1">
                  <c:v>44076</c:v>
                </c:pt>
                <c:pt idx="2">
                  <c:v>44077</c:v>
                </c:pt>
                <c:pt idx="3">
                  <c:v>44078</c:v>
                </c:pt>
                <c:pt idx="4">
                  <c:v>44079</c:v>
                </c:pt>
                <c:pt idx="5">
                  <c:v>44080</c:v>
                </c:pt>
                <c:pt idx="6">
                  <c:v>44081</c:v>
                </c:pt>
                <c:pt idx="7">
                  <c:v>44082</c:v>
                </c:pt>
                <c:pt idx="8">
                  <c:v>44083</c:v>
                </c:pt>
                <c:pt idx="9">
                  <c:v>44084</c:v>
                </c:pt>
                <c:pt idx="10">
                  <c:v>44085</c:v>
                </c:pt>
                <c:pt idx="11">
                  <c:v>44086</c:v>
                </c:pt>
                <c:pt idx="12">
                  <c:v>44087</c:v>
                </c:pt>
                <c:pt idx="13">
                  <c:v>44088</c:v>
                </c:pt>
                <c:pt idx="14">
                  <c:v>44089</c:v>
                </c:pt>
                <c:pt idx="15">
                  <c:v>44090</c:v>
                </c:pt>
                <c:pt idx="16">
                  <c:v>44091</c:v>
                </c:pt>
                <c:pt idx="17">
                  <c:v>44092</c:v>
                </c:pt>
                <c:pt idx="18">
                  <c:v>44093</c:v>
                </c:pt>
                <c:pt idx="19">
                  <c:v>44094</c:v>
                </c:pt>
                <c:pt idx="20">
                  <c:v>44095</c:v>
                </c:pt>
                <c:pt idx="21">
                  <c:v>44096</c:v>
                </c:pt>
                <c:pt idx="22">
                  <c:v>44097</c:v>
                </c:pt>
                <c:pt idx="23">
                  <c:v>44098</c:v>
                </c:pt>
                <c:pt idx="24">
                  <c:v>44099</c:v>
                </c:pt>
                <c:pt idx="25">
                  <c:v>44100</c:v>
                </c:pt>
                <c:pt idx="26">
                  <c:v>44101</c:v>
                </c:pt>
                <c:pt idx="27">
                  <c:v>44102</c:v>
                </c:pt>
                <c:pt idx="28">
                  <c:v>44103</c:v>
                </c:pt>
                <c:pt idx="29">
                  <c:v>44104</c:v>
                </c:pt>
                <c:pt idx="30">
                  <c:v>44105</c:v>
                </c:pt>
                <c:pt idx="31">
                  <c:v>44106</c:v>
                </c:pt>
                <c:pt idx="32">
                  <c:v>44107</c:v>
                </c:pt>
                <c:pt idx="33">
                  <c:v>44108</c:v>
                </c:pt>
                <c:pt idx="34">
                  <c:v>44109</c:v>
                </c:pt>
                <c:pt idx="35">
                  <c:v>44110</c:v>
                </c:pt>
                <c:pt idx="36">
                  <c:v>44111</c:v>
                </c:pt>
                <c:pt idx="37">
                  <c:v>44112</c:v>
                </c:pt>
                <c:pt idx="38">
                  <c:v>44113</c:v>
                </c:pt>
                <c:pt idx="39">
                  <c:v>44114</c:v>
                </c:pt>
                <c:pt idx="40">
                  <c:v>44115</c:v>
                </c:pt>
                <c:pt idx="41">
                  <c:v>44116</c:v>
                </c:pt>
                <c:pt idx="42">
                  <c:v>44117</c:v>
                </c:pt>
                <c:pt idx="43">
                  <c:v>44118</c:v>
                </c:pt>
                <c:pt idx="44">
                  <c:v>44119</c:v>
                </c:pt>
                <c:pt idx="45">
                  <c:v>44120</c:v>
                </c:pt>
                <c:pt idx="46">
                  <c:v>44121</c:v>
                </c:pt>
                <c:pt idx="47">
                  <c:v>44122</c:v>
                </c:pt>
                <c:pt idx="48">
                  <c:v>44123</c:v>
                </c:pt>
                <c:pt idx="49">
                  <c:v>44124</c:v>
                </c:pt>
                <c:pt idx="50">
                  <c:v>44125</c:v>
                </c:pt>
                <c:pt idx="51">
                  <c:v>44126</c:v>
                </c:pt>
                <c:pt idx="52">
                  <c:v>44127</c:v>
                </c:pt>
                <c:pt idx="53">
                  <c:v>44128</c:v>
                </c:pt>
                <c:pt idx="54">
                  <c:v>44129</c:v>
                </c:pt>
                <c:pt idx="55">
                  <c:v>44130</c:v>
                </c:pt>
                <c:pt idx="56">
                  <c:v>44131</c:v>
                </c:pt>
                <c:pt idx="57">
                  <c:v>44132</c:v>
                </c:pt>
                <c:pt idx="58">
                  <c:v>44133</c:v>
                </c:pt>
                <c:pt idx="59">
                  <c:v>44134</c:v>
                </c:pt>
                <c:pt idx="60">
                  <c:v>44135</c:v>
                </c:pt>
                <c:pt idx="61">
                  <c:v>44136</c:v>
                </c:pt>
                <c:pt idx="62">
                  <c:v>44137</c:v>
                </c:pt>
                <c:pt idx="63">
                  <c:v>44138</c:v>
                </c:pt>
                <c:pt idx="64">
                  <c:v>44139</c:v>
                </c:pt>
                <c:pt idx="65">
                  <c:v>44140</c:v>
                </c:pt>
                <c:pt idx="66">
                  <c:v>44141</c:v>
                </c:pt>
                <c:pt idx="67">
                  <c:v>44142</c:v>
                </c:pt>
                <c:pt idx="68">
                  <c:v>44143</c:v>
                </c:pt>
                <c:pt idx="69">
                  <c:v>44144</c:v>
                </c:pt>
                <c:pt idx="70">
                  <c:v>44145</c:v>
                </c:pt>
                <c:pt idx="71">
                  <c:v>44146</c:v>
                </c:pt>
                <c:pt idx="72">
                  <c:v>44147</c:v>
                </c:pt>
                <c:pt idx="73">
                  <c:v>44148</c:v>
                </c:pt>
                <c:pt idx="74">
                  <c:v>44149</c:v>
                </c:pt>
                <c:pt idx="75">
                  <c:v>44150</c:v>
                </c:pt>
                <c:pt idx="76">
                  <c:v>44151</c:v>
                </c:pt>
                <c:pt idx="77">
                  <c:v>44152</c:v>
                </c:pt>
                <c:pt idx="78">
                  <c:v>44153</c:v>
                </c:pt>
                <c:pt idx="79">
                  <c:v>44154</c:v>
                </c:pt>
                <c:pt idx="80">
                  <c:v>44155</c:v>
                </c:pt>
                <c:pt idx="81">
                  <c:v>44156</c:v>
                </c:pt>
                <c:pt idx="82">
                  <c:v>44157</c:v>
                </c:pt>
                <c:pt idx="83">
                  <c:v>44158</c:v>
                </c:pt>
                <c:pt idx="84">
                  <c:v>44159</c:v>
                </c:pt>
                <c:pt idx="85">
                  <c:v>44160</c:v>
                </c:pt>
                <c:pt idx="86">
                  <c:v>44161</c:v>
                </c:pt>
                <c:pt idx="87">
                  <c:v>44162</c:v>
                </c:pt>
                <c:pt idx="88">
                  <c:v>44163</c:v>
                </c:pt>
                <c:pt idx="89">
                  <c:v>44164</c:v>
                </c:pt>
                <c:pt idx="90">
                  <c:v>44165</c:v>
                </c:pt>
                <c:pt idx="91">
                  <c:v>44166</c:v>
                </c:pt>
                <c:pt idx="92">
                  <c:v>44167</c:v>
                </c:pt>
                <c:pt idx="93">
                  <c:v>44168</c:v>
                </c:pt>
                <c:pt idx="94">
                  <c:v>44169</c:v>
                </c:pt>
                <c:pt idx="95">
                  <c:v>44170</c:v>
                </c:pt>
                <c:pt idx="96">
                  <c:v>44171</c:v>
                </c:pt>
                <c:pt idx="97">
                  <c:v>44172</c:v>
                </c:pt>
                <c:pt idx="98">
                  <c:v>44173</c:v>
                </c:pt>
                <c:pt idx="99">
                  <c:v>44174</c:v>
                </c:pt>
                <c:pt idx="100">
                  <c:v>44175</c:v>
                </c:pt>
                <c:pt idx="101">
                  <c:v>44176</c:v>
                </c:pt>
                <c:pt idx="102">
                  <c:v>44177</c:v>
                </c:pt>
                <c:pt idx="103">
                  <c:v>44178</c:v>
                </c:pt>
                <c:pt idx="104">
                  <c:v>44179</c:v>
                </c:pt>
                <c:pt idx="105">
                  <c:v>44180</c:v>
                </c:pt>
                <c:pt idx="106">
                  <c:v>44181</c:v>
                </c:pt>
                <c:pt idx="107">
                  <c:v>44182</c:v>
                </c:pt>
                <c:pt idx="108">
                  <c:v>44183</c:v>
                </c:pt>
                <c:pt idx="109">
                  <c:v>44184</c:v>
                </c:pt>
                <c:pt idx="110">
                  <c:v>44185</c:v>
                </c:pt>
                <c:pt idx="111">
                  <c:v>44186</c:v>
                </c:pt>
                <c:pt idx="112">
                  <c:v>44187</c:v>
                </c:pt>
                <c:pt idx="113">
                  <c:v>44188</c:v>
                </c:pt>
                <c:pt idx="114">
                  <c:v>44189</c:v>
                </c:pt>
                <c:pt idx="115">
                  <c:v>44190</c:v>
                </c:pt>
                <c:pt idx="116">
                  <c:v>44191</c:v>
                </c:pt>
                <c:pt idx="117">
                  <c:v>44192</c:v>
                </c:pt>
                <c:pt idx="118">
                  <c:v>44193</c:v>
                </c:pt>
                <c:pt idx="119">
                  <c:v>44194</c:v>
                </c:pt>
                <c:pt idx="120">
                  <c:v>44195</c:v>
                </c:pt>
                <c:pt idx="121">
                  <c:v>44196</c:v>
                </c:pt>
                <c:pt idx="122">
                  <c:v>44197</c:v>
                </c:pt>
                <c:pt idx="123">
                  <c:v>44198</c:v>
                </c:pt>
                <c:pt idx="124">
                  <c:v>44199</c:v>
                </c:pt>
                <c:pt idx="125">
                  <c:v>44200</c:v>
                </c:pt>
                <c:pt idx="126">
                  <c:v>44201</c:v>
                </c:pt>
                <c:pt idx="127">
                  <c:v>44202</c:v>
                </c:pt>
                <c:pt idx="128">
                  <c:v>44203</c:v>
                </c:pt>
                <c:pt idx="129">
                  <c:v>44204</c:v>
                </c:pt>
                <c:pt idx="130">
                  <c:v>44205</c:v>
                </c:pt>
                <c:pt idx="131">
                  <c:v>44206</c:v>
                </c:pt>
                <c:pt idx="132">
                  <c:v>44207</c:v>
                </c:pt>
                <c:pt idx="133">
                  <c:v>44208</c:v>
                </c:pt>
                <c:pt idx="134">
                  <c:v>44209</c:v>
                </c:pt>
                <c:pt idx="135">
                  <c:v>44210</c:v>
                </c:pt>
                <c:pt idx="136">
                  <c:v>44211</c:v>
                </c:pt>
                <c:pt idx="137">
                  <c:v>44212</c:v>
                </c:pt>
                <c:pt idx="138">
                  <c:v>44213</c:v>
                </c:pt>
                <c:pt idx="139">
                  <c:v>44214</c:v>
                </c:pt>
                <c:pt idx="140">
                  <c:v>44215</c:v>
                </c:pt>
                <c:pt idx="141">
                  <c:v>44216</c:v>
                </c:pt>
                <c:pt idx="142">
                  <c:v>44217</c:v>
                </c:pt>
                <c:pt idx="143">
                  <c:v>44218</c:v>
                </c:pt>
                <c:pt idx="144">
                  <c:v>44219</c:v>
                </c:pt>
                <c:pt idx="145">
                  <c:v>44220</c:v>
                </c:pt>
                <c:pt idx="146">
                  <c:v>44221</c:v>
                </c:pt>
                <c:pt idx="147">
                  <c:v>44222</c:v>
                </c:pt>
                <c:pt idx="148">
                  <c:v>44223</c:v>
                </c:pt>
                <c:pt idx="149">
                  <c:v>44224</c:v>
                </c:pt>
                <c:pt idx="150">
                  <c:v>44225</c:v>
                </c:pt>
                <c:pt idx="151">
                  <c:v>44226</c:v>
                </c:pt>
                <c:pt idx="152">
                  <c:v>44227</c:v>
                </c:pt>
                <c:pt idx="153">
                  <c:v>44228</c:v>
                </c:pt>
                <c:pt idx="154">
                  <c:v>44229</c:v>
                </c:pt>
                <c:pt idx="155">
                  <c:v>44230</c:v>
                </c:pt>
                <c:pt idx="156">
                  <c:v>44231</c:v>
                </c:pt>
                <c:pt idx="157">
                  <c:v>44232</c:v>
                </c:pt>
                <c:pt idx="158">
                  <c:v>44233</c:v>
                </c:pt>
                <c:pt idx="159">
                  <c:v>44234</c:v>
                </c:pt>
                <c:pt idx="160">
                  <c:v>44235</c:v>
                </c:pt>
                <c:pt idx="161">
                  <c:v>44236</c:v>
                </c:pt>
                <c:pt idx="162">
                  <c:v>44237</c:v>
                </c:pt>
                <c:pt idx="163">
                  <c:v>44238</c:v>
                </c:pt>
                <c:pt idx="164">
                  <c:v>44239</c:v>
                </c:pt>
                <c:pt idx="165">
                  <c:v>44240</c:v>
                </c:pt>
                <c:pt idx="166">
                  <c:v>44241</c:v>
                </c:pt>
                <c:pt idx="167">
                  <c:v>44242</c:v>
                </c:pt>
                <c:pt idx="168">
                  <c:v>44243</c:v>
                </c:pt>
                <c:pt idx="169">
                  <c:v>44244</c:v>
                </c:pt>
                <c:pt idx="170">
                  <c:v>44245</c:v>
                </c:pt>
                <c:pt idx="171">
                  <c:v>44246</c:v>
                </c:pt>
                <c:pt idx="172">
                  <c:v>44247</c:v>
                </c:pt>
                <c:pt idx="173">
                  <c:v>44248</c:v>
                </c:pt>
                <c:pt idx="174">
                  <c:v>44249</c:v>
                </c:pt>
                <c:pt idx="175">
                  <c:v>44250</c:v>
                </c:pt>
                <c:pt idx="176">
                  <c:v>44251</c:v>
                </c:pt>
                <c:pt idx="177">
                  <c:v>44252</c:v>
                </c:pt>
                <c:pt idx="178">
                  <c:v>44253</c:v>
                </c:pt>
                <c:pt idx="179">
                  <c:v>44254</c:v>
                </c:pt>
                <c:pt idx="180">
                  <c:v>44255</c:v>
                </c:pt>
                <c:pt idx="181">
                  <c:v>44256</c:v>
                </c:pt>
                <c:pt idx="182">
                  <c:v>44257</c:v>
                </c:pt>
                <c:pt idx="183">
                  <c:v>44258</c:v>
                </c:pt>
                <c:pt idx="184">
                  <c:v>44259</c:v>
                </c:pt>
                <c:pt idx="185">
                  <c:v>44260</c:v>
                </c:pt>
                <c:pt idx="186">
                  <c:v>44261</c:v>
                </c:pt>
                <c:pt idx="187">
                  <c:v>44262</c:v>
                </c:pt>
                <c:pt idx="188">
                  <c:v>44263</c:v>
                </c:pt>
                <c:pt idx="189">
                  <c:v>44264</c:v>
                </c:pt>
                <c:pt idx="190">
                  <c:v>44265</c:v>
                </c:pt>
                <c:pt idx="191">
                  <c:v>44266</c:v>
                </c:pt>
                <c:pt idx="192">
                  <c:v>44267</c:v>
                </c:pt>
                <c:pt idx="193">
                  <c:v>44268</c:v>
                </c:pt>
                <c:pt idx="194">
                  <c:v>44269</c:v>
                </c:pt>
                <c:pt idx="195">
                  <c:v>44270</c:v>
                </c:pt>
                <c:pt idx="196">
                  <c:v>44271</c:v>
                </c:pt>
                <c:pt idx="197">
                  <c:v>44272</c:v>
                </c:pt>
                <c:pt idx="198">
                  <c:v>44273</c:v>
                </c:pt>
                <c:pt idx="199">
                  <c:v>44274</c:v>
                </c:pt>
                <c:pt idx="200">
                  <c:v>44275</c:v>
                </c:pt>
                <c:pt idx="201">
                  <c:v>44276</c:v>
                </c:pt>
                <c:pt idx="202">
                  <c:v>44277</c:v>
                </c:pt>
                <c:pt idx="203">
                  <c:v>44278</c:v>
                </c:pt>
                <c:pt idx="204">
                  <c:v>44279</c:v>
                </c:pt>
                <c:pt idx="205">
                  <c:v>44280</c:v>
                </c:pt>
                <c:pt idx="206">
                  <c:v>44281</c:v>
                </c:pt>
                <c:pt idx="207">
                  <c:v>44282</c:v>
                </c:pt>
                <c:pt idx="208">
                  <c:v>44283</c:v>
                </c:pt>
                <c:pt idx="209">
                  <c:v>44284</c:v>
                </c:pt>
                <c:pt idx="210">
                  <c:v>44285</c:v>
                </c:pt>
                <c:pt idx="211">
                  <c:v>44286</c:v>
                </c:pt>
                <c:pt idx="212">
                  <c:v>44287</c:v>
                </c:pt>
                <c:pt idx="213">
                  <c:v>44288</c:v>
                </c:pt>
                <c:pt idx="214">
                  <c:v>44289</c:v>
                </c:pt>
                <c:pt idx="215">
                  <c:v>44290</c:v>
                </c:pt>
                <c:pt idx="216">
                  <c:v>44291</c:v>
                </c:pt>
                <c:pt idx="217">
                  <c:v>44292</c:v>
                </c:pt>
                <c:pt idx="218">
                  <c:v>44293</c:v>
                </c:pt>
                <c:pt idx="219">
                  <c:v>44294</c:v>
                </c:pt>
                <c:pt idx="220">
                  <c:v>44295</c:v>
                </c:pt>
                <c:pt idx="221">
                  <c:v>44296</c:v>
                </c:pt>
                <c:pt idx="222">
                  <c:v>44297</c:v>
                </c:pt>
                <c:pt idx="223">
                  <c:v>44298</c:v>
                </c:pt>
                <c:pt idx="224">
                  <c:v>44299</c:v>
                </c:pt>
                <c:pt idx="225">
                  <c:v>44300</c:v>
                </c:pt>
                <c:pt idx="226">
                  <c:v>44301</c:v>
                </c:pt>
                <c:pt idx="227">
                  <c:v>44302</c:v>
                </c:pt>
                <c:pt idx="228">
                  <c:v>44303</c:v>
                </c:pt>
                <c:pt idx="229">
                  <c:v>44304</c:v>
                </c:pt>
                <c:pt idx="230">
                  <c:v>44305</c:v>
                </c:pt>
                <c:pt idx="231">
                  <c:v>44306</c:v>
                </c:pt>
                <c:pt idx="232">
                  <c:v>44307</c:v>
                </c:pt>
                <c:pt idx="233">
                  <c:v>44308</c:v>
                </c:pt>
                <c:pt idx="234">
                  <c:v>44309</c:v>
                </c:pt>
                <c:pt idx="235">
                  <c:v>44310</c:v>
                </c:pt>
                <c:pt idx="236">
                  <c:v>44311</c:v>
                </c:pt>
                <c:pt idx="237">
                  <c:v>44312</c:v>
                </c:pt>
                <c:pt idx="238">
                  <c:v>44313</c:v>
                </c:pt>
                <c:pt idx="239">
                  <c:v>44314</c:v>
                </c:pt>
                <c:pt idx="240">
                  <c:v>44315</c:v>
                </c:pt>
                <c:pt idx="241">
                  <c:v>44316</c:v>
                </c:pt>
                <c:pt idx="242">
                  <c:v>44317</c:v>
                </c:pt>
                <c:pt idx="243">
                  <c:v>44318</c:v>
                </c:pt>
                <c:pt idx="244">
                  <c:v>44319</c:v>
                </c:pt>
                <c:pt idx="245">
                  <c:v>44320</c:v>
                </c:pt>
                <c:pt idx="246">
                  <c:v>44321</c:v>
                </c:pt>
                <c:pt idx="247">
                  <c:v>44322</c:v>
                </c:pt>
                <c:pt idx="248">
                  <c:v>44323</c:v>
                </c:pt>
                <c:pt idx="249">
                  <c:v>44324</c:v>
                </c:pt>
                <c:pt idx="250">
                  <c:v>44325</c:v>
                </c:pt>
                <c:pt idx="251">
                  <c:v>44326</c:v>
                </c:pt>
                <c:pt idx="252">
                  <c:v>44327</c:v>
                </c:pt>
                <c:pt idx="253">
                  <c:v>44328</c:v>
                </c:pt>
                <c:pt idx="254">
                  <c:v>44329</c:v>
                </c:pt>
                <c:pt idx="255">
                  <c:v>44330</c:v>
                </c:pt>
                <c:pt idx="256">
                  <c:v>44331</c:v>
                </c:pt>
                <c:pt idx="257">
                  <c:v>44332</c:v>
                </c:pt>
                <c:pt idx="258">
                  <c:v>44333</c:v>
                </c:pt>
                <c:pt idx="259">
                  <c:v>44334</c:v>
                </c:pt>
                <c:pt idx="260">
                  <c:v>44335</c:v>
                </c:pt>
                <c:pt idx="261">
                  <c:v>44336</c:v>
                </c:pt>
                <c:pt idx="262">
                  <c:v>44337</c:v>
                </c:pt>
                <c:pt idx="263">
                  <c:v>44338</c:v>
                </c:pt>
                <c:pt idx="264">
                  <c:v>44339</c:v>
                </c:pt>
                <c:pt idx="265">
                  <c:v>44340</c:v>
                </c:pt>
                <c:pt idx="266">
                  <c:v>44341</c:v>
                </c:pt>
                <c:pt idx="267">
                  <c:v>44342</c:v>
                </c:pt>
                <c:pt idx="268">
                  <c:v>44343</c:v>
                </c:pt>
                <c:pt idx="269">
                  <c:v>44344</c:v>
                </c:pt>
                <c:pt idx="270">
                  <c:v>44345</c:v>
                </c:pt>
                <c:pt idx="271">
                  <c:v>44346</c:v>
                </c:pt>
                <c:pt idx="272">
                  <c:v>44347</c:v>
                </c:pt>
                <c:pt idx="273">
                  <c:v>44348</c:v>
                </c:pt>
                <c:pt idx="274">
                  <c:v>44349</c:v>
                </c:pt>
                <c:pt idx="275">
                  <c:v>44350</c:v>
                </c:pt>
                <c:pt idx="276">
                  <c:v>44351</c:v>
                </c:pt>
                <c:pt idx="277">
                  <c:v>44352</c:v>
                </c:pt>
                <c:pt idx="278">
                  <c:v>44353</c:v>
                </c:pt>
                <c:pt idx="279">
                  <c:v>44354</c:v>
                </c:pt>
                <c:pt idx="280">
                  <c:v>44355</c:v>
                </c:pt>
                <c:pt idx="281">
                  <c:v>44356</c:v>
                </c:pt>
                <c:pt idx="282">
                  <c:v>44357</c:v>
                </c:pt>
                <c:pt idx="283">
                  <c:v>44358</c:v>
                </c:pt>
                <c:pt idx="284">
                  <c:v>44359</c:v>
                </c:pt>
                <c:pt idx="285">
                  <c:v>44360</c:v>
                </c:pt>
                <c:pt idx="286">
                  <c:v>44361</c:v>
                </c:pt>
                <c:pt idx="287">
                  <c:v>44362</c:v>
                </c:pt>
                <c:pt idx="288">
                  <c:v>44363</c:v>
                </c:pt>
                <c:pt idx="289">
                  <c:v>44364</c:v>
                </c:pt>
                <c:pt idx="290">
                  <c:v>44365</c:v>
                </c:pt>
                <c:pt idx="291">
                  <c:v>44366</c:v>
                </c:pt>
                <c:pt idx="292">
                  <c:v>44367</c:v>
                </c:pt>
                <c:pt idx="293">
                  <c:v>44368</c:v>
                </c:pt>
                <c:pt idx="294">
                  <c:v>44369</c:v>
                </c:pt>
                <c:pt idx="295">
                  <c:v>44370</c:v>
                </c:pt>
                <c:pt idx="296">
                  <c:v>44371</c:v>
                </c:pt>
                <c:pt idx="297">
                  <c:v>44372</c:v>
                </c:pt>
                <c:pt idx="298">
                  <c:v>44373</c:v>
                </c:pt>
                <c:pt idx="299">
                  <c:v>44374</c:v>
                </c:pt>
                <c:pt idx="300">
                  <c:v>44375</c:v>
                </c:pt>
                <c:pt idx="301">
                  <c:v>44376</c:v>
                </c:pt>
                <c:pt idx="302">
                  <c:v>44377</c:v>
                </c:pt>
                <c:pt idx="303">
                  <c:v>44378</c:v>
                </c:pt>
                <c:pt idx="304">
                  <c:v>44379</c:v>
                </c:pt>
                <c:pt idx="305">
                  <c:v>44380</c:v>
                </c:pt>
                <c:pt idx="306">
                  <c:v>44381</c:v>
                </c:pt>
                <c:pt idx="307">
                  <c:v>44382</c:v>
                </c:pt>
                <c:pt idx="308">
                  <c:v>44383</c:v>
                </c:pt>
                <c:pt idx="309">
                  <c:v>44384</c:v>
                </c:pt>
                <c:pt idx="310">
                  <c:v>44385</c:v>
                </c:pt>
                <c:pt idx="311">
                  <c:v>44386</c:v>
                </c:pt>
                <c:pt idx="312">
                  <c:v>44387</c:v>
                </c:pt>
                <c:pt idx="313">
                  <c:v>44388</c:v>
                </c:pt>
                <c:pt idx="314">
                  <c:v>44389</c:v>
                </c:pt>
                <c:pt idx="315">
                  <c:v>44390</c:v>
                </c:pt>
                <c:pt idx="316">
                  <c:v>44391</c:v>
                </c:pt>
                <c:pt idx="317">
                  <c:v>44392</c:v>
                </c:pt>
                <c:pt idx="318">
                  <c:v>44393</c:v>
                </c:pt>
                <c:pt idx="319">
                  <c:v>44394</c:v>
                </c:pt>
                <c:pt idx="320">
                  <c:v>44395</c:v>
                </c:pt>
                <c:pt idx="321">
                  <c:v>44396</c:v>
                </c:pt>
                <c:pt idx="322">
                  <c:v>44397</c:v>
                </c:pt>
                <c:pt idx="323">
                  <c:v>44398</c:v>
                </c:pt>
                <c:pt idx="324">
                  <c:v>44399</c:v>
                </c:pt>
                <c:pt idx="325">
                  <c:v>44400</c:v>
                </c:pt>
                <c:pt idx="326">
                  <c:v>44401</c:v>
                </c:pt>
                <c:pt idx="327">
                  <c:v>44402</c:v>
                </c:pt>
                <c:pt idx="328">
                  <c:v>44403</c:v>
                </c:pt>
                <c:pt idx="329">
                  <c:v>44404</c:v>
                </c:pt>
                <c:pt idx="330">
                  <c:v>44405</c:v>
                </c:pt>
                <c:pt idx="331">
                  <c:v>44406</c:v>
                </c:pt>
                <c:pt idx="332">
                  <c:v>44407</c:v>
                </c:pt>
                <c:pt idx="333">
                  <c:v>44408</c:v>
                </c:pt>
                <c:pt idx="334">
                  <c:v>44409</c:v>
                </c:pt>
                <c:pt idx="335">
                  <c:v>44410</c:v>
                </c:pt>
                <c:pt idx="336">
                  <c:v>44411</c:v>
                </c:pt>
                <c:pt idx="337">
                  <c:v>44412</c:v>
                </c:pt>
                <c:pt idx="338">
                  <c:v>44413</c:v>
                </c:pt>
                <c:pt idx="339">
                  <c:v>44414</c:v>
                </c:pt>
                <c:pt idx="340">
                  <c:v>44415</c:v>
                </c:pt>
                <c:pt idx="341">
                  <c:v>44416</c:v>
                </c:pt>
                <c:pt idx="342">
                  <c:v>44417</c:v>
                </c:pt>
                <c:pt idx="343">
                  <c:v>44418</c:v>
                </c:pt>
                <c:pt idx="344">
                  <c:v>44419</c:v>
                </c:pt>
                <c:pt idx="345">
                  <c:v>44420</c:v>
                </c:pt>
                <c:pt idx="346">
                  <c:v>44421</c:v>
                </c:pt>
                <c:pt idx="347">
                  <c:v>44422</c:v>
                </c:pt>
                <c:pt idx="348">
                  <c:v>44423</c:v>
                </c:pt>
                <c:pt idx="349">
                  <c:v>44424</c:v>
                </c:pt>
                <c:pt idx="350">
                  <c:v>44425</c:v>
                </c:pt>
                <c:pt idx="351">
                  <c:v>44426</c:v>
                </c:pt>
                <c:pt idx="352">
                  <c:v>44427</c:v>
                </c:pt>
                <c:pt idx="353">
                  <c:v>44428</c:v>
                </c:pt>
                <c:pt idx="354">
                  <c:v>44429</c:v>
                </c:pt>
                <c:pt idx="355">
                  <c:v>44430</c:v>
                </c:pt>
                <c:pt idx="356">
                  <c:v>44431</c:v>
                </c:pt>
                <c:pt idx="357">
                  <c:v>44432</c:v>
                </c:pt>
                <c:pt idx="358">
                  <c:v>44433</c:v>
                </c:pt>
                <c:pt idx="359">
                  <c:v>44434</c:v>
                </c:pt>
                <c:pt idx="360">
                  <c:v>44435</c:v>
                </c:pt>
                <c:pt idx="361">
                  <c:v>44436</c:v>
                </c:pt>
                <c:pt idx="362">
                  <c:v>44437</c:v>
                </c:pt>
                <c:pt idx="363">
                  <c:v>44438</c:v>
                </c:pt>
                <c:pt idx="364">
                  <c:v>44439</c:v>
                </c:pt>
                <c:pt idx="365">
                  <c:v>44440</c:v>
                </c:pt>
                <c:pt idx="366">
                  <c:v>44441</c:v>
                </c:pt>
                <c:pt idx="367">
                  <c:v>44442</c:v>
                </c:pt>
                <c:pt idx="368">
                  <c:v>44443</c:v>
                </c:pt>
                <c:pt idx="369">
                  <c:v>44444</c:v>
                </c:pt>
                <c:pt idx="370">
                  <c:v>44445</c:v>
                </c:pt>
                <c:pt idx="371">
                  <c:v>44446</c:v>
                </c:pt>
                <c:pt idx="372">
                  <c:v>44447</c:v>
                </c:pt>
                <c:pt idx="373">
                  <c:v>44448</c:v>
                </c:pt>
                <c:pt idx="374">
                  <c:v>44449</c:v>
                </c:pt>
                <c:pt idx="375">
                  <c:v>44450</c:v>
                </c:pt>
                <c:pt idx="376">
                  <c:v>44451</c:v>
                </c:pt>
                <c:pt idx="377">
                  <c:v>44452</c:v>
                </c:pt>
                <c:pt idx="378">
                  <c:v>44453</c:v>
                </c:pt>
                <c:pt idx="379">
                  <c:v>44454</c:v>
                </c:pt>
                <c:pt idx="380">
                  <c:v>44455</c:v>
                </c:pt>
                <c:pt idx="381">
                  <c:v>44456</c:v>
                </c:pt>
                <c:pt idx="382">
                  <c:v>44457</c:v>
                </c:pt>
                <c:pt idx="383">
                  <c:v>44458</c:v>
                </c:pt>
                <c:pt idx="384">
                  <c:v>44459</c:v>
                </c:pt>
                <c:pt idx="385">
                  <c:v>44460</c:v>
                </c:pt>
                <c:pt idx="386">
                  <c:v>44461</c:v>
                </c:pt>
                <c:pt idx="387">
                  <c:v>44462</c:v>
                </c:pt>
                <c:pt idx="388">
                  <c:v>44463</c:v>
                </c:pt>
                <c:pt idx="389">
                  <c:v>44464</c:v>
                </c:pt>
                <c:pt idx="390">
                  <c:v>44465</c:v>
                </c:pt>
                <c:pt idx="391">
                  <c:v>44466</c:v>
                </c:pt>
                <c:pt idx="392">
                  <c:v>44467</c:v>
                </c:pt>
                <c:pt idx="393">
                  <c:v>44468</c:v>
                </c:pt>
                <c:pt idx="394">
                  <c:v>44469</c:v>
                </c:pt>
                <c:pt idx="395">
                  <c:v>44470</c:v>
                </c:pt>
                <c:pt idx="396">
                  <c:v>44471</c:v>
                </c:pt>
                <c:pt idx="397">
                  <c:v>44472</c:v>
                </c:pt>
                <c:pt idx="398">
                  <c:v>44473</c:v>
                </c:pt>
                <c:pt idx="399">
                  <c:v>44474</c:v>
                </c:pt>
                <c:pt idx="400">
                  <c:v>44475</c:v>
                </c:pt>
                <c:pt idx="401">
                  <c:v>44476</c:v>
                </c:pt>
                <c:pt idx="402">
                  <c:v>44477</c:v>
                </c:pt>
                <c:pt idx="403">
                  <c:v>44478</c:v>
                </c:pt>
                <c:pt idx="404">
                  <c:v>44479</c:v>
                </c:pt>
                <c:pt idx="405">
                  <c:v>44480</c:v>
                </c:pt>
                <c:pt idx="406">
                  <c:v>44481</c:v>
                </c:pt>
                <c:pt idx="407">
                  <c:v>44482</c:v>
                </c:pt>
                <c:pt idx="408">
                  <c:v>44483</c:v>
                </c:pt>
                <c:pt idx="409">
                  <c:v>44484</c:v>
                </c:pt>
                <c:pt idx="410">
                  <c:v>44485</c:v>
                </c:pt>
                <c:pt idx="411">
                  <c:v>44486</c:v>
                </c:pt>
                <c:pt idx="412">
                  <c:v>44487</c:v>
                </c:pt>
                <c:pt idx="413">
                  <c:v>44488</c:v>
                </c:pt>
                <c:pt idx="414">
                  <c:v>44489</c:v>
                </c:pt>
                <c:pt idx="415">
                  <c:v>44490</c:v>
                </c:pt>
                <c:pt idx="416">
                  <c:v>44491</c:v>
                </c:pt>
                <c:pt idx="417">
                  <c:v>44492</c:v>
                </c:pt>
                <c:pt idx="418">
                  <c:v>44493</c:v>
                </c:pt>
                <c:pt idx="419">
                  <c:v>44494</c:v>
                </c:pt>
                <c:pt idx="420">
                  <c:v>44495</c:v>
                </c:pt>
                <c:pt idx="421">
                  <c:v>44496</c:v>
                </c:pt>
                <c:pt idx="422">
                  <c:v>44497</c:v>
                </c:pt>
                <c:pt idx="423">
                  <c:v>44498</c:v>
                </c:pt>
                <c:pt idx="424">
                  <c:v>44499</c:v>
                </c:pt>
                <c:pt idx="425">
                  <c:v>44500</c:v>
                </c:pt>
                <c:pt idx="426">
                  <c:v>44501</c:v>
                </c:pt>
                <c:pt idx="427">
                  <c:v>44502</c:v>
                </c:pt>
                <c:pt idx="428">
                  <c:v>44503</c:v>
                </c:pt>
                <c:pt idx="429">
                  <c:v>44504</c:v>
                </c:pt>
                <c:pt idx="430">
                  <c:v>44505</c:v>
                </c:pt>
                <c:pt idx="431">
                  <c:v>44506</c:v>
                </c:pt>
                <c:pt idx="432">
                  <c:v>44507</c:v>
                </c:pt>
                <c:pt idx="433">
                  <c:v>44508</c:v>
                </c:pt>
                <c:pt idx="434">
                  <c:v>44509</c:v>
                </c:pt>
                <c:pt idx="435">
                  <c:v>44510</c:v>
                </c:pt>
                <c:pt idx="436">
                  <c:v>44511</c:v>
                </c:pt>
                <c:pt idx="437">
                  <c:v>44512</c:v>
                </c:pt>
                <c:pt idx="438">
                  <c:v>44513</c:v>
                </c:pt>
                <c:pt idx="439">
                  <c:v>44514</c:v>
                </c:pt>
                <c:pt idx="440">
                  <c:v>44515</c:v>
                </c:pt>
                <c:pt idx="441">
                  <c:v>44516</c:v>
                </c:pt>
                <c:pt idx="442">
                  <c:v>44517</c:v>
                </c:pt>
                <c:pt idx="443">
                  <c:v>44518</c:v>
                </c:pt>
                <c:pt idx="444">
                  <c:v>44519</c:v>
                </c:pt>
                <c:pt idx="445">
                  <c:v>44520</c:v>
                </c:pt>
                <c:pt idx="446">
                  <c:v>44521</c:v>
                </c:pt>
                <c:pt idx="447">
                  <c:v>44522</c:v>
                </c:pt>
                <c:pt idx="448">
                  <c:v>44523</c:v>
                </c:pt>
                <c:pt idx="449">
                  <c:v>44524</c:v>
                </c:pt>
                <c:pt idx="450">
                  <c:v>44525</c:v>
                </c:pt>
                <c:pt idx="451">
                  <c:v>44526</c:v>
                </c:pt>
                <c:pt idx="452">
                  <c:v>44527</c:v>
                </c:pt>
                <c:pt idx="453">
                  <c:v>44528</c:v>
                </c:pt>
                <c:pt idx="454">
                  <c:v>44529</c:v>
                </c:pt>
                <c:pt idx="455">
                  <c:v>44530</c:v>
                </c:pt>
                <c:pt idx="456">
                  <c:v>44531</c:v>
                </c:pt>
                <c:pt idx="457">
                  <c:v>44532</c:v>
                </c:pt>
                <c:pt idx="458">
                  <c:v>44533</c:v>
                </c:pt>
                <c:pt idx="459">
                  <c:v>44534</c:v>
                </c:pt>
                <c:pt idx="460">
                  <c:v>44535</c:v>
                </c:pt>
                <c:pt idx="461">
                  <c:v>44536</c:v>
                </c:pt>
                <c:pt idx="462">
                  <c:v>44537</c:v>
                </c:pt>
                <c:pt idx="463">
                  <c:v>44538</c:v>
                </c:pt>
                <c:pt idx="464">
                  <c:v>44539</c:v>
                </c:pt>
                <c:pt idx="465">
                  <c:v>44540</c:v>
                </c:pt>
                <c:pt idx="466">
                  <c:v>44541</c:v>
                </c:pt>
                <c:pt idx="467">
                  <c:v>44542</c:v>
                </c:pt>
                <c:pt idx="468">
                  <c:v>44543</c:v>
                </c:pt>
                <c:pt idx="469">
                  <c:v>44544</c:v>
                </c:pt>
                <c:pt idx="470">
                  <c:v>44545</c:v>
                </c:pt>
                <c:pt idx="471">
                  <c:v>44546</c:v>
                </c:pt>
                <c:pt idx="472">
                  <c:v>44547</c:v>
                </c:pt>
                <c:pt idx="473">
                  <c:v>44548</c:v>
                </c:pt>
                <c:pt idx="474">
                  <c:v>44549</c:v>
                </c:pt>
                <c:pt idx="475">
                  <c:v>44550</c:v>
                </c:pt>
                <c:pt idx="476">
                  <c:v>44551</c:v>
                </c:pt>
                <c:pt idx="477">
                  <c:v>44552</c:v>
                </c:pt>
                <c:pt idx="478">
                  <c:v>44553</c:v>
                </c:pt>
                <c:pt idx="479">
                  <c:v>44554</c:v>
                </c:pt>
                <c:pt idx="480">
                  <c:v>44555</c:v>
                </c:pt>
                <c:pt idx="481">
                  <c:v>44556</c:v>
                </c:pt>
                <c:pt idx="482">
                  <c:v>44557</c:v>
                </c:pt>
                <c:pt idx="483">
                  <c:v>44558</c:v>
                </c:pt>
                <c:pt idx="484">
                  <c:v>44559</c:v>
                </c:pt>
                <c:pt idx="485">
                  <c:v>44560</c:v>
                </c:pt>
                <c:pt idx="486">
                  <c:v>44561</c:v>
                </c:pt>
                <c:pt idx="487">
                  <c:v>44562</c:v>
                </c:pt>
                <c:pt idx="488">
                  <c:v>44563</c:v>
                </c:pt>
                <c:pt idx="489">
                  <c:v>44564</c:v>
                </c:pt>
                <c:pt idx="490">
                  <c:v>44565</c:v>
                </c:pt>
                <c:pt idx="491">
                  <c:v>44566</c:v>
                </c:pt>
                <c:pt idx="492">
                  <c:v>44567</c:v>
                </c:pt>
                <c:pt idx="493">
                  <c:v>44568</c:v>
                </c:pt>
                <c:pt idx="494">
                  <c:v>44569</c:v>
                </c:pt>
                <c:pt idx="495">
                  <c:v>44570</c:v>
                </c:pt>
                <c:pt idx="496">
                  <c:v>44571</c:v>
                </c:pt>
                <c:pt idx="497">
                  <c:v>44572</c:v>
                </c:pt>
                <c:pt idx="498">
                  <c:v>44573</c:v>
                </c:pt>
                <c:pt idx="499">
                  <c:v>44574</c:v>
                </c:pt>
                <c:pt idx="500">
                  <c:v>44575</c:v>
                </c:pt>
                <c:pt idx="501">
                  <c:v>44576</c:v>
                </c:pt>
                <c:pt idx="502">
                  <c:v>44577</c:v>
                </c:pt>
                <c:pt idx="503">
                  <c:v>44578</c:v>
                </c:pt>
                <c:pt idx="504">
                  <c:v>44579</c:v>
                </c:pt>
                <c:pt idx="505">
                  <c:v>44580</c:v>
                </c:pt>
              </c:numCache>
            </c:numRef>
          </c:cat>
          <c:val>
            <c:numRef>
              <c:f>Sheet1!$B$2:$B$507</c:f>
              <c:numCache>
                <c:formatCode>0.0</c:formatCode>
                <c:ptCount val="506"/>
                <c:pt idx="0">
                  <c:v>7.4753899999999998E-2</c:v>
                </c:pt>
                <c:pt idx="1">
                  <c:v>8.4098099999999995E-2</c:v>
                </c:pt>
                <c:pt idx="2">
                  <c:v>0.10278660000000001</c:v>
                </c:pt>
                <c:pt idx="3">
                  <c:v>0.1308193</c:v>
                </c:pt>
                <c:pt idx="4">
                  <c:v>0.1401636</c:v>
                </c:pt>
                <c:pt idx="5">
                  <c:v>0.1588521</c:v>
                </c:pt>
                <c:pt idx="6">
                  <c:v>0.16819629999999999</c:v>
                </c:pt>
                <c:pt idx="7">
                  <c:v>0.1401636</c:v>
                </c:pt>
                <c:pt idx="8">
                  <c:v>0.1495078</c:v>
                </c:pt>
                <c:pt idx="9">
                  <c:v>0.17754059999999999</c:v>
                </c:pt>
                <c:pt idx="10">
                  <c:v>0.18688479999999999</c:v>
                </c:pt>
                <c:pt idx="11">
                  <c:v>0.16819629999999999</c:v>
                </c:pt>
                <c:pt idx="12">
                  <c:v>0.17754059999999999</c:v>
                </c:pt>
                <c:pt idx="13">
                  <c:v>0.16819629999999999</c:v>
                </c:pt>
                <c:pt idx="14">
                  <c:v>0.25229449999999998</c:v>
                </c:pt>
                <c:pt idx="15">
                  <c:v>0.24295030000000001</c:v>
                </c:pt>
                <c:pt idx="16">
                  <c:v>0.2803272</c:v>
                </c:pt>
                <c:pt idx="17">
                  <c:v>0.2803272</c:v>
                </c:pt>
                <c:pt idx="18">
                  <c:v>0.2990157</c:v>
                </c:pt>
                <c:pt idx="19">
                  <c:v>0.35508119999999999</c:v>
                </c:pt>
                <c:pt idx="20">
                  <c:v>0.41114659999999997</c:v>
                </c:pt>
                <c:pt idx="21">
                  <c:v>0.39245809999999998</c:v>
                </c:pt>
                <c:pt idx="22">
                  <c:v>0.49524479999999999</c:v>
                </c:pt>
                <c:pt idx="23">
                  <c:v>0.55131030000000003</c:v>
                </c:pt>
                <c:pt idx="24">
                  <c:v>0.59803150000000005</c:v>
                </c:pt>
                <c:pt idx="25">
                  <c:v>0.61672000000000005</c:v>
                </c:pt>
                <c:pt idx="26">
                  <c:v>0.59803150000000005</c:v>
                </c:pt>
                <c:pt idx="27">
                  <c:v>0.62606419999999996</c:v>
                </c:pt>
                <c:pt idx="28">
                  <c:v>0.66344119999999995</c:v>
                </c:pt>
                <c:pt idx="29">
                  <c:v>0.65409689999999998</c:v>
                </c:pt>
                <c:pt idx="30">
                  <c:v>0.63540839999999998</c:v>
                </c:pt>
                <c:pt idx="31">
                  <c:v>0.7195066</c:v>
                </c:pt>
                <c:pt idx="32">
                  <c:v>0.75688359999999999</c:v>
                </c:pt>
                <c:pt idx="33">
                  <c:v>0.78491630000000001</c:v>
                </c:pt>
                <c:pt idx="34">
                  <c:v>1.0372109</c:v>
                </c:pt>
                <c:pt idx="35">
                  <c:v>1.1399975</c:v>
                </c:pt>
                <c:pt idx="36">
                  <c:v>1.2895053999999999</c:v>
                </c:pt>
                <c:pt idx="37">
                  <c:v>1.3736036</c:v>
                </c:pt>
                <c:pt idx="38">
                  <c:v>1.5137672</c:v>
                </c:pt>
                <c:pt idx="39">
                  <c:v>1.6258982</c:v>
                </c:pt>
                <c:pt idx="40">
                  <c:v>1.7286847999999999</c:v>
                </c:pt>
                <c:pt idx="41">
                  <c:v>1.6352424000000001</c:v>
                </c:pt>
                <c:pt idx="42">
                  <c:v>1.6632750999999999</c:v>
                </c:pt>
                <c:pt idx="43">
                  <c:v>1.7099963</c:v>
                </c:pt>
                <c:pt idx="44">
                  <c:v>1.8221271999999999</c:v>
                </c:pt>
                <c:pt idx="45">
                  <c:v>1.9249139</c:v>
                </c:pt>
                <c:pt idx="46">
                  <c:v>1.8595041999999999</c:v>
                </c:pt>
                <c:pt idx="47">
                  <c:v>1.9716351000000001</c:v>
                </c:pt>
                <c:pt idx="48">
                  <c:v>2.2052412000000001</c:v>
                </c:pt>
                <c:pt idx="49">
                  <c:v>2.2893393999999998</c:v>
                </c:pt>
                <c:pt idx="50">
                  <c:v>2.4388472999999999</c:v>
                </c:pt>
                <c:pt idx="51">
                  <c:v>2.5696667</c:v>
                </c:pt>
                <c:pt idx="52">
                  <c:v>2.5322897000000002</c:v>
                </c:pt>
                <c:pt idx="53">
                  <c:v>2.8126169999999999</c:v>
                </c:pt>
                <c:pt idx="54">
                  <c:v>2.9154035999999999</c:v>
                </c:pt>
                <c:pt idx="55">
                  <c:v>3.0742557000000001</c:v>
                </c:pt>
                <c:pt idx="56">
                  <c:v>3.3545829999999999</c:v>
                </c:pt>
                <c:pt idx="57">
                  <c:v>3.2424520999999999</c:v>
                </c:pt>
                <c:pt idx="58">
                  <c:v>3.3265503000000001</c:v>
                </c:pt>
                <c:pt idx="59">
                  <c:v>3.4106485000000002</c:v>
                </c:pt>
                <c:pt idx="60">
                  <c:v>3.4199926999999999</c:v>
                </c:pt>
                <c:pt idx="61">
                  <c:v>3.3078618</c:v>
                </c:pt>
                <c:pt idx="62">
                  <c:v>3.4106485000000002</c:v>
                </c:pt>
                <c:pt idx="63">
                  <c:v>3.2424520999999999</c:v>
                </c:pt>
                <c:pt idx="64">
                  <c:v>3.3265503000000001</c:v>
                </c:pt>
                <c:pt idx="65">
                  <c:v>3.3265503000000001</c:v>
                </c:pt>
                <c:pt idx="66">
                  <c:v>3.4199926999999999</c:v>
                </c:pt>
                <c:pt idx="67">
                  <c:v>3.3358945000000002</c:v>
                </c:pt>
                <c:pt idx="68">
                  <c:v>3.2517963999999999</c:v>
                </c:pt>
                <c:pt idx="69">
                  <c:v>2.9060594000000002</c:v>
                </c:pt>
                <c:pt idx="70">
                  <c:v>2.8967151000000002</c:v>
                </c:pt>
                <c:pt idx="71">
                  <c:v>2.8686824</c:v>
                </c:pt>
                <c:pt idx="72">
                  <c:v>2.6350763000000001</c:v>
                </c:pt>
                <c:pt idx="73">
                  <c:v>2.3640933</c:v>
                </c:pt>
                <c:pt idx="74">
                  <c:v>2.2706509000000001</c:v>
                </c:pt>
                <c:pt idx="75">
                  <c:v>2.1958969000000002</c:v>
                </c:pt>
                <c:pt idx="76">
                  <c:v>2.2613066000000002</c:v>
                </c:pt>
                <c:pt idx="77">
                  <c:v>1.9996678999999999</c:v>
                </c:pt>
                <c:pt idx="78">
                  <c:v>1.8781927</c:v>
                </c:pt>
                <c:pt idx="79">
                  <c:v>1.9155697</c:v>
                </c:pt>
                <c:pt idx="80">
                  <c:v>1.8034387999999999</c:v>
                </c:pt>
                <c:pt idx="81">
                  <c:v>1.8314714999999999</c:v>
                </c:pt>
                <c:pt idx="82">
                  <c:v>1.8314714999999999</c:v>
                </c:pt>
                <c:pt idx="83">
                  <c:v>1.5604884999999999</c:v>
                </c:pt>
                <c:pt idx="84">
                  <c:v>1.6165539</c:v>
                </c:pt>
                <c:pt idx="85">
                  <c:v>1.5698327000000001</c:v>
                </c:pt>
                <c:pt idx="86">
                  <c:v>1.4670460000000001</c:v>
                </c:pt>
                <c:pt idx="87">
                  <c:v>1.4950787999999999</c:v>
                </c:pt>
                <c:pt idx="88">
                  <c:v>1.3736036</c:v>
                </c:pt>
                <c:pt idx="89">
                  <c:v>1.3362266</c:v>
                </c:pt>
                <c:pt idx="90">
                  <c:v>1.4016363000000001</c:v>
                </c:pt>
                <c:pt idx="91">
                  <c:v>1.3736036</c:v>
                </c:pt>
                <c:pt idx="92">
                  <c:v>1.3642593999999999</c:v>
                </c:pt>
                <c:pt idx="93">
                  <c:v>1.4203247999999999</c:v>
                </c:pt>
                <c:pt idx="94">
                  <c:v>1.4670460000000001</c:v>
                </c:pt>
                <c:pt idx="95">
                  <c:v>1.4483575</c:v>
                </c:pt>
                <c:pt idx="96">
                  <c:v>1.4857345</c:v>
                </c:pt>
                <c:pt idx="97">
                  <c:v>1.4577017999999999</c:v>
                </c:pt>
                <c:pt idx="98">
                  <c:v>1.5324557000000001</c:v>
                </c:pt>
                <c:pt idx="99">
                  <c:v>1.4950787999999999</c:v>
                </c:pt>
                <c:pt idx="100">
                  <c:v>1.4577017999999999</c:v>
                </c:pt>
                <c:pt idx="101">
                  <c:v>1.3455709</c:v>
                </c:pt>
                <c:pt idx="102">
                  <c:v>1.3922920999999999</c:v>
                </c:pt>
                <c:pt idx="103">
                  <c:v>1.4109806</c:v>
                </c:pt>
                <c:pt idx="104">
                  <c:v>1.5231115</c:v>
                </c:pt>
                <c:pt idx="105">
                  <c:v>1.4577017999999999</c:v>
                </c:pt>
                <c:pt idx="106">
                  <c:v>1.4483575</c:v>
                </c:pt>
                <c:pt idx="107">
                  <c:v>1.4203247999999999</c:v>
                </c:pt>
                <c:pt idx="108">
                  <c:v>1.4763903</c:v>
                </c:pt>
                <c:pt idx="109">
                  <c:v>1.4483575</c:v>
                </c:pt>
                <c:pt idx="110">
                  <c:v>1.4763903</c:v>
                </c:pt>
                <c:pt idx="111">
                  <c:v>1.4296690999999999</c:v>
                </c:pt>
                <c:pt idx="112">
                  <c:v>1.4109806</c:v>
                </c:pt>
                <c:pt idx="113">
                  <c:v>1.5885212</c:v>
                </c:pt>
                <c:pt idx="114">
                  <c:v>1.5137672</c:v>
                </c:pt>
                <c:pt idx="115">
                  <c:v>1.5418000000000001</c:v>
                </c:pt>
                <c:pt idx="116">
                  <c:v>1.5791769</c:v>
                </c:pt>
                <c:pt idx="117">
                  <c:v>1.7099963</c:v>
                </c:pt>
                <c:pt idx="118">
                  <c:v>1.9529466</c:v>
                </c:pt>
                <c:pt idx="119">
                  <c:v>2.2332738999999999</c:v>
                </c:pt>
                <c:pt idx="120">
                  <c:v>2.2799950999999998</c:v>
                </c:pt>
                <c:pt idx="121">
                  <c:v>2.4388472999999999</c:v>
                </c:pt>
                <c:pt idx="122">
                  <c:v>2.4014703000000002</c:v>
                </c:pt>
                <c:pt idx="123">
                  <c:v>2.4668800000000002</c:v>
                </c:pt>
                <c:pt idx="124">
                  <c:v>2.4855684999999998</c:v>
                </c:pt>
                <c:pt idx="125">
                  <c:v>2.3360606000000002</c:v>
                </c:pt>
                <c:pt idx="126">
                  <c:v>2.3640933</c:v>
                </c:pt>
                <c:pt idx="127">
                  <c:v>2.3454047999999998</c:v>
                </c:pt>
                <c:pt idx="128">
                  <c:v>2.3454047999999998</c:v>
                </c:pt>
                <c:pt idx="129">
                  <c:v>2.5229453999999998</c:v>
                </c:pt>
                <c:pt idx="130">
                  <c:v>2.6070435999999999</c:v>
                </c:pt>
                <c:pt idx="131">
                  <c:v>2.4949127</c:v>
                </c:pt>
                <c:pt idx="132">
                  <c:v>2.4481915000000001</c:v>
                </c:pt>
                <c:pt idx="133">
                  <c:v>2.2145853999999998</c:v>
                </c:pt>
                <c:pt idx="134">
                  <c:v>2.121143</c:v>
                </c:pt>
                <c:pt idx="135">
                  <c:v>2.2145853999999998</c:v>
                </c:pt>
                <c:pt idx="136">
                  <c:v>2.1865527</c:v>
                </c:pt>
                <c:pt idx="137">
                  <c:v>1.9996678999999999</c:v>
                </c:pt>
                <c:pt idx="138">
                  <c:v>1.9249139</c:v>
                </c:pt>
                <c:pt idx="139">
                  <c:v>1.9529466</c:v>
                </c:pt>
                <c:pt idx="140">
                  <c:v>2.0090121000000001</c:v>
                </c:pt>
                <c:pt idx="141">
                  <c:v>2.0277006000000002</c:v>
                </c:pt>
                <c:pt idx="142">
                  <c:v>1.7847503</c:v>
                </c:pt>
                <c:pt idx="143">
                  <c:v>1.7567174999999999</c:v>
                </c:pt>
                <c:pt idx="144">
                  <c:v>1.812783</c:v>
                </c:pt>
                <c:pt idx="145">
                  <c:v>1.7940944999999999</c:v>
                </c:pt>
                <c:pt idx="146">
                  <c:v>1.7660617999999999</c:v>
                </c:pt>
                <c:pt idx="147">
                  <c:v>1.8034387999999999</c:v>
                </c:pt>
                <c:pt idx="148">
                  <c:v>1.6726194000000001</c:v>
                </c:pt>
                <c:pt idx="149">
                  <c:v>1.7567174999999999</c:v>
                </c:pt>
                <c:pt idx="150">
                  <c:v>1.7473733</c:v>
                </c:pt>
                <c:pt idx="151">
                  <c:v>1.7660617999999999</c:v>
                </c:pt>
                <c:pt idx="152">
                  <c:v>1.8034387999999999</c:v>
                </c:pt>
                <c:pt idx="153">
                  <c:v>1.8688484999999999</c:v>
                </c:pt>
                <c:pt idx="154">
                  <c:v>1.7193406</c:v>
                </c:pt>
                <c:pt idx="155">
                  <c:v>1.7567174999999999</c:v>
                </c:pt>
                <c:pt idx="156">
                  <c:v>1.9436024000000001</c:v>
                </c:pt>
                <c:pt idx="157">
                  <c:v>1.9716351000000001</c:v>
                </c:pt>
                <c:pt idx="158">
                  <c:v>1.9622908999999999</c:v>
                </c:pt>
                <c:pt idx="159">
                  <c:v>1.9062254000000001</c:v>
                </c:pt>
                <c:pt idx="160">
                  <c:v>1.812783</c:v>
                </c:pt>
                <c:pt idx="161">
                  <c:v>2.0370447999999999</c:v>
                </c:pt>
                <c:pt idx="162">
                  <c:v>2.121143</c:v>
                </c:pt>
                <c:pt idx="163">
                  <c:v>1.9436024000000001</c:v>
                </c:pt>
                <c:pt idx="164">
                  <c:v>1.8781927</c:v>
                </c:pt>
                <c:pt idx="165">
                  <c:v>1.7473733</c:v>
                </c:pt>
                <c:pt idx="166">
                  <c:v>1.8595041999999999</c:v>
                </c:pt>
                <c:pt idx="167">
                  <c:v>1.8408157000000001</c:v>
                </c:pt>
                <c:pt idx="168">
                  <c:v>1.8314714999999999</c:v>
                </c:pt>
                <c:pt idx="169">
                  <c:v>1.9529466</c:v>
                </c:pt>
                <c:pt idx="170">
                  <c:v>2.0557333</c:v>
                </c:pt>
                <c:pt idx="171">
                  <c:v>2.0183563000000002</c:v>
                </c:pt>
                <c:pt idx="172">
                  <c:v>2.2706509000000001</c:v>
                </c:pt>
                <c:pt idx="173">
                  <c:v>2.3360606000000002</c:v>
                </c:pt>
                <c:pt idx="174">
                  <c:v>2.429503</c:v>
                </c:pt>
                <c:pt idx="175">
                  <c:v>2.4014703000000002</c:v>
                </c:pt>
                <c:pt idx="176">
                  <c:v>2.3734375999999999</c:v>
                </c:pt>
                <c:pt idx="177">
                  <c:v>2.4014703000000002</c:v>
                </c:pt>
                <c:pt idx="178">
                  <c:v>2.4762241999999999</c:v>
                </c:pt>
                <c:pt idx="179">
                  <c:v>2.3547490999999998</c:v>
                </c:pt>
                <c:pt idx="180">
                  <c:v>2.3827818000000001</c:v>
                </c:pt>
                <c:pt idx="181">
                  <c:v>2.4014703000000002</c:v>
                </c:pt>
                <c:pt idx="182">
                  <c:v>2.4108144999999999</c:v>
                </c:pt>
                <c:pt idx="183">
                  <c:v>2.3827818000000001</c:v>
                </c:pt>
                <c:pt idx="184">
                  <c:v>2.3454047999999998</c:v>
                </c:pt>
                <c:pt idx="185">
                  <c:v>2.5416338999999999</c:v>
                </c:pt>
                <c:pt idx="186">
                  <c:v>2.6163878999999999</c:v>
                </c:pt>
                <c:pt idx="187">
                  <c:v>2.4481915000000001</c:v>
                </c:pt>
                <c:pt idx="188">
                  <c:v>2.6257321</c:v>
                </c:pt>
                <c:pt idx="189">
                  <c:v>2.5136012000000001</c:v>
                </c:pt>
                <c:pt idx="190">
                  <c:v>2.4949127</c:v>
                </c:pt>
                <c:pt idx="191">
                  <c:v>2.5976994000000002</c:v>
                </c:pt>
                <c:pt idx="192">
                  <c:v>2.7098303000000001</c:v>
                </c:pt>
                <c:pt idx="193">
                  <c:v>2.6070435999999999</c:v>
                </c:pt>
                <c:pt idx="194">
                  <c:v>2.6444206000000001</c:v>
                </c:pt>
                <c:pt idx="195">
                  <c:v>2.5603224</c:v>
                </c:pt>
                <c:pt idx="196">
                  <c:v>2.4949127</c:v>
                </c:pt>
                <c:pt idx="197">
                  <c:v>2.5229453999999998</c:v>
                </c:pt>
                <c:pt idx="198">
                  <c:v>2.3734375999999999</c:v>
                </c:pt>
                <c:pt idx="199">
                  <c:v>2.0837659999999998</c:v>
                </c:pt>
                <c:pt idx="200">
                  <c:v>2.1024544999999999</c:v>
                </c:pt>
                <c:pt idx="201">
                  <c:v>2.0183563000000002</c:v>
                </c:pt>
                <c:pt idx="202">
                  <c:v>1.9716351000000001</c:v>
                </c:pt>
                <c:pt idx="203">
                  <c:v>2.1398315000000001</c:v>
                </c:pt>
                <c:pt idx="204">
                  <c:v>2.0183563000000002</c:v>
                </c:pt>
                <c:pt idx="205">
                  <c:v>2.0650776</c:v>
                </c:pt>
                <c:pt idx="206">
                  <c:v>1.9996678999999999</c:v>
                </c:pt>
                <c:pt idx="207">
                  <c:v>1.9529466</c:v>
                </c:pt>
                <c:pt idx="208">
                  <c:v>2.0090121000000001</c:v>
                </c:pt>
                <c:pt idx="209">
                  <c:v>1.9436024000000001</c:v>
                </c:pt>
                <c:pt idx="210">
                  <c:v>1.7380291000000001</c:v>
                </c:pt>
                <c:pt idx="211">
                  <c:v>1.7286847999999999</c:v>
                </c:pt>
                <c:pt idx="212">
                  <c:v>1.6539309</c:v>
                </c:pt>
                <c:pt idx="213">
                  <c:v>1.5978654000000001</c:v>
                </c:pt>
                <c:pt idx="214">
                  <c:v>1.5978654000000001</c:v>
                </c:pt>
                <c:pt idx="215">
                  <c:v>1.6165539</c:v>
                </c:pt>
                <c:pt idx="216">
                  <c:v>1.3549150999999999</c:v>
                </c:pt>
                <c:pt idx="217">
                  <c:v>1.4390133000000001</c:v>
                </c:pt>
                <c:pt idx="218">
                  <c:v>1.4390133000000001</c:v>
                </c:pt>
                <c:pt idx="219">
                  <c:v>1.3829477999999999</c:v>
                </c:pt>
                <c:pt idx="220">
                  <c:v>1.3922920999999999</c:v>
                </c:pt>
                <c:pt idx="221">
                  <c:v>1.4390133000000001</c:v>
                </c:pt>
                <c:pt idx="222">
                  <c:v>1.4109806</c:v>
                </c:pt>
                <c:pt idx="223">
                  <c:v>1.6165539</c:v>
                </c:pt>
                <c:pt idx="224">
                  <c:v>1.4483575</c:v>
                </c:pt>
                <c:pt idx="225">
                  <c:v>1.3736036</c:v>
                </c:pt>
                <c:pt idx="226">
                  <c:v>1.3175380999999999</c:v>
                </c:pt>
                <c:pt idx="227">
                  <c:v>1.2614726999999999</c:v>
                </c:pt>
                <c:pt idx="228">
                  <c:v>1.2054072</c:v>
                </c:pt>
                <c:pt idx="229">
                  <c:v>1.1493418</c:v>
                </c:pt>
                <c:pt idx="230">
                  <c:v>1.0558993999999999</c:v>
                </c:pt>
                <c:pt idx="231">
                  <c:v>1.1026206000000001</c:v>
                </c:pt>
                <c:pt idx="232">
                  <c:v>1.0558993999999999</c:v>
                </c:pt>
                <c:pt idx="233">
                  <c:v>1.0652436000000001</c:v>
                </c:pt>
                <c:pt idx="234">
                  <c:v>1.0839321</c:v>
                </c:pt>
                <c:pt idx="235">
                  <c:v>1.0278666000000001</c:v>
                </c:pt>
                <c:pt idx="236">
                  <c:v>1.0278666000000001</c:v>
                </c:pt>
                <c:pt idx="237">
                  <c:v>0.94376839999999995</c:v>
                </c:pt>
                <c:pt idx="238">
                  <c:v>0.88770300000000002</c:v>
                </c:pt>
                <c:pt idx="239">
                  <c:v>0.92508000000000001</c:v>
                </c:pt>
                <c:pt idx="240">
                  <c:v>0.86901450000000002</c:v>
                </c:pt>
                <c:pt idx="241">
                  <c:v>0.77557209999999999</c:v>
                </c:pt>
                <c:pt idx="242">
                  <c:v>0.71016239999999997</c:v>
                </c:pt>
                <c:pt idx="243">
                  <c:v>0.67278539999999998</c:v>
                </c:pt>
                <c:pt idx="244">
                  <c:v>0.62606419999999996</c:v>
                </c:pt>
                <c:pt idx="245">
                  <c:v>0.63540839999999998</c:v>
                </c:pt>
                <c:pt idx="246">
                  <c:v>0.54196599999999995</c:v>
                </c:pt>
                <c:pt idx="247">
                  <c:v>0.50458899999999995</c:v>
                </c:pt>
                <c:pt idx="248">
                  <c:v>0.53262180000000003</c:v>
                </c:pt>
                <c:pt idx="249">
                  <c:v>0.56065449999999994</c:v>
                </c:pt>
                <c:pt idx="250">
                  <c:v>0.56999869999999997</c:v>
                </c:pt>
                <c:pt idx="251">
                  <c:v>0.53262180000000003</c:v>
                </c:pt>
                <c:pt idx="252">
                  <c:v>0.47655629999999999</c:v>
                </c:pt>
                <c:pt idx="253">
                  <c:v>0.50458899999999995</c:v>
                </c:pt>
                <c:pt idx="254">
                  <c:v>0.50458899999999995</c:v>
                </c:pt>
                <c:pt idx="255">
                  <c:v>0.44852360000000002</c:v>
                </c:pt>
                <c:pt idx="256">
                  <c:v>0.4204909</c:v>
                </c:pt>
                <c:pt idx="257">
                  <c:v>0.36442540000000001</c:v>
                </c:pt>
                <c:pt idx="258">
                  <c:v>0.32704840000000002</c:v>
                </c:pt>
                <c:pt idx="259">
                  <c:v>0.31770419999999999</c:v>
                </c:pt>
                <c:pt idx="260">
                  <c:v>0.2803272</c:v>
                </c:pt>
                <c:pt idx="261">
                  <c:v>0.24295030000000001</c:v>
                </c:pt>
                <c:pt idx="262">
                  <c:v>0.25229449999999998</c:v>
                </c:pt>
                <c:pt idx="263">
                  <c:v>0.27098299999999997</c:v>
                </c:pt>
                <c:pt idx="264">
                  <c:v>0.27098299999999997</c:v>
                </c:pt>
                <c:pt idx="265">
                  <c:v>0.25229449999999998</c:v>
                </c:pt>
                <c:pt idx="266">
                  <c:v>0.21491750000000001</c:v>
                </c:pt>
                <c:pt idx="267">
                  <c:v>0.20557329999999999</c:v>
                </c:pt>
                <c:pt idx="268">
                  <c:v>0.18688479999999999</c:v>
                </c:pt>
                <c:pt idx="269">
                  <c:v>0.1495078</c:v>
                </c:pt>
                <c:pt idx="270">
                  <c:v>0.11213090000000001</c:v>
                </c:pt>
                <c:pt idx="271">
                  <c:v>0.1214751</c:v>
                </c:pt>
                <c:pt idx="272">
                  <c:v>0.1401636</c:v>
                </c:pt>
                <c:pt idx="273">
                  <c:v>0.1401636</c:v>
                </c:pt>
                <c:pt idx="274">
                  <c:v>0.11213090000000001</c:v>
                </c:pt>
                <c:pt idx="275">
                  <c:v>0.1308193</c:v>
                </c:pt>
                <c:pt idx="276">
                  <c:v>0.1308193</c:v>
                </c:pt>
                <c:pt idx="277">
                  <c:v>0.1214751</c:v>
                </c:pt>
                <c:pt idx="278">
                  <c:v>0.11213090000000001</c:v>
                </c:pt>
                <c:pt idx="279">
                  <c:v>9.3442399999999995E-2</c:v>
                </c:pt>
                <c:pt idx="280">
                  <c:v>8.4098099999999995E-2</c:v>
                </c:pt>
                <c:pt idx="281">
                  <c:v>9.3442399999999995E-2</c:v>
                </c:pt>
                <c:pt idx="282">
                  <c:v>7.4753899999999998E-2</c:v>
                </c:pt>
                <c:pt idx="283">
                  <c:v>8.4098099999999995E-2</c:v>
                </c:pt>
                <c:pt idx="284">
                  <c:v>8.4098099999999995E-2</c:v>
                </c:pt>
                <c:pt idx="285">
                  <c:v>7.4753899999999998E-2</c:v>
                </c:pt>
                <c:pt idx="286">
                  <c:v>7.4753899999999998E-2</c:v>
                </c:pt>
                <c:pt idx="287">
                  <c:v>8.4098099999999995E-2</c:v>
                </c:pt>
                <c:pt idx="288">
                  <c:v>8.4098099999999995E-2</c:v>
                </c:pt>
                <c:pt idx="289">
                  <c:v>6.5409599999999998E-2</c:v>
                </c:pt>
                <c:pt idx="290">
                  <c:v>7.4753899999999998E-2</c:v>
                </c:pt>
                <c:pt idx="291">
                  <c:v>8.4098099999999995E-2</c:v>
                </c:pt>
                <c:pt idx="292">
                  <c:v>9.3442399999999995E-2</c:v>
                </c:pt>
                <c:pt idx="293">
                  <c:v>7.4753899999999998E-2</c:v>
                </c:pt>
                <c:pt idx="294">
                  <c:v>6.5409599999999998E-2</c:v>
                </c:pt>
                <c:pt idx="295">
                  <c:v>4.6721199999999997E-2</c:v>
                </c:pt>
                <c:pt idx="296">
                  <c:v>5.6065400000000001E-2</c:v>
                </c:pt>
                <c:pt idx="297">
                  <c:v>2.8032700000000001E-2</c:v>
                </c:pt>
                <c:pt idx="298">
                  <c:v>1.8688400000000001E-2</c:v>
                </c:pt>
                <c:pt idx="299">
                  <c:v>9.3442000000000004E-3</c:v>
                </c:pt>
                <c:pt idx="300">
                  <c:v>1.8688400000000001E-2</c:v>
                </c:pt>
                <c:pt idx="301">
                  <c:v>1.8688400000000001E-2</c:v>
                </c:pt>
                <c:pt idx="302">
                  <c:v>2.8032700000000001E-2</c:v>
                </c:pt>
                <c:pt idx="303">
                  <c:v>3.7376899999999998E-2</c:v>
                </c:pt>
                <c:pt idx="304">
                  <c:v>4.6721199999999997E-2</c:v>
                </c:pt>
                <c:pt idx="305">
                  <c:v>4.6721199999999997E-2</c:v>
                </c:pt>
                <c:pt idx="306">
                  <c:v>4.6721199999999997E-2</c:v>
                </c:pt>
                <c:pt idx="307">
                  <c:v>3.7376899999999998E-2</c:v>
                </c:pt>
                <c:pt idx="308">
                  <c:v>3.7376899999999998E-2</c:v>
                </c:pt>
                <c:pt idx="309">
                  <c:v>3.7376899999999998E-2</c:v>
                </c:pt>
                <c:pt idx="310">
                  <c:v>1.8688400000000001E-2</c:v>
                </c:pt>
                <c:pt idx="311">
                  <c:v>9.3442000000000004E-3</c:v>
                </c:pt>
                <c:pt idx="312">
                  <c:v>9.3442000000000004E-3</c:v>
                </c:pt>
                <c:pt idx="313">
                  <c:v>9.3442000000000004E-3</c:v>
                </c:pt>
                <c:pt idx="314">
                  <c:v>1.8688400000000001E-2</c:v>
                </c:pt>
                <c:pt idx="315">
                  <c:v>1.8688400000000001E-2</c:v>
                </c:pt>
                <c:pt idx="316">
                  <c:v>1.8688400000000001E-2</c:v>
                </c:pt>
                <c:pt idx="317">
                  <c:v>3.7376899999999998E-2</c:v>
                </c:pt>
                <c:pt idx="318">
                  <c:v>3.7376899999999998E-2</c:v>
                </c:pt>
                <c:pt idx="319">
                  <c:v>3.7376899999999998E-2</c:v>
                </c:pt>
                <c:pt idx="320">
                  <c:v>4.6721199999999997E-2</c:v>
                </c:pt>
                <c:pt idx="321">
                  <c:v>4.6721199999999997E-2</c:v>
                </c:pt>
                <c:pt idx="322">
                  <c:v>4.6721199999999997E-2</c:v>
                </c:pt>
                <c:pt idx="323">
                  <c:v>3.7376899999999998E-2</c:v>
                </c:pt>
                <c:pt idx="324">
                  <c:v>2.8032700000000001E-2</c:v>
                </c:pt>
                <c:pt idx="325">
                  <c:v>3.7376899999999998E-2</c:v>
                </c:pt>
                <c:pt idx="326">
                  <c:v>3.7376899999999998E-2</c:v>
                </c:pt>
                <c:pt idx="327">
                  <c:v>2.8032700000000001E-2</c:v>
                </c:pt>
                <c:pt idx="328">
                  <c:v>2.8032700000000001E-2</c:v>
                </c:pt>
                <c:pt idx="329">
                  <c:v>3.7376899999999998E-2</c:v>
                </c:pt>
                <c:pt idx="330">
                  <c:v>3.7376899999999998E-2</c:v>
                </c:pt>
                <c:pt idx="331">
                  <c:v>3.7376899999999998E-2</c:v>
                </c:pt>
                <c:pt idx="332">
                  <c:v>4.6721199999999997E-2</c:v>
                </c:pt>
                <c:pt idx="333">
                  <c:v>5.6065400000000001E-2</c:v>
                </c:pt>
                <c:pt idx="334">
                  <c:v>5.6065400000000001E-2</c:v>
                </c:pt>
                <c:pt idx="335">
                  <c:v>4.6721199999999997E-2</c:v>
                </c:pt>
                <c:pt idx="336">
                  <c:v>5.6065400000000001E-2</c:v>
                </c:pt>
                <c:pt idx="337">
                  <c:v>6.5409599999999998E-2</c:v>
                </c:pt>
                <c:pt idx="338">
                  <c:v>5.6065400000000001E-2</c:v>
                </c:pt>
                <c:pt idx="339">
                  <c:v>4.6721199999999997E-2</c:v>
                </c:pt>
                <c:pt idx="340">
                  <c:v>3.7376899999999998E-2</c:v>
                </c:pt>
                <c:pt idx="341">
                  <c:v>3.7376899999999998E-2</c:v>
                </c:pt>
                <c:pt idx="342">
                  <c:v>4.6721199999999997E-2</c:v>
                </c:pt>
                <c:pt idx="343">
                  <c:v>2.8032700000000001E-2</c:v>
                </c:pt>
                <c:pt idx="344">
                  <c:v>3.7376899999999998E-2</c:v>
                </c:pt>
                <c:pt idx="345">
                  <c:v>3.7376899999999998E-2</c:v>
                </c:pt>
                <c:pt idx="346">
                  <c:v>3.7376899999999998E-2</c:v>
                </c:pt>
                <c:pt idx="347">
                  <c:v>3.7376899999999998E-2</c:v>
                </c:pt>
                <c:pt idx="348">
                  <c:v>4.6721199999999997E-2</c:v>
                </c:pt>
                <c:pt idx="349">
                  <c:v>4.6721199999999997E-2</c:v>
                </c:pt>
                <c:pt idx="350">
                  <c:v>4.6721199999999997E-2</c:v>
                </c:pt>
                <c:pt idx="351">
                  <c:v>2.8032700000000001E-2</c:v>
                </c:pt>
                <c:pt idx="352">
                  <c:v>2.8032700000000001E-2</c:v>
                </c:pt>
                <c:pt idx="353">
                  <c:v>4.6721199999999997E-2</c:v>
                </c:pt>
                <c:pt idx="354">
                  <c:v>5.6065400000000001E-2</c:v>
                </c:pt>
                <c:pt idx="355">
                  <c:v>4.6721199999999997E-2</c:v>
                </c:pt>
                <c:pt idx="356">
                  <c:v>4.6721199999999997E-2</c:v>
                </c:pt>
                <c:pt idx="357">
                  <c:v>5.6065400000000001E-2</c:v>
                </c:pt>
                <c:pt idx="358">
                  <c:v>6.5409599999999998E-2</c:v>
                </c:pt>
                <c:pt idx="359">
                  <c:v>6.5409599999999998E-2</c:v>
                </c:pt>
                <c:pt idx="360">
                  <c:v>3.7376899999999998E-2</c:v>
                </c:pt>
                <c:pt idx="361">
                  <c:v>2.8032700000000001E-2</c:v>
                </c:pt>
                <c:pt idx="362">
                  <c:v>2.8032700000000001E-2</c:v>
                </c:pt>
                <c:pt idx="363">
                  <c:v>1.8688400000000001E-2</c:v>
                </c:pt>
                <c:pt idx="364">
                  <c:v>9.3442000000000004E-3</c:v>
                </c:pt>
                <c:pt idx="365">
                  <c:v>9.3442000000000004E-3</c:v>
                </c:pt>
                <c:pt idx="366">
                  <c:v>9.3442000000000004E-3</c:v>
                </c:pt>
                <c:pt idx="367">
                  <c:v>5.6065400000000001E-2</c:v>
                </c:pt>
                <c:pt idx="368">
                  <c:v>5.6065400000000001E-2</c:v>
                </c:pt>
                <c:pt idx="369">
                  <c:v>6.5409599999999998E-2</c:v>
                </c:pt>
                <c:pt idx="370">
                  <c:v>7.4753899999999998E-2</c:v>
                </c:pt>
                <c:pt idx="371">
                  <c:v>9.3442399999999995E-2</c:v>
                </c:pt>
                <c:pt idx="372">
                  <c:v>9.3442399999999995E-2</c:v>
                </c:pt>
                <c:pt idx="373">
                  <c:v>9.3442399999999995E-2</c:v>
                </c:pt>
                <c:pt idx="374">
                  <c:v>7.4753899999999998E-2</c:v>
                </c:pt>
                <c:pt idx="375">
                  <c:v>7.4753899999999998E-2</c:v>
                </c:pt>
                <c:pt idx="376">
                  <c:v>6.5409599999999998E-2</c:v>
                </c:pt>
                <c:pt idx="377">
                  <c:v>9.3442399999999995E-2</c:v>
                </c:pt>
                <c:pt idx="378">
                  <c:v>0.10278660000000001</c:v>
                </c:pt>
                <c:pt idx="379">
                  <c:v>9.3442399999999995E-2</c:v>
                </c:pt>
                <c:pt idx="380">
                  <c:v>0.11213090000000001</c:v>
                </c:pt>
                <c:pt idx="381">
                  <c:v>9.3442399999999995E-2</c:v>
                </c:pt>
                <c:pt idx="382">
                  <c:v>9.3442399999999995E-2</c:v>
                </c:pt>
                <c:pt idx="383">
                  <c:v>0.10278660000000001</c:v>
                </c:pt>
                <c:pt idx="384">
                  <c:v>7.4753899999999998E-2</c:v>
                </c:pt>
                <c:pt idx="385">
                  <c:v>4.6721199999999997E-2</c:v>
                </c:pt>
                <c:pt idx="386">
                  <c:v>5.6065400000000001E-2</c:v>
                </c:pt>
                <c:pt idx="387">
                  <c:v>5.6065400000000001E-2</c:v>
                </c:pt>
                <c:pt idx="388">
                  <c:v>6.5409599999999998E-2</c:v>
                </c:pt>
                <c:pt idx="389">
                  <c:v>8.4098099999999995E-2</c:v>
                </c:pt>
                <c:pt idx="390">
                  <c:v>9.3442399999999995E-2</c:v>
                </c:pt>
                <c:pt idx="391">
                  <c:v>0.11213090000000001</c:v>
                </c:pt>
                <c:pt idx="392">
                  <c:v>0.1214751</c:v>
                </c:pt>
                <c:pt idx="393">
                  <c:v>0.1495078</c:v>
                </c:pt>
                <c:pt idx="394">
                  <c:v>0.1401636</c:v>
                </c:pt>
                <c:pt idx="395">
                  <c:v>0.1588521</c:v>
                </c:pt>
                <c:pt idx="396">
                  <c:v>0.1401636</c:v>
                </c:pt>
                <c:pt idx="397">
                  <c:v>0.1401636</c:v>
                </c:pt>
                <c:pt idx="398">
                  <c:v>0.1588521</c:v>
                </c:pt>
                <c:pt idx="399">
                  <c:v>0.25229449999999998</c:v>
                </c:pt>
                <c:pt idx="400">
                  <c:v>0.30836000000000002</c:v>
                </c:pt>
                <c:pt idx="401">
                  <c:v>0.33639269999999999</c:v>
                </c:pt>
                <c:pt idx="402">
                  <c:v>0.31770419999999999</c:v>
                </c:pt>
                <c:pt idx="403">
                  <c:v>0.32704840000000002</c:v>
                </c:pt>
                <c:pt idx="404">
                  <c:v>0.32704840000000002</c:v>
                </c:pt>
                <c:pt idx="405">
                  <c:v>0.37376969999999998</c:v>
                </c:pt>
                <c:pt idx="406">
                  <c:v>0.28967150000000003</c:v>
                </c:pt>
                <c:pt idx="407">
                  <c:v>0.25229449999999998</c:v>
                </c:pt>
                <c:pt idx="408">
                  <c:v>0.2803272</c:v>
                </c:pt>
                <c:pt idx="409">
                  <c:v>0.2990157</c:v>
                </c:pt>
                <c:pt idx="410">
                  <c:v>0.30836000000000002</c:v>
                </c:pt>
                <c:pt idx="411">
                  <c:v>0.32704840000000002</c:v>
                </c:pt>
                <c:pt idx="412">
                  <c:v>0.2990157</c:v>
                </c:pt>
                <c:pt idx="413">
                  <c:v>0.30836000000000002</c:v>
                </c:pt>
                <c:pt idx="414">
                  <c:v>0.31770419999999999</c:v>
                </c:pt>
                <c:pt idx="415">
                  <c:v>0.28967150000000003</c:v>
                </c:pt>
                <c:pt idx="416">
                  <c:v>0.31770419999999999</c:v>
                </c:pt>
                <c:pt idx="417">
                  <c:v>0.34573690000000001</c:v>
                </c:pt>
                <c:pt idx="418">
                  <c:v>0.4018024</c:v>
                </c:pt>
                <c:pt idx="419">
                  <c:v>0.54196599999999995</c:v>
                </c:pt>
                <c:pt idx="420">
                  <c:v>0.56065449999999994</c:v>
                </c:pt>
                <c:pt idx="421">
                  <c:v>0.57934300000000005</c:v>
                </c:pt>
                <c:pt idx="422">
                  <c:v>0.63540839999999998</c:v>
                </c:pt>
                <c:pt idx="423">
                  <c:v>0.65409689999999998</c:v>
                </c:pt>
                <c:pt idx="424">
                  <c:v>0.66344119999999995</c:v>
                </c:pt>
                <c:pt idx="425">
                  <c:v>0.63540839999999998</c:v>
                </c:pt>
                <c:pt idx="426">
                  <c:v>0.67278539999999998</c:v>
                </c:pt>
                <c:pt idx="427">
                  <c:v>0.85032600000000003</c:v>
                </c:pt>
                <c:pt idx="428">
                  <c:v>0.92508000000000001</c:v>
                </c:pt>
                <c:pt idx="429">
                  <c:v>0.95311270000000003</c:v>
                </c:pt>
                <c:pt idx="430">
                  <c:v>1.0839321</c:v>
                </c:pt>
                <c:pt idx="431">
                  <c:v>1.2054072</c:v>
                </c:pt>
                <c:pt idx="432">
                  <c:v>1.3081939</c:v>
                </c:pt>
                <c:pt idx="433">
                  <c:v>1.3362266</c:v>
                </c:pt>
                <c:pt idx="434">
                  <c:v>1.3642593999999999</c:v>
                </c:pt>
                <c:pt idx="435">
                  <c:v>1.4670460000000001</c:v>
                </c:pt>
                <c:pt idx="436">
                  <c:v>1.5604884999999999</c:v>
                </c:pt>
                <c:pt idx="437">
                  <c:v>1.5137672</c:v>
                </c:pt>
                <c:pt idx="438">
                  <c:v>1.4950787999999999</c:v>
                </c:pt>
                <c:pt idx="439">
                  <c:v>1.5044230000000001</c:v>
                </c:pt>
                <c:pt idx="440">
                  <c:v>1.5324557000000001</c:v>
                </c:pt>
                <c:pt idx="441">
                  <c:v>1.5044230000000001</c:v>
                </c:pt>
                <c:pt idx="442">
                  <c:v>1.4390133000000001</c:v>
                </c:pt>
                <c:pt idx="443">
                  <c:v>1.5604884999999999</c:v>
                </c:pt>
                <c:pt idx="444">
                  <c:v>1.6913079</c:v>
                </c:pt>
                <c:pt idx="445">
                  <c:v>1.7193406</c:v>
                </c:pt>
                <c:pt idx="446">
                  <c:v>1.8314714999999999</c:v>
                </c:pt>
                <c:pt idx="447">
                  <c:v>1.9155697</c:v>
                </c:pt>
                <c:pt idx="448">
                  <c:v>2.1304873</c:v>
                </c:pt>
                <c:pt idx="449">
                  <c:v>2.1024544999999999</c:v>
                </c:pt>
                <c:pt idx="450">
                  <c:v>2.2145853999999998</c:v>
                </c:pt>
                <c:pt idx="451">
                  <c:v>2.2332738999999999</c:v>
                </c:pt>
                <c:pt idx="452">
                  <c:v>2.2986835999999999</c:v>
                </c:pt>
                <c:pt idx="453">
                  <c:v>2.2052412000000001</c:v>
                </c:pt>
                <c:pt idx="454">
                  <c:v>2.1491756999999998</c:v>
                </c:pt>
                <c:pt idx="455">
                  <c:v>1.9903236</c:v>
                </c:pt>
                <c:pt idx="456">
                  <c:v>2.1398315000000001</c:v>
                </c:pt>
                <c:pt idx="457">
                  <c:v>1.9342581999999999</c:v>
                </c:pt>
                <c:pt idx="458">
                  <c:v>1.7940944999999999</c:v>
                </c:pt>
                <c:pt idx="459">
                  <c:v>1.7380291000000001</c:v>
                </c:pt>
                <c:pt idx="460">
                  <c:v>1.7006521000000001</c:v>
                </c:pt>
                <c:pt idx="461">
                  <c:v>1.7660617999999999</c:v>
                </c:pt>
                <c:pt idx="462">
                  <c:v>1.7193406</c:v>
                </c:pt>
                <c:pt idx="463">
                  <c:v>1.5511442</c:v>
                </c:pt>
                <c:pt idx="464">
                  <c:v>1.5137672</c:v>
                </c:pt>
                <c:pt idx="465">
                  <c:v>1.5231115</c:v>
                </c:pt>
                <c:pt idx="466">
                  <c:v>1.4670460000000001</c:v>
                </c:pt>
                <c:pt idx="467">
                  <c:v>1.4577017999999999</c:v>
                </c:pt>
                <c:pt idx="468">
                  <c:v>1.2895053999999999</c:v>
                </c:pt>
                <c:pt idx="469">
                  <c:v>1.3175380999999999</c:v>
                </c:pt>
                <c:pt idx="470">
                  <c:v>1.3922920999999999</c:v>
                </c:pt>
                <c:pt idx="471">
                  <c:v>1.3642593999999999</c:v>
                </c:pt>
                <c:pt idx="472">
                  <c:v>1.3081939</c:v>
                </c:pt>
                <c:pt idx="473">
                  <c:v>1.2240956999999999</c:v>
                </c:pt>
                <c:pt idx="474">
                  <c:v>1.1773745</c:v>
                </c:pt>
                <c:pt idx="475">
                  <c:v>1.2334400000000001</c:v>
                </c:pt>
                <c:pt idx="476">
                  <c:v>1.1960630000000001</c:v>
                </c:pt>
                <c:pt idx="477">
                  <c:v>1.1119648</c:v>
                </c:pt>
                <c:pt idx="478">
                  <c:v>1.1119648</c:v>
                </c:pt>
                <c:pt idx="479">
                  <c:v>1.0745878</c:v>
                </c:pt>
                <c:pt idx="480">
                  <c:v>1.1213090999999999</c:v>
                </c:pt>
                <c:pt idx="481">
                  <c:v>1.1213090999999999</c:v>
                </c:pt>
                <c:pt idx="482">
                  <c:v>1.0745878</c:v>
                </c:pt>
                <c:pt idx="483">
                  <c:v>1.1213090999999999</c:v>
                </c:pt>
                <c:pt idx="484">
                  <c:v>1.5885212</c:v>
                </c:pt>
                <c:pt idx="485">
                  <c:v>1.5324557000000001</c:v>
                </c:pt>
                <c:pt idx="486">
                  <c:v>1.5604884999999999</c:v>
                </c:pt>
                <c:pt idx="487">
                  <c:v>1.5885212</c:v>
                </c:pt>
                <c:pt idx="488">
                  <c:v>1.5885212</c:v>
                </c:pt>
                <c:pt idx="489">
                  <c:v>1.4950787999999999</c:v>
                </c:pt>
                <c:pt idx="490">
                  <c:v>1.3455709</c:v>
                </c:pt>
                <c:pt idx="491">
                  <c:v>0.81294909999999998</c:v>
                </c:pt>
                <c:pt idx="492">
                  <c:v>0.75688359999999999</c:v>
                </c:pt>
                <c:pt idx="493">
                  <c:v>0.76622780000000001</c:v>
                </c:pt>
                <c:pt idx="494">
                  <c:v>0.7195066</c:v>
                </c:pt>
                <c:pt idx="495">
                  <c:v>0.7008181</c:v>
                </c:pt>
                <c:pt idx="496">
                  <c:v>0.69147389999999997</c:v>
                </c:pt>
                <c:pt idx="497">
                  <c:v>0.68212969999999995</c:v>
                </c:pt>
                <c:pt idx="498">
                  <c:v>0.67278539999999998</c:v>
                </c:pt>
                <c:pt idx="499">
                  <c:v>0.65409689999999998</c:v>
                </c:pt>
                <c:pt idx="500">
                  <c:v>0.64475269999999996</c:v>
                </c:pt>
                <c:pt idx="501">
                  <c:v>0.57934300000000005</c:v>
                </c:pt>
                <c:pt idx="502">
                  <c:v>0.53262180000000003</c:v>
                </c:pt>
                <c:pt idx="503">
                  <c:v>0.54196599999999995</c:v>
                </c:pt>
                <c:pt idx="504">
                  <c:v>0.45786779999999999</c:v>
                </c:pt>
              </c:numCache>
            </c:numRef>
          </c:val>
          <c:smooth val="0"/>
          <c:extLst>
            <c:ext xmlns:c16="http://schemas.microsoft.com/office/drawing/2014/chart" uri="{C3380CC4-5D6E-409C-BE32-E72D297353CC}">
              <c16:uniqueId val="{00000000-57DC-463D-8531-AEA8D76944D6}"/>
            </c:ext>
          </c:extLst>
        </c:ser>
        <c:dLbls>
          <c:showLegendKey val="0"/>
          <c:showVal val="0"/>
          <c:showCatName val="0"/>
          <c:showSerName val="0"/>
          <c:showPercent val="0"/>
          <c:showBubbleSize val="0"/>
        </c:dLbls>
        <c:smooth val="0"/>
        <c:axId val="298003144"/>
        <c:axId val="298003536"/>
      </c:lineChart>
      <c:dateAx>
        <c:axId val="298003144"/>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2700000" vert="horz"/>
          <a:lstStyle/>
          <a:p>
            <a:pPr>
              <a:defRPr sz="1000"/>
            </a:pPr>
            <a:endParaRPr lang="cs-CZ"/>
          </a:p>
        </c:txPr>
        <c:crossAx val="298003536"/>
        <c:crosses val="autoZero"/>
        <c:auto val="1"/>
        <c:lblOffset val="100"/>
        <c:baseTimeUnit val="days"/>
      </c:dateAx>
      <c:valAx>
        <c:axId val="298003536"/>
        <c:scaling>
          <c:orientation val="minMax"/>
        </c:scaling>
        <c:delete val="0"/>
        <c:axPos val="l"/>
        <c:majorGridlines>
          <c:spPr>
            <a:ln>
              <a:solidFill>
                <a:srgbClr val="FFFFFF">
                  <a:lumMod val="85000"/>
                </a:srgbClr>
              </a:solidFill>
            </a:ln>
          </c:spPr>
        </c:majorGridlines>
        <c:numFmt formatCode="#,##0.0" sourceLinked="0"/>
        <c:majorTickMark val="out"/>
        <c:minorTickMark val="none"/>
        <c:tickLblPos val="nextTo"/>
        <c:spPr>
          <a:noFill/>
          <a:ln w="9525">
            <a:solidFill>
              <a:srgbClr val="000000"/>
            </a:solidFill>
          </a:ln>
          <a:effectLst/>
        </c:spPr>
        <c:txPr>
          <a:bodyPr rot="-60000000" vert="horz"/>
          <a:lstStyle/>
          <a:p>
            <a:pPr>
              <a:defRPr/>
            </a:pPr>
            <a:endParaRPr lang="cs-CZ"/>
          </a:p>
        </c:txPr>
        <c:crossAx val="298003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mn-lt"/>
        </a:defRPr>
      </a:pPr>
      <a:endParaRPr lang="cs-CZ"/>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691736427245266E-2"/>
          <c:y val="3.2974164897054098E-2"/>
          <c:w val="0.92647190119621747"/>
          <c:h val="0.92040624704252283"/>
        </c:manualLayout>
      </c:layout>
      <c:lineChart>
        <c:grouping val="standard"/>
        <c:varyColors val="0"/>
        <c:ser>
          <c:idx val="3"/>
          <c:order val="0"/>
          <c:tx>
            <c:v>JIP_v_den_pozitivity_7dni_100_000_zmena</c:v>
          </c:tx>
          <c:spPr>
            <a:ln>
              <a:solidFill>
                <a:srgbClr val="D31145"/>
              </a:solidFill>
            </a:ln>
          </c:spPr>
          <c:marker>
            <c:symbol val="none"/>
          </c:marker>
          <c:cat>
            <c:numRef>
              <c:f>Sheet1!$A$2:$A$507</c:f>
              <c:numCache>
                <c:formatCode>m/d/yyyy</c:formatCode>
                <c:ptCount val="506"/>
                <c:pt idx="0">
                  <c:v>44075</c:v>
                </c:pt>
                <c:pt idx="1">
                  <c:v>44076</c:v>
                </c:pt>
                <c:pt idx="2">
                  <c:v>44077</c:v>
                </c:pt>
                <c:pt idx="3">
                  <c:v>44078</c:v>
                </c:pt>
                <c:pt idx="4">
                  <c:v>44079</c:v>
                </c:pt>
                <c:pt idx="5">
                  <c:v>44080</c:v>
                </c:pt>
                <c:pt idx="6">
                  <c:v>44081</c:v>
                </c:pt>
                <c:pt idx="7">
                  <c:v>44082</c:v>
                </c:pt>
                <c:pt idx="8">
                  <c:v>44083</c:v>
                </c:pt>
                <c:pt idx="9">
                  <c:v>44084</c:v>
                </c:pt>
                <c:pt idx="10">
                  <c:v>44085</c:v>
                </c:pt>
                <c:pt idx="11">
                  <c:v>44086</c:v>
                </c:pt>
                <c:pt idx="12">
                  <c:v>44087</c:v>
                </c:pt>
                <c:pt idx="13">
                  <c:v>44088</c:v>
                </c:pt>
                <c:pt idx="14">
                  <c:v>44089</c:v>
                </c:pt>
                <c:pt idx="15">
                  <c:v>44090</c:v>
                </c:pt>
                <c:pt idx="16">
                  <c:v>44091</c:v>
                </c:pt>
                <c:pt idx="17">
                  <c:v>44092</c:v>
                </c:pt>
                <c:pt idx="18">
                  <c:v>44093</c:v>
                </c:pt>
                <c:pt idx="19">
                  <c:v>44094</c:v>
                </c:pt>
                <c:pt idx="20">
                  <c:v>44095</c:v>
                </c:pt>
                <c:pt idx="21">
                  <c:v>44096</c:v>
                </c:pt>
                <c:pt idx="22">
                  <c:v>44097</c:v>
                </c:pt>
                <c:pt idx="23">
                  <c:v>44098</c:v>
                </c:pt>
                <c:pt idx="24">
                  <c:v>44099</c:v>
                </c:pt>
                <c:pt idx="25">
                  <c:v>44100</c:v>
                </c:pt>
                <c:pt idx="26">
                  <c:v>44101</c:v>
                </c:pt>
                <c:pt idx="27">
                  <c:v>44102</c:v>
                </c:pt>
                <c:pt idx="28">
                  <c:v>44103</c:v>
                </c:pt>
                <c:pt idx="29">
                  <c:v>44104</c:v>
                </c:pt>
                <c:pt idx="30">
                  <c:v>44105</c:v>
                </c:pt>
                <c:pt idx="31">
                  <c:v>44106</c:v>
                </c:pt>
                <c:pt idx="32">
                  <c:v>44107</c:v>
                </c:pt>
                <c:pt idx="33">
                  <c:v>44108</c:v>
                </c:pt>
                <c:pt idx="34">
                  <c:v>44109</c:v>
                </c:pt>
                <c:pt idx="35">
                  <c:v>44110</c:v>
                </c:pt>
                <c:pt idx="36">
                  <c:v>44111</c:v>
                </c:pt>
                <c:pt idx="37">
                  <c:v>44112</c:v>
                </c:pt>
                <c:pt idx="38">
                  <c:v>44113</c:v>
                </c:pt>
                <c:pt idx="39">
                  <c:v>44114</c:v>
                </c:pt>
                <c:pt idx="40">
                  <c:v>44115</c:v>
                </c:pt>
                <c:pt idx="41">
                  <c:v>44116</c:v>
                </c:pt>
                <c:pt idx="42">
                  <c:v>44117</c:v>
                </c:pt>
                <c:pt idx="43">
                  <c:v>44118</c:v>
                </c:pt>
                <c:pt idx="44">
                  <c:v>44119</c:v>
                </c:pt>
                <c:pt idx="45">
                  <c:v>44120</c:v>
                </c:pt>
                <c:pt idx="46">
                  <c:v>44121</c:v>
                </c:pt>
                <c:pt idx="47">
                  <c:v>44122</c:v>
                </c:pt>
                <c:pt idx="48">
                  <c:v>44123</c:v>
                </c:pt>
                <c:pt idx="49">
                  <c:v>44124</c:v>
                </c:pt>
                <c:pt idx="50">
                  <c:v>44125</c:v>
                </c:pt>
                <c:pt idx="51">
                  <c:v>44126</c:v>
                </c:pt>
                <c:pt idx="52">
                  <c:v>44127</c:v>
                </c:pt>
                <c:pt idx="53">
                  <c:v>44128</c:v>
                </c:pt>
                <c:pt idx="54">
                  <c:v>44129</c:v>
                </c:pt>
                <c:pt idx="55">
                  <c:v>44130</c:v>
                </c:pt>
                <c:pt idx="56">
                  <c:v>44131</c:v>
                </c:pt>
                <c:pt idx="57">
                  <c:v>44132</c:v>
                </c:pt>
                <c:pt idx="58">
                  <c:v>44133</c:v>
                </c:pt>
                <c:pt idx="59">
                  <c:v>44134</c:v>
                </c:pt>
                <c:pt idx="60">
                  <c:v>44135</c:v>
                </c:pt>
                <c:pt idx="61">
                  <c:v>44136</c:v>
                </c:pt>
                <c:pt idx="62">
                  <c:v>44137</c:v>
                </c:pt>
                <c:pt idx="63">
                  <c:v>44138</c:v>
                </c:pt>
                <c:pt idx="64">
                  <c:v>44139</c:v>
                </c:pt>
                <c:pt idx="65">
                  <c:v>44140</c:v>
                </c:pt>
                <c:pt idx="66">
                  <c:v>44141</c:v>
                </c:pt>
                <c:pt idx="67">
                  <c:v>44142</c:v>
                </c:pt>
                <c:pt idx="68">
                  <c:v>44143</c:v>
                </c:pt>
                <c:pt idx="69">
                  <c:v>44144</c:v>
                </c:pt>
                <c:pt idx="70">
                  <c:v>44145</c:v>
                </c:pt>
                <c:pt idx="71">
                  <c:v>44146</c:v>
                </c:pt>
                <c:pt idx="72">
                  <c:v>44147</c:v>
                </c:pt>
                <c:pt idx="73">
                  <c:v>44148</c:v>
                </c:pt>
                <c:pt idx="74">
                  <c:v>44149</c:v>
                </c:pt>
                <c:pt idx="75">
                  <c:v>44150</c:v>
                </c:pt>
                <c:pt idx="76">
                  <c:v>44151</c:v>
                </c:pt>
                <c:pt idx="77">
                  <c:v>44152</c:v>
                </c:pt>
                <c:pt idx="78">
                  <c:v>44153</c:v>
                </c:pt>
                <c:pt idx="79">
                  <c:v>44154</c:v>
                </c:pt>
                <c:pt idx="80">
                  <c:v>44155</c:v>
                </c:pt>
                <c:pt idx="81">
                  <c:v>44156</c:v>
                </c:pt>
                <c:pt idx="82">
                  <c:v>44157</c:v>
                </c:pt>
                <c:pt idx="83">
                  <c:v>44158</c:v>
                </c:pt>
                <c:pt idx="84">
                  <c:v>44159</c:v>
                </c:pt>
                <c:pt idx="85">
                  <c:v>44160</c:v>
                </c:pt>
                <c:pt idx="86">
                  <c:v>44161</c:v>
                </c:pt>
                <c:pt idx="87">
                  <c:v>44162</c:v>
                </c:pt>
                <c:pt idx="88">
                  <c:v>44163</c:v>
                </c:pt>
                <c:pt idx="89">
                  <c:v>44164</c:v>
                </c:pt>
                <c:pt idx="90">
                  <c:v>44165</c:v>
                </c:pt>
                <c:pt idx="91">
                  <c:v>44166</c:v>
                </c:pt>
                <c:pt idx="92">
                  <c:v>44167</c:v>
                </c:pt>
                <c:pt idx="93">
                  <c:v>44168</c:v>
                </c:pt>
                <c:pt idx="94">
                  <c:v>44169</c:v>
                </c:pt>
                <c:pt idx="95">
                  <c:v>44170</c:v>
                </c:pt>
                <c:pt idx="96">
                  <c:v>44171</c:v>
                </c:pt>
                <c:pt idx="97">
                  <c:v>44172</c:v>
                </c:pt>
                <c:pt idx="98">
                  <c:v>44173</c:v>
                </c:pt>
                <c:pt idx="99">
                  <c:v>44174</c:v>
                </c:pt>
                <c:pt idx="100">
                  <c:v>44175</c:v>
                </c:pt>
                <c:pt idx="101">
                  <c:v>44176</c:v>
                </c:pt>
                <c:pt idx="102">
                  <c:v>44177</c:v>
                </c:pt>
                <c:pt idx="103">
                  <c:v>44178</c:v>
                </c:pt>
                <c:pt idx="104">
                  <c:v>44179</c:v>
                </c:pt>
                <c:pt idx="105">
                  <c:v>44180</c:v>
                </c:pt>
                <c:pt idx="106">
                  <c:v>44181</c:v>
                </c:pt>
                <c:pt idx="107">
                  <c:v>44182</c:v>
                </c:pt>
                <c:pt idx="108">
                  <c:v>44183</c:v>
                </c:pt>
                <c:pt idx="109">
                  <c:v>44184</c:v>
                </c:pt>
                <c:pt idx="110">
                  <c:v>44185</c:v>
                </c:pt>
                <c:pt idx="111">
                  <c:v>44186</c:v>
                </c:pt>
                <c:pt idx="112">
                  <c:v>44187</c:v>
                </c:pt>
                <c:pt idx="113">
                  <c:v>44188</c:v>
                </c:pt>
                <c:pt idx="114">
                  <c:v>44189</c:v>
                </c:pt>
                <c:pt idx="115">
                  <c:v>44190</c:v>
                </c:pt>
                <c:pt idx="116">
                  <c:v>44191</c:v>
                </c:pt>
                <c:pt idx="117">
                  <c:v>44192</c:v>
                </c:pt>
                <c:pt idx="118">
                  <c:v>44193</c:v>
                </c:pt>
                <c:pt idx="119">
                  <c:v>44194</c:v>
                </c:pt>
                <c:pt idx="120">
                  <c:v>44195</c:v>
                </c:pt>
                <c:pt idx="121">
                  <c:v>44196</c:v>
                </c:pt>
                <c:pt idx="122">
                  <c:v>44197</c:v>
                </c:pt>
                <c:pt idx="123">
                  <c:v>44198</c:v>
                </c:pt>
                <c:pt idx="124">
                  <c:v>44199</c:v>
                </c:pt>
                <c:pt idx="125">
                  <c:v>44200</c:v>
                </c:pt>
                <c:pt idx="126">
                  <c:v>44201</c:v>
                </c:pt>
                <c:pt idx="127">
                  <c:v>44202</c:v>
                </c:pt>
                <c:pt idx="128">
                  <c:v>44203</c:v>
                </c:pt>
                <c:pt idx="129">
                  <c:v>44204</c:v>
                </c:pt>
                <c:pt idx="130">
                  <c:v>44205</c:v>
                </c:pt>
                <c:pt idx="131">
                  <c:v>44206</c:v>
                </c:pt>
                <c:pt idx="132">
                  <c:v>44207</c:v>
                </c:pt>
                <c:pt idx="133">
                  <c:v>44208</c:v>
                </c:pt>
                <c:pt idx="134">
                  <c:v>44209</c:v>
                </c:pt>
                <c:pt idx="135">
                  <c:v>44210</c:v>
                </c:pt>
                <c:pt idx="136">
                  <c:v>44211</c:v>
                </c:pt>
                <c:pt idx="137">
                  <c:v>44212</c:v>
                </c:pt>
                <c:pt idx="138">
                  <c:v>44213</c:v>
                </c:pt>
                <c:pt idx="139">
                  <c:v>44214</c:v>
                </c:pt>
                <c:pt idx="140">
                  <c:v>44215</c:v>
                </c:pt>
                <c:pt idx="141">
                  <c:v>44216</c:v>
                </c:pt>
                <c:pt idx="142">
                  <c:v>44217</c:v>
                </c:pt>
                <c:pt idx="143">
                  <c:v>44218</c:v>
                </c:pt>
                <c:pt idx="144">
                  <c:v>44219</c:v>
                </c:pt>
                <c:pt idx="145">
                  <c:v>44220</c:v>
                </c:pt>
                <c:pt idx="146">
                  <c:v>44221</c:v>
                </c:pt>
                <c:pt idx="147">
                  <c:v>44222</c:v>
                </c:pt>
                <c:pt idx="148">
                  <c:v>44223</c:v>
                </c:pt>
                <c:pt idx="149">
                  <c:v>44224</c:v>
                </c:pt>
                <c:pt idx="150">
                  <c:v>44225</c:v>
                </c:pt>
                <c:pt idx="151">
                  <c:v>44226</c:v>
                </c:pt>
                <c:pt idx="152">
                  <c:v>44227</c:v>
                </c:pt>
                <c:pt idx="153">
                  <c:v>44228</c:v>
                </c:pt>
                <c:pt idx="154">
                  <c:v>44229</c:v>
                </c:pt>
                <c:pt idx="155">
                  <c:v>44230</c:v>
                </c:pt>
                <c:pt idx="156">
                  <c:v>44231</c:v>
                </c:pt>
                <c:pt idx="157">
                  <c:v>44232</c:v>
                </c:pt>
                <c:pt idx="158">
                  <c:v>44233</c:v>
                </c:pt>
                <c:pt idx="159">
                  <c:v>44234</c:v>
                </c:pt>
                <c:pt idx="160">
                  <c:v>44235</c:v>
                </c:pt>
                <c:pt idx="161">
                  <c:v>44236</c:v>
                </c:pt>
                <c:pt idx="162">
                  <c:v>44237</c:v>
                </c:pt>
                <c:pt idx="163">
                  <c:v>44238</c:v>
                </c:pt>
                <c:pt idx="164">
                  <c:v>44239</c:v>
                </c:pt>
                <c:pt idx="165">
                  <c:v>44240</c:v>
                </c:pt>
                <c:pt idx="166">
                  <c:v>44241</c:v>
                </c:pt>
                <c:pt idx="167">
                  <c:v>44242</c:v>
                </c:pt>
                <c:pt idx="168">
                  <c:v>44243</c:v>
                </c:pt>
                <c:pt idx="169">
                  <c:v>44244</c:v>
                </c:pt>
                <c:pt idx="170">
                  <c:v>44245</c:v>
                </c:pt>
                <c:pt idx="171">
                  <c:v>44246</c:v>
                </c:pt>
                <c:pt idx="172">
                  <c:v>44247</c:v>
                </c:pt>
                <c:pt idx="173">
                  <c:v>44248</c:v>
                </c:pt>
                <c:pt idx="174">
                  <c:v>44249</c:v>
                </c:pt>
                <c:pt idx="175">
                  <c:v>44250</c:v>
                </c:pt>
                <c:pt idx="176">
                  <c:v>44251</c:v>
                </c:pt>
                <c:pt idx="177">
                  <c:v>44252</c:v>
                </c:pt>
                <c:pt idx="178">
                  <c:v>44253</c:v>
                </c:pt>
                <c:pt idx="179">
                  <c:v>44254</c:v>
                </c:pt>
                <c:pt idx="180">
                  <c:v>44255</c:v>
                </c:pt>
                <c:pt idx="181">
                  <c:v>44256</c:v>
                </c:pt>
                <c:pt idx="182">
                  <c:v>44257</c:v>
                </c:pt>
                <c:pt idx="183">
                  <c:v>44258</c:v>
                </c:pt>
                <c:pt idx="184">
                  <c:v>44259</c:v>
                </c:pt>
                <c:pt idx="185">
                  <c:v>44260</c:v>
                </c:pt>
                <c:pt idx="186">
                  <c:v>44261</c:v>
                </c:pt>
                <c:pt idx="187">
                  <c:v>44262</c:v>
                </c:pt>
                <c:pt idx="188">
                  <c:v>44263</c:v>
                </c:pt>
                <c:pt idx="189">
                  <c:v>44264</c:v>
                </c:pt>
                <c:pt idx="190">
                  <c:v>44265</c:v>
                </c:pt>
                <c:pt idx="191">
                  <c:v>44266</c:v>
                </c:pt>
                <c:pt idx="192">
                  <c:v>44267</c:v>
                </c:pt>
                <c:pt idx="193">
                  <c:v>44268</c:v>
                </c:pt>
                <c:pt idx="194">
                  <c:v>44269</c:v>
                </c:pt>
                <c:pt idx="195">
                  <c:v>44270</c:v>
                </c:pt>
                <c:pt idx="196">
                  <c:v>44271</c:v>
                </c:pt>
                <c:pt idx="197">
                  <c:v>44272</c:v>
                </c:pt>
                <c:pt idx="198">
                  <c:v>44273</c:v>
                </c:pt>
                <c:pt idx="199">
                  <c:v>44274</c:v>
                </c:pt>
                <c:pt idx="200">
                  <c:v>44275</c:v>
                </c:pt>
                <c:pt idx="201">
                  <c:v>44276</c:v>
                </c:pt>
                <c:pt idx="202">
                  <c:v>44277</c:v>
                </c:pt>
                <c:pt idx="203">
                  <c:v>44278</c:v>
                </c:pt>
                <c:pt idx="204">
                  <c:v>44279</c:v>
                </c:pt>
                <c:pt idx="205">
                  <c:v>44280</c:v>
                </c:pt>
                <c:pt idx="206">
                  <c:v>44281</c:v>
                </c:pt>
                <c:pt idx="207">
                  <c:v>44282</c:v>
                </c:pt>
                <c:pt idx="208">
                  <c:v>44283</c:v>
                </c:pt>
                <c:pt idx="209">
                  <c:v>44284</c:v>
                </c:pt>
                <c:pt idx="210">
                  <c:v>44285</c:v>
                </c:pt>
                <c:pt idx="211">
                  <c:v>44286</c:v>
                </c:pt>
                <c:pt idx="212">
                  <c:v>44287</c:v>
                </c:pt>
                <c:pt idx="213">
                  <c:v>44288</c:v>
                </c:pt>
                <c:pt idx="214">
                  <c:v>44289</c:v>
                </c:pt>
                <c:pt idx="215">
                  <c:v>44290</c:v>
                </c:pt>
                <c:pt idx="216">
                  <c:v>44291</c:v>
                </c:pt>
                <c:pt idx="217">
                  <c:v>44292</c:v>
                </c:pt>
                <c:pt idx="218">
                  <c:v>44293</c:v>
                </c:pt>
                <c:pt idx="219">
                  <c:v>44294</c:v>
                </c:pt>
                <c:pt idx="220">
                  <c:v>44295</c:v>
                </c:pt>
                <c:pt idx="221">
                  <c:v>44296</c:v>
                </c:pt>
                <c:pt idx="222">
                  <c:v>44297</c:v>
                </c:pt>
                <c:pt idx="223">
                  <c:v>44298</c:v>
                </c:pt>
                <c:pt idx="224">
                  <c:v>44299</c:v>
                </c:pt>
                <c:pt idx="225">
                  <c:v>44300</c:v>
                </c:pt>
                <c:pt idx="226">
                  <c:v>44301</c:v>
                </c:pt>
                <c:pt idx="227">
                  <c:v>44302</c:v>
                </c:pt>
                <c:pt idx="228">
                  <c:v>44303</c:v>
                </c:pt>
                <c:pt idx="229">
                  <c:v>44304</c:v>
                </c:pt>
                <c:pt idx="230">
                  <c:v>44305</c:v>
                </c:pt>
                <c:pt idx="231">
                  <c:v>44306</c:v>
                </c:pt>
                <c:pt idx="232">
                  <c:v>44307</c:v>
                </c:pt>
                <c:pt idx="233">
                  <c:v>44308</c:v>
                </c:pt>
                <c:pt idx="234">
                  <c:v>44309</c:v>
                </c:pt>
                <c:pt idx="235">
                  <c:v>44310</c:v>
                </c:pt>
                <c:pt idx="236">
                  <c:v>44311</c:v>
                </c:pt>
                <c:pt idx="237">
                  <c:v>44312</c:v>
                </c:pt>
                <c:pt idx="238">
                  <c:v>44313</c:v>
                </c:pt>
                <c:pt idx="239">
                  <c:v>44314</c:v>
                </c:pt>
                <c:pt idx="240">
                  <c:v>44315</c:v>
                </c:pt>
                <c:pt idx="241">
                  <c:v>44316</c:v>
                </c:pt>
                <c:pt idx="242">
                  <c:v>44317</c:v>
                </c:pt>
                <c:pt idx="243">
                  <c:v>44318</c:v>
                </c:pt>
                <c:pt idx="244">
                  <c:v>44319</c:v>
                </c:pt>
                <c:pt idx="245">
                  <c:v>44320</c:v>
                </c:pt>
                <c:pt idx="246">
                  <c:v>44321</c:v>
                </c:pt>
                <c:pt idx="247">
                  <c:v>44322</c:v>
                </c:pt>
                <c:pt idx="248">
                  <c:v>44323</c:v>
                </c:pt>
                <c:pt idx="249">
                  <c:v>44324</c:v>
                </c:pt>
                <c:pt idx="250">
                  <c:v>44325</c:v>
                </c:pt>
                <c:pt idx="251">
                  <c:v>44326</c:v>
                </c:pt>
                <c:pt idx="252">
                  <c:v>44327</c:v>
                </c:pt>
                <c:pt idx="253">
                  <c:v>44328</c:v>
                </c:pt>
                <c:pt idx="254">
                  <c:v>44329</c:v>
                </c:pt>
                <c:pt idx="255">
                  <c:v>44330</c:v>
                </c:pt>
                <c:pt idx="256">
                  <c:v>44331</c:v>
                </c:pt>
                <c:pt idx="257">
                  <c:v>44332</c:v>
                </c:pt>
                <c:pt idx="258">
                  <c:v>44333</c:v>
                </c:pt>
                <c:pt idx="259">
                  <c:v>44334</c:v>
                </c:pt>
                <c:pt idx="260">
                  <c:v>44335</c:v>
                </c:pt>
                <c:pt idx="261">
                  <c:v>44336</c:v>
                </c:pt>
                <c:pt idx="262">
                  <c:v>44337</c:v>
                </c:pt>
                <c:pt idx="263">
                  <c:v>44338</c:v>
                </c:pt>
                <c:pt idx="264">
                  <c:v>44339</c:v>
                </c:pt>
                <c:pt idx="265">
                  <c:v>44340</c:v>
                </c:pt>
                <c:pt idx="266">
                  <c:v>44341</c:v>
                </c:pt>
                <c:pt idx="267">
                  <c:v>44342</c:v>
                </c:pt>
                <c:pt idx="268">
                  <c:v>44343</c:v>
                </c:pt>
                <c:pt idx="269">
                  <c:v>44344</c:v>
                </c:pt>
                <c:pt idx="270">
                  <c:v>44345</c:v>
                </c:pt>
                <c:pt idx="271">
                  <c:v>44346</c:v>
                </c:pt>
                <c:pt idx="272">
                  <c:v>44347</c:v>
                </c:pt>
                <c:pt idx="273">
                  <c:v>44348</c:v>
                </c:pt>
                <c:pt idx="274">
                  <c:v>44349</c:v>
                </c:pt>
                <c:pt idx="275">
                  <c:v>44350</c:v>
                </c:pt>
                <c:pt idx="276">
                  <c:v>44351</c:v>
                </c:pt>
                <c:pt idx="277">
                  <c:v>44352</c:v>
                </c:pt>
                <c:pt idx="278">
                  <c:v>44353</c:v>
                </c:pt>
                <c:pt idx="279">
                  <c:v>44354</c:v>
                </c:pt>
                <c:pt idx="280">
                  <c:v>44355</c:v>
                </c:pt>
                <c:pt idx="281">
                  <c:v>44356</c:v>
                </c:pt>
                <c:pt idx="282">
                  <c:v>44357</c:v>
                </c:pt>
                <c:pt idx="283">
                  <c:v>44358</c:v>
                </c:pt>
                <c:pt idx="284">
                  <c:v>44359</c:v>
                </c:pt>
                <c:pt idx="285">
                  <c:v>44360</c:v>
                </c:pt>
                <c:pt idx="286">
                  <c:v>44361</c:v>
                </c:pt>
                <c:pt idx="287">
                  <c:v>44362</c:v>
                </c:pt>
                <c:pt idx="288">
                  <c:v>44363</c:v>
                </c:pt>
                <c:pt idx="289">
                  <c:v>44364</c:v>
                </c:pt>
                <c:pt idx="290">
                  <c:v>44365</c:v>
                </c:pt>
                <c:pt idx="291">
                  <c:v>44366</c:v>
                </c:pt>
                <c:pt idx="292">
                  <c:v>44367</c:v>
                </c:pt>
                <c:pt idx="293">
                  <c:v>44368</c:v>
                </c:pt>
                <c:pt idx="294">
                  <c:v>44369</c:v>
                </c:pt>
                <c:pt idx="295">
                  <c:v>44370</c:v>
                </c:pt>
                <c:pt idx="296">
                  <c:v>44371</c:v>
                </c:pt>
                <c:pt idx="297">
                  <c:v>44372</c:v>
                </c:pt>
                <c:pt idx="298">
                  <c:v>44373</c:v>
                </c:pt>
                <c:pt idx="299">
                  <c:v>44374</c:v>
                </c:pt>
                <c:pt idx="300">
                  <c:v>44375</c:v>
                </c:pt>
                <c:pt idx="301">
                  <c:v>44376</c:v>
                </c:pt>
                <c:pt idx="302">
                  <c:v>44377</c:v>
                </c:pt>
                <c:pt idx="303">
                  <c:v>44378</c:v>
                </c:pt>
                <c:pt idx="304">
                  <c:v>44379</c:v>
                </c:pt>
                <c:pt idx="305">
                  <c:v>44380</c:v>
                </c:pt>
                <c:pt idx="306">
                  <c:v>44381</c:v>
                </c:pt>
                <c:pt idx="307">
                  <c:v>44382</c:v>
                </c:pt>
                <c:pt idx="308">
                  <c:v>44383</c:v>
                </c:pt>
                <c:pt idx="309">
                  <c:v>44384</c:v>
                </c:pt>
                <c:pt idx="310">
                  <c:v>44385</c:v>
                </c:pt>
                <c:pt idx="311">
                  <c:v>44386</c:v>
                </c:pt>
                <c:pt idx="312">
                  <c:v>44387</c:v>
                </c:pt>
                <c:pt idx="313">
                  <c:v>44388</c:v>
                </c:pt>
                <c:pt idx="314">
                  <c:v>44389</c:v>
                </c:pt>
                <c:pt idx="315">
                  <c:v>44390</c:v>
                </c:pt>
                <c:pt idx="316">
                  <c:v>44391</c:v>
                </c:pt>
                <c:pt idx="317">
                  <c:v>44392</c:v>
                </c:pt>
                <c:pt idx="318">
                  <c:v>44393</c:v>
                </c:pt>
                <c:pt idx="319">
                  <c:v>44394</c:v>
                </c:pt>
                <c:pt idx="320">
                  <c:v>44395</c:v>
                </c:pt>
                <c:pt idx="321">
                  <c:v>44396</c:v>
                </c:pt>
                <c:pt idx="322">
                  <c:v>44397</c:v>
                </c:pt>
                <c:pt idx="323">
                  <c:v>44398</c:v>
                </c:pt>
                <c:pt idx="324">
                  <c:v>44399</c:v>
                </c:pt>
                <c:pt idx="325">
                  <c:v>44400</c:v>
                </c:pt>
                <c:pt idx="326">
                  <c:v>44401</c:v>
                </c:pt>
                <c:pt idx="327">
                  <c:v>44402</c:v>
                </c:pt>
                <c:pt idx="328">
                  <c:v>44403</c:v>
                </c:pt>
                <c:pt idx="329">
                  <c:v>44404</c:v>
                </c:pt>
                <c:pt idx="330">
                  <c:v>44405</c:v>
                </c:pt>
                <c:pt idx="331">
                  <c:v>44406</c:v>
                </c:pt>
                <c:pt idx="332">
                  <c:v>44407</c:v>
                </c:pt>
                <c:pt idx="333">
                  <c:v>44408</c:v>
                </c:pt>
                <c:pt idx="334">
                  <c:v>44409</c:v>
                </c:pt>
                <c:pt idx="335">
                  <c:v>44410</c:v>
                </c:pt>
                <c:pt idx="336">
                  <c:v>44411</c:v>
                </c:pt>
                <c:pt idx="337">
                  <c:v>44412</c:v>
                </c:pt>
                <c:pt idx="338">
                  <c:v>44413</c:v>
                </c:pt>
                <c:pt idx="339">
                  <c:v>44414</c:v>
                </c:pt>
                <c:pt idx="340">
                  <c:v>44415</c:v>
                </c:pt>
                <c:pt idx="341">
                  <c:v>44416</c:v>
                </c:pt>
                <c:pt idx="342">
                  <c:v>44417</c:v>
                </c:pt>
                <c:pt idx="343">
                  <c:v>44418</c:v>
                </c:pt>
                <c:pt idx="344">
                  <c:v>44419</c:v>
                </c:pt>
                <c:pt idx="345">
                  <c:v>44420</c:v>
                </c:pt>
                <c:pt idx="346">
                  <c:v>44421</c:v>
                </c:pt>
                <c:pt idx="347">
                  <c:v>44422</c:v>
                </c:pt>
                <c:pt idx="348">
                  <c:v>44423</c:v>
                </c:pt>
                <c:pt idx="349">
                  <c:v>44424</c:v>
                </c:pt>
                <c:pt idx="350">
                  <c:v>44425</c:v>
                </c:pt>
                <c:pt idx="351">
                  <c:v>44426</c:v>
                </c:pt>
                <c:pt idx="352">
                  <c:v>44427</c:v>
                </c:pt>
                <c:pt idx="353">
                  <c:v>44428</c:v>
                </c:pt>
                <c:pt idx="354">
                  <c:v>44429</c:v>
                </c:pt>
                <c:pt idx="355">
                  <c:v>44430</c:v>
                </c:pt>
                <c:pt idx="356">
                  <c:v>44431</c:v>
                </c:pt>
                <c:pt idx="357">
                  <c:v>44432</c:v>
                </c:pt>
                <c:pt idx="358">
                  <c:v>44433</c:v>
                </c:pt>
                <c:pt idx="359">
                  <c:v>44434</c:v>
                </c:pt>
                <c:pt idx="360">
                  <c:v>44435</c:v>
                </c:pt>
                <c:pt idx="361">
                  <c:v>44436</c:v>
                </c:pt>
                <c:pt idx="362">
                  <c:v>44437</c:v>
                </c:pt>
                <c:pt idx="363">
                  <c:v>44438</c:v>
                </c:pt>
                <c:pt idx="364">
                  <c:v>44439</c:v>
                </c:pt>
                <c:pt idx="365">
                  <c:v>44440</c:v>
                </c:pt>
                <c:pt idx="366">
                  <c:v>44441</c:v>
                </c:pt>
                <c:pt idx="367">
                  <c:v>44442</c:v>
                </c:pt>
                <c:pt idx="368">
                  <c:v>44443</c:v>
                </c:pt>
                <c:pt idx="369">
                  <c:v>44444</c:v>
                </c:pt>
                <c:pt idx="370">
                  <c:v>44445</c:v>
                </c:pt>
                <c:pt idx="371">
                  <c:v>44446</c:v>
                </c:pt>
                <c:pt idx="372">
                  <c:v>44447</c:v>
                </c:pt>
                <c:pt idx="373">
                  <c:v>44448</c:v>
                </c:pt>
                <c:pt idx="374">
                  <c:v>44449</c:v>
                </c:pt>
                <c:pt idx="375">
                  <c:v>44450</c:v>
                </c:pt>
                <c:pt idx="376">
                  <c:v>44451</c:v>
                </c:pt>
                <c:pt idx="377">
                  <c:v>44452</c:v>
                </c:pt>
                <c:pt idx="378">
                  <c:v>44453</c:v>
                </c:pt>
                <c:pt idx="379">
                  <c:v>44454</c:v>
                </c:pt>
                <c:pt idx="380">
                  <c:v>44455</c:v>
                </c:pt>
                <c:pt idx="381">
                  <c:v>44456</c:v>
                </c:pt>
                <c:pt idx="382">
                  <c:v>44457</c:v>
                </c:pt>
                <c:pt idx="383">
                  <c:v>44458</c:v>
                </c:pt>
                <c:pt idx="384">
                  <c:v>44459</c:v>
                </c:pt>
                <c:pt idx="385">
                  <c:v>44460</c:v>
                </c:pt>
                <c:pt idx="386">
                  <c:v>44461</c:v>
                </c:pt>
                <c:pt idx="387">
                  <c:v>44462</c:v>
                </c:pt>
                <c:pt idx="388">
                  <c:v>44463</c:v>
                </c:pt>
                <c:pt idx="389">
                  <c:v>44464</c:v>
                </c:pt>
                <c:pt idx="390">
                  <c:v>44465</c:v>
                </c:pt>
                <c:pt idx="391">
                  <c:v>44466</c:v>
                </c:pt>
                <c:pt idx="392">
                  <c:v>44467</c:v>
                </c:pt>
                <c:pt idx="393">
                  <c:v>44468</c:v>
                </c:pt>
                <c:pt idx="394">
                  <c:v>44469</c:v>
                </c:pt>
                <c:pt idx="395">
                  <c:v>44470</c:v>
                </c:pt>
                <c:pt idx="396">
                  <c:v>44471</c:v>
                </c:pt>
                <c:pt idx="397">
                  <c:v>44472</c:v>
                </c:pt>
                <c:pt idx="398">
                  <c:v>44473</c:v>
                </c:pt>
                <c:pt idx="399">
                  <c:v>44474</c:v>
                </c:pt>
                <c:pt idx="400">
                  <c:v>44475</c:v>
                </c:pt>
                <c:pt idx="401">
                  <c:v>44476</c:v>
                </c:pt>
                <c:pt idx="402">
                  <c:v>44477</c:v>
                </c:pt>
                <c:pt idx="403">
                  <c:v>44478</c:v>
                </c:pt>
                <c:pt idx="404">
                  <c:v>44479</c:v>
                </c:pt>
                <c:pt idx="405">
                  <c:v>44480</c:v>
                </c:pt>
                <c:pt idx="406">
                  <c:v>44481</c:v>
                </c:pt>
                <c:pt idx="407">
                  <c:v>44482</c:v>
                </c:pt>
                <c:pt idx="408">
                  <c:v>44483</c:v>
                </c:pt>
                <c:pt idx="409">
                  <c:v>44484</c:v>
                </c:pt>
                <c:pt idx="410">
                  <c:v>44485</c:v>
                </c:pt>
                <c:pt idx="411">
                  <c:v>44486</c:v>
                </c:pt>
                <c:pt idx="412">
                  <c:v>44487</c:v>
                </c:pt>
                <c:pt idx="413">
                  <c:v>44488</c:v>
                </c:pt>
                <c:pt idx="414">
                  <c:v>44489</c:v>
                </c:pt>
                <c:pt idx="415">
                  <c:v>44490</c:v>
                </c:pt>
                <c:pt idx="416">
                  <c:v>44491</c:v>
                </c:pt>
                <c:pt idx="417">
                  <c:v>44492</c:v>
                </c:pt>
                <c:pt idx="418">
                  <c:v>44493</c:v>
                </c:pt>
                <c:pt idx="419">
                  <c:v>44494</c:v>
                </c:pt>
                <c:pt idx="420">
                  <c:v>44495</c:v>
                </c:pt>
                <c:pt idx="421">
                  <c:v>44496</c:v>
                </c:pt>
                <c:pt idx="422">
                  <c:v>44497</c:v>
                </c:pt>
                <c:pt idx="423">
                  <c:v>44498</c:v>
                </c:pt>
                <c:pt idx="424">
                  <c:v>44499</c:v>
                </c:pt>
                <c:pt idx="425">
                  <c:v>44500</c:v>
                </c:pt>
                <c:pt idx="426">
                  <c:v>44501</c:v>
                </c:pt>
                <c:pt idx="427">
                  <c:v>44502</c:v>
                </c:pt>
                <c:pt idx="428">
                  <c:v>44503</c:v>
                </c:pt>
                <c:pt idx="429">
                  <c:v>44504</c:v>
                </c:pt>
                <c:pt idx="430">
                  <c:v>44505</c:v>
                </c:pt>
                <c:pt idx="431">
                  <c:v>44506</c:v>
                </c:pt>
                <c:pt idx="432">
                  <c:v>44507</c:v>
                </c:pt>
                <c:pt idx="433">
                  <c:v>44508</c:v>
                </c:pt>
                <c:pt idx="434">
                  <c:v>44509</c:v>
                </c:pt>
                <c:pt idx="435">
                  <c:v>44510</c:v>
                </c:pt>
                <c:pt idx="436">
                  <c:v>44511</c:v>
                </c:pt>
                <c:pt idx="437">
                  <c:v>44512</c:v>
                </c:pt>
                <c:pt idx="438">
                  <c:v>44513</c:v>
                </c:pt>
                <c:pt idx="439">
                  <c:v>44514</c:v>
                </c:pt>
                <c:pt idx="440">
                  <c:v>44515</c:v>
                </c:pt>
                <c:pt idx="441">
                  <c:v>44516</c:v>
                </c:pt>
                <c:pt idx="442">
                  <c:v>44517</c:v>
                </c:pt>
                <c:pt idx="443">
                  <c:v>44518</c:v>
                </c:pt>
                <c:pt idx="444">
                  <c:v>44519</c:v>
                </c:pt>
                <c:pt idx="445">
                  <c:v>44520</c:v>
                </c:pt>
                <c:pt idx="446">
                  <c:v>44521</c:v>
                </c:pt>
                <c:pt idx="447">
                  <c:v>44522</c:v>
                </c:pt>
                <c:pt idx="448">
                  <c:v>44523</c:v>
                </c:pt>
                <c:pt idx="449">
                  <c:v>44524</c:v>
                </c:pt>
                <c:pt idx="450">
                  <c:v>44525</c:v>
                </c:pt>
                <c:pt idx="451">
                  <c:v>44526</c:v>
                </c:pt>
                <c:pt idx="452">
                  <c:v>44527</c:v>
                </c:pt>
                <c:pt idx="453">
                  <c:v>44528</c:v>
                </c:pt>
                <c:pt idx="454">
                  <c:v>44529</c:v>
                </c:pt>
                <c:pt idx="455">
                  <c:v>44530</c:v>
                </c:pt>
                <c:pt idx="456">
                  <c:v>44531</c:v>
                </c:pt>
                <c:pt idx="457">
                  <c:v>44532</c:v>
                </c:pt>
                <c:pt idx="458">
                  <c:v>44533</c:v>
                </c:pt>
                <c:pt idx="459">
                  <c:v>44534</c:v>
                </c:pt>
                <c:pt idx="460">
                  <c:v>44535</c:v>
                </c:pt>
                <c:pt idx="461">
                  <c:v>44536</c:v>
                </c:pt>
                <c:pt idx="462">
                  <c:v>44537</c:v>
                </c:pt>
                <c:pt idx="463">
                  <c:v>44538</c:v>
                </c:pt>
                <c:pt idx="464">
                  <c:v>44539</c:v>
                </c:pt>
                <c:pt idx="465">
                  <c:v>44540</c:v>
                </c:pt>
                <c:pt idx="466">
                  <c:v>44541</c:v>
                </c:pt>
                <c:pt idx="467">
                  <c:v>44542</c:v>
                </c:pt>
                <c:pt idx="468">
                  <c:v>44543</c:v>
                </c:pt>
                <c:pt idx="469">
                  <c:v>44544</c:v>
                </c:pt>
                <c:pt idx="470">
                  <c:v>44545</c:v>
                </c:pt>
                <c:pt idx="471">
                  <c:v>44546</c:v>
                </c:pt>
                <c:pt idx="472">
                  <c:v>44547</c:v>
                </c:pt>
                <c:pt idx="473">
                  <c:v>44548</c:v>
                </c:pt>
                <c:pt idx="474">
                  <c:v>44549</c:v>
                </c:pt>
                <c:pt idx="475">
                  <c:v>44550</c:v>
                </c:pt>
                <c:pt idx="476">
                  <c:v>44551</c:v>
                </c:pt>
                <c:pt idx="477">
                  <c:v>44552</c:v>
                </c:pt>
                <c:pt idx="478">
                  <c:v>44553</c:v>
                </c:pt>
                <c:pt idx="479">
                  <c:v>44554</c:v>
                </c:pt>
                <c:pt idx="480">
                  <c:v>44555</c:v>
                </c:pt>
                <c:pt idx="481">
                  <c:v>44556</c:v>
                </c:pt>
                <c:pt idx="482">
                  <c:v>44557</c:v>
                </c:pt>
                <c:pt idx="483">
                  <c:v>44558</c:v>
                </c:pt>
                <c:pt idx="484">
                  <c:v>44559</c:v>
                </c:pt>
                <c:pt idx="485">
                  <c:v>44560</c:v>
                </c:pt>
                <c:pt idx="486">
                  <c:v>44561</c:v>
                </c:pt>
                <c:pt idx="487">
                  <c:v>44562</c:v>
                </c:pt>
                <c:pt idx="488">
                  <c:v>44563</c:v>
                </c:pt>
                <c:pt idx="489">
                  <c:v>44564</c:v>
                </c:pt>
                <c:pt idx="490">
                  <c:v>44565</c:v>
                </c:pt>
                <c:pt idx="491">
                  <c:v>44566</c:v>
                </c:pt>
                <c:pt idx="492">
                  <c:v>44567</c:v>
                </c:pt>
                <c:pt idx="493">
                  <c:v>44568</c:v>
                </c:pt>
                <c:pt idx="494">
                  <c:v>44569</c:v>
                </c:pt>
                <c:pt idx="495">
                  <c:v>44570</c:v>
                </c:pt>
                <c:pt idx="496">
                  <c:v>44571</c:v>
                </c:pt>
                <c:pt idx="497">
                  <c:v>44572</c:v>
                </c:pt>
                <c:pt idx="498">
                  <c:v>44573</c:v>
                </c:pt>
                <c:pt idx="499">
                  <c:v>44574</c:v>
                </c:pt>
                <c:pt idx="500">
                  <c:v>44575</c:v>
                </c:pt>
                <c:pt idx="501">
                  <c:v>44576</c:v>
                </c:pt>
                <c:pt idx="502">
                  <c:v>44577</c:v>
                </c:pt>
                <c:pt idx="503">
                  <c:v>44578</c:v>
                </c:pt>
                <c:pt idx="504">
                  <c:v>44579</c:v>
                </c:pt>
                <c:pt idx="505">
                  <c:v>44580</c:v>
                </c:pt>
              </c:numCache>
            </c:numRef>
          </c:cat>
          <c:val>
            <c:numRef>
              <c:f>Sheet1!$B$2:$B$507</c:f>
              <c:numCache>
                <c:formatCode>0.0%</c:formatCode>
                <c:ptCount val="506"/>
                <c:pt idx="1">
                  <c:v>-0.60810299999999995</c:v>
                </c:pt>
                <c:pt idx="3">
                  <c:v>-0.39038299999999998</c:v>
                </c:pt>
                <c:pt idx="5">
                  <c:v>-0.44481300000000001</c:v>
                </c:pt>
                <c:pt idx="7">
                  <c:v>-0.34683799999999998</c:v>
                </c:pt>
                <c:pt idx="9">
                  <c:v>-0.50359699999999996</c:v>
                </c:pt>
                <c:pt idx="11">
                  <c:v>-0.41215499999999999</c:v>
                </c:pt>
                <c:pt idx="13">
                  <c:v>-0.21620600000000001</c:v>
                </c:pt>
                <c:pt idx="15">
                  <c:v>2.3964379999999998</c:v>
                </c:pt>
                <c:pt idx="17">
                  <c:v>-0.21620600000000001</c:v>
                </c:pt>
                <c:pt idx="19">
                  <c:v>-0.17266200000000001</c:v>
                </c:pt>
                <c:pt idx="21">
                  <c:v>-0.54278700000000002</c:v>
                </c:pt>
                <c:pt idx="23">
                  <c:v>-0.40712999999999999</c:v>
                </c:pt>
                <c:pt idx="25">
                  <c:v>-0.21620600000000001</c:v>
                </c:pt>
                <c:pt idx="27">
                  <c:v>-0.20433000000000001</c:v>
                </c:pt>
                <c:pt idx="29">
                  <c:v>-0.16870399999999999</c:v>
                </c:pt>
                <c:pt idx="31">
                  <c:v>-0.32942100000000002</c:v>
                </c:pt>
                <c:pt idx="33">
                  <c:v>-0.35452299999999998</c:v>
                </c:pt>
                <c:pt idx="35">
                  <c:v>-0.275584</c:v>
                </c:pt>
                <c:pt idx="37">
                  <c:v>-0.16508900000000001</c:v>
                </c:pt>
                <c:pt idx="39">
                  <c:v>3.3182000000000003E-2</c:v>
                </c:pt>
                <c:pt idx="41">
                  <c:v>0.20319100000000001</c:v>
                </c:pt>
                <c:pt idx="43">
                  <c:v>0.328094</c:v>
                </c:pt>
                <c:pt idx="45">
                  <c:v>0.17000999999999999</c:v>
                </c:pt>
                <c:pt idx="47">
                  <c:v>0.37817000000000001</c:v>
                </c:pt>
                <c:pt idx="49">
                  <c:v>0.45476800000000001</c:v>
                </c:pt>
                <c:pt idx="51">
                  <c:v>0.63290199999999996</c:v>
                </c:pt>
                <c:pt idx="53">
                  <c:v>0.70957800000000004</c:v>
                </c:pt>
                <c:pt idx="55">
                  <c:v>0.53492799999999996</c:v>
                </c:pt>
                <c:pt idx="57">
                  <c:v>0.29512500000000003</c:v>
                </c:pt>
                <c:pt idx="58">
                  <c:v>0.12848100000000001</c:v>
                </c:pt>
                <c:pt idx="59">
                  <c:v>0.16294500000000001</c:v>
                </c:pt>
                <c:pt idx="60">
                  <c:v>8.7667999999999996E-2</c:v>
                </c:pt>
                <c:pt idx="61">
                  <c:v>0.15609500000000001</c:v>
                </c:pt>
                <c:pt idx="62">
                  <c:v>-0.35721599999999998</c:v>
                </c:pt>
                <c:pt idx="63">
                  <c:v>0.33321699999999999</c:v>
                </c:pt>
                <c:pt idx="64">
                  <c:v>-0.322911</c:v>
                </c:pt>
                <c:pt idx="65">
                  <c:v>1.1138669999999999</c:v>
                </c:pt>
                <c:pt idx="66">
                  <c:v>-0.45616499999999999</c:v>
                </c:pt>
                <c:pt idx="67">
                  <c:v>0.94315400000000005</c:v>
                </c:pt>
                <c:pt idx="68">
                  <c:v>-0.49858000000000002</c:v>
                </c:pt>
                <c:pt idx="69">
                  <c:v>1.257034</c:v>
                </c:pt>
                <c:pt idx="70">
                  <c:v>-0.41039999999999999</c:v>
                </c:pt>
                <c:pt idx="71">
                  <c:v>0.67100300000000002</c:v>
                </c:pt>
                <c:pt idx="72">
                  <c:v>-0.32956800000000003</c:v>
                </c:pt>
                <c:pt idx="73">
                  <c:v>0.32199800000000001</c:v>
                </c:pt>
                <c:pt idx="74">
                  <c:v>-0.358097</c:v>
                </c:pt>
                <c:pt idx="75">
                  <c:v>0.27910699999999999</c:v>
                </c:pt>
                <c:pt idx="76">
                  <c:v>-0.114868</c:v>
                </c:pt>
                <c:pt idx="77">
                  <c:v>0.64442900000000003</c:v>
                </c:pt>
                <c:pt idx="78">
                  <c:v>6.1913000000000003E-2</c:v>
                </c:pt>
                <c:pt idx="79">
                  <c:v>0.40945300000000001</c:v>
                </c:pt>
                <c:pt idx="80">
                  <c:v>-0.29408899999999999</c:v>
                </c:pt>
                <c:pt idx="81">
                  <c:v>0.28019500000000003</c:v>
                </c:pt>
                <c:pt idx="82">
                  <c:v>-0.22337599999999999</c:v>
                </c:pt>
                <c:pt idx="83">
                  <c:v>0.14818799999999999</c:v>
                </c:pt>
                <c:pt idx="84">
                  <c:v>-0.252193</c:v>
                </c:pt>
                <c:pt idx="85">
                  <c:v>-2.444E-3</c:v>
                </c:pt>
                <c:pt idx="86">
                  <c:v>-0.170545</c:v>
                </c:pt>
                <c:pt idx="87">
                  <c:v>0.30632199999999998</c:v>
                </c:pt>
                <c:pt idx="88">
                  <c:v>-0.12629799999999999</c:v>
                </c:pt>
                <c:pt idx="89">
                  <c:v>0.334314</c:v>
                </c:pt>
                <c:pt idx="90">
                  <c:v>-0.10846799999999999</c:v>
                </c:pt>
                <c:pt idx="91">
                  <c:v>0.28019500000000003</c:v>
                </c:pt>
                <c:pt idx="92">
                  <c:v>0.38841199999999998</c:v>
                </c:pt>
                <c:pt idx="93">
                  <c:v>4.5057E-2</c:v>
                </c:pt>
                <c:pt idx="94">
                  <c:v>0.86627299999999996</c:v>
                </c:pt>
                <c:pt idx="95">
                  <c:v>-3.5809000000000001E-2</c:v>
                </c:pt>
                <c:pt idx="96">
                  <c:v>2.7800950000000002</c:v>
                </c:pt>
                <c:pt idx="97">
                  <c:v>-0.113972</c:v>
                </c:pt>
                <c:pt idx="98">
                  <c:v>1.59931</c:v>
                </c:pt>
                <c:pt idx="99">
                  <c:v>-4.9946999999999998E-2</c:v>
                </c:pt>
                <c:pt idx="100">
                  <c:v>1.472515</c:v>
                </c:pt>
                <c:pt idx="101">
                  <c:v>4.5057E-2</c:v>
                </c:pt>
                <c:pt idx="102">
                  <c:v>1.361569</c:v>
                </c:pt>
                <c:pt idx="103">
                  <c:v>0.31503100000000001</c:v>
                </c:pt>
                <c:pt idx="104">
                  <c:v>0.29172999999999999</c:v>
                </c:pt>
                <c:pt idx="105">
                  <c:v>0.56758600000000003</c:v>
                </c:pt>
                <c:pt idx="106">
                  <c:v>0.22833200000000001</c:v>
                </c:pt>
                <c:pt idx="107">
                  <c:v>0.52739199999999997</c:v>
                </c:pt>
                <c:pt idx="108">
                  <c:v>-0.24873500000000001</c:v>
                </c:pt>
                <c:pt idx="109">
                  <c:v>0.55753799999999998</c:v>
                </c:pt>
                <c:pt idx="110">
                  <c:v>-6.0919000000000001E-2</c:v>
                </c:pt>
                <c:pt idx="111">
                  <c:v>0.110373</c:v>
                </c:pt>
                <c:pt idx="112">
                  <c:v>-0.102524</c:v>
                </c:pt>
                <c:pt idx="113">
                  <c:v>5.7499000000000001E-2</c:v>
                </c:pt>
                <c:pt idx="114">
                  <c:v>0.54056700000000002</c:v>
                </c:pt>
                <c:pt idx="115">
                  <c:v>0.134437</c:v>
                </c:pt>
                <c:pt idx="116">
                  <c:v>0.33927800000000002</c:v>
                </c:pt>
                <c:pt idx="117">
                  <c:v>0.19528400000000001</c:v>
                </c:pt>
                <c:pt idx="118">
                  <c:v>0.242201</c:v>
                </c:pt>
                <c:pt idx="119">
                  <c:v>7.1320000000000003E-3</c:v>
                </c:pt>
                <c:pt idx="120">
                  <c:v>0.28908899999999998</c:v>
                </c:pt>
                <c:pt idx="121">
                  <c:v>3.3182000000000003E-2</c:v>
                </c:pt>
                <c:pt idx="122">
                  <c:v>-6.0005000000000003E-2</c:v>
                </c:pt>
                <c:pt idx="123">
                  <c:v>-0.11572</c:v>
                </c:pt>
                <c:pt idx="124">
                  <c:v>-9.6581E-2</c:v>
                </c:pt>
                <c:pt idx="125">
                  <c:v>5.3484999999999998E-2</c:v>
                </c:pt>
                <c:pt idx="126">
                  <c:v>-0.140733</c:v>
                </c:pt>
                <c:pt idx="127">
                  <c:v>0.13064400000000001</c:v>
                </c:pt>
                <c:pt idx="128">
                  <c:v>8.4967000000000001E-2</c:v>
                </c:pt>
                <c:pt idx="129">
                  <c:v>0.41082800000000003</c:v>
                </c:pt>
                <c:pt idx="130">
                  <c:v>0.105499</c:v>
                </c:pt>
                <c:pt idx="131">
                  <c:v>0.395152</c:v>
                </c:pt>
                <c:pt idx="132">
                  <c:v>0.24576700000000001</c:v>
                </c:pt>
                <c:pt idx="133">
                  <c:v>0.105708</c:v>
                </c:pt>
                <c:pt idx="134">
                  <c:v>0.19927500000000001</c:v>
                </c:pt>
                <c:pt idx="135">
                  <c:v>6.7580000000000001E-2</c:v>
                </c:pt>
                <c:pt idx="136">
                  <c:v>-0.14412900000000001</c:v>
                </c:pt>
                <c:pt idx="137">
                  <c:v>3.5381000000000003E-2</c:v>
                </c:pt>
                <c:pt idx="138">
                  <c:v>-0.183753</c:v>
                </c:pt>
                <c:pt idx="139">
                  <c:v>0.30010100000000001</c:v>
                </c:pt>
                <c:pt idx="140">
                  <c:v>-0.39865299999999998</c:v>
                </c:pt>
                <c:pt idx="141">
                  <c:v>0.66748200000000002</c:v>
                </c:pt>
                <c:pt idx="142">
                  <c:v>-0.49545899999999998</c:v>
                </c:pt>
                <c:pt idx="143">
                  <c:v>0.75420399999999999</c:v>
                </c:pt>
                <c:pt idx="144">
                  <c:v>-0.341115</c:v>
                </c:pt>
                <c:pt idx="145">
                  <c:v>1.0901149999999999</c:v>
                </c:pt>
                <c:pt idx="146">
                  <c:v>-0.183032</c:v>
                </c:pt>
                <c:pt idx="147">
                  <c:v>1.1010009999999999</c:v>
                </c:pt>
                <c:pt idx="148">
                  <c:v>0.41852600000000001</c:v>
                </c:pt>
                <c:pt idx="149">
                  <c:v>0.63725699999999996</c:v>
                </c:pt>
                <c:pt idx="150">
                  <c:v>0.27022000000000002</c:v>
                </c:pt>
                <c:pt idx="151">
                  <c:v>0.64596600000000004</c:v>
                </c:pt>
                <c:pt idx="152">
                  <c:v>0.31097599999999997</c:v>
                </c:pt>
                <c:pt idx="153">
                  <c:v>0.244116</c:v>
                </c:pt>
                <c:pt idx="154">
                  <c:v>0.45814899999999997</c:v>
                </c:pt>
                <c:pt idx="155">
                  <c:v>2.3285E-2</c:v>
                </c:pt>
                <c:pt idx="156">
                  <c:v>1.472515</c:v>
                </c:pt>
                <c:pt idx="157">
                  <c:v>2.0865999999999999E-2</c:v>
                </c:pt>
                <c:pt idx="158">
                  <c:v>3.9925790000000001</c:v>
                </c:pt>
                <c:pt idx="159">
                  <c:v>-1.2999999999999999E-2</c:v>
                </c:pt>
                <c:pt idx="160">
                  <c:v>2.0747939999999998</c:v>
                </c:pt>
                <c:pt idx="161">
                  <c:v>0.13911299999999999</c:v>
                </c:pt>
                <c:pt idx="162">
                  <c:v>0.54192499999999999</c:v>
                </c:pt>
                <c:pt idx="163">
                  <c:v>0.293881</c:v>
                </c:pt>
                <c:pt idx="164">
                  <c:v>0.19465199999999999</c:v>
                </c:pt>
                <c:pt idx="165">
                  <c:v>-2.2870000000000001E-2</c:v>
                </c:pt>
                <c:pt idx="166">
                  <c:v>0.35173199999999999</c:v>
                </c:pt>
                <c:pt idx="167">
                  <c:v>7.2272000000000003E-2</c:v>
                </c:pt>
                <c:pt idx="168">
                  <c:v>0.863896</c:v>
                </c:pt>
                <c:pt idx="169">
                  <c:v>0.13758899999999999</c:v>
                </c:pt>
                <c:pt idx="170">
                  <c:v>0.16229299999999999</c:v>
                </c:pt>
                <c:pt idx="171">
                  <c:v>0.34364499999999998</c:v>
                </c:pt>
                <c:pt idx="172">
                  <c:v>0.44428099999999998</c:v>
                </c:pt>
                <c:pt idx="173">
                  <c:v>0.256079</c:v>
                </c:pt>
                <c:pt idx="174">
                  <c:v>3.0214000000000001E-2</c:v>
                </c:pt>
                <c:pt idx="175">
                  <c:v>0.29124899999999998</c:v>
                </c:pt>
                <c:pt idx="176">
                  <c:v>6.4400000000000004E-3</c:v>
                </c:pt>
                <c:pt idx="177">
                  <c:v>0.11908199999999999</c:v>
                </c:pt>
                <c:pt idx="178">
                  <c:v>5.0026000000000001E-2</c:v>
                </c:pt>
                <c:pt idx="179">
                  <c:v>9.7309999999999994E-2</c:v>
                </c:pt>
                <c:pt idx="180">
                  <c:v>0.102257</c:v>
                </c:pt>
                <c:pt idx="181">
                  <c:v>0.199017</c:v>
                </c:pt>
                <c:pt idx="182">
                  <c:v>-0.123751</c:v>
                </c:pt>
                <c:pt idx="183">
                  <c:v>0.58624799999999999</c:v>
                </c:pt>
                <c:pt idx="184">
                  <c:v>-0.20435700000000001</c:v>
                </c:pt>
                <c:pt idx="185">
                  <c:v>1.0901149999999999</c:v>
                </c:pt>
                <c:pt idx="186">
                  <c:v>2.4118000000000001E-2</c:v>
                </c:pt>
                <c:pt idx="187">
                  <c:v>0.901424</c:v>
                </c:pt>
                <c:pt idx="188">
                  <c:v>-0.21405299999999999</c:v>
                </c:pt>
                <c:pt idx="189">
                  <c:v>0.464169</c:v>
                </c:pt>
                <c:pt idx="190">
                  <c:v>0.15412799999999999</c:v>
                </c:pt>
                <c:pt idx="191">
                  <c:v>6.8110000000000004E-2</c:v>
                </c:pt>
                <c:pt idx="192">
                  <c:v>6.0693999999999998E-2</c:v>
                </c:pt>
                <c:pt idx="193">
                  <c:v>-6.5476999999999994E-2</c:v>
                </c:pt>
                <c:pt idx="194">
                  <c:v>0.49513099999999999</c:v>
                </c:pt>
                <c:pt idx="195">
                  <c:v>2.2662999999999999E-2</c:v>
                </c:pt>
                <c:pt idx="196">
                  <c:v>0.58692599999999995</c:v>
                </c:pt>
                <c:pt idx="197">
                  <c:v>0.137764</c:v>
                </c:pt>
                <c:pt idx="198">
                  <c:v>0.34192</c:v>
                </c:pt>
                <c:pt idx="199">
                  <c:v>0.53320900000000004</c:v>
                </c:pt>
                <c:pt idx="200">
                  <c:v>6.9837999999999997E-2</c:v>
                </c:pt>
                <c:pt idx="201">
                  <c:v>0.28256999999999999</c:v>
                </c:pt>
                <c:pt idx="202">
                  <c:v>-0.112029</c:v>
                </c:pt>
                <c:pt idx="203">
                  <c:v>0.246449</c:v>
                </c:pt>
                <c:pt idx="204">
                  <c:v>-9.0986999999999998E-2</c:v>
                </c:pt>
                <c:pt idx="205">
                  <c:v>0.44348599999999999</c:v>
                </c:pt>
                <c:pt idx="206">
                  <c:v>0.288939</c:v>
                </c:pt>
                <c:pt idx="207">
                  <c:v>0.43695400000000001</c:v>
                </c:pt>
                <c:pt idx="208">
                  <c:v>0.165466</c:v>
                </c:pt>
                <c:pt idx="209">
                  <c:v>0.81143299999999996</c:v>
                </c:pt>
                <c:pt idx="210">
                  <c:v>0.120293</c:v>
                </c:pt>
                <c:pt idx="211">
                  <c:v>1.1969959999999999</c:v>
                </c:pt>
                <c:pt idx="212">
                  <c:v>6.6085000000000005E-2</c:v>
                </c:pt>
                <c:pt idx="213">
                  <c:v>0.86150899999999997</c:v>
                </c:pt>
                <c:pt idx="214">
                  <c:v>-7.3047000000000001E-2</c:v>
                </c:pt>
                <c:pt idx="215">
                  <c:v>1.5110410000000001</c:v>
                </c:pt>
                <c:pt idx="216">
                  <c:v>-1.7485000000000001E-2</c:v>
                </c:pt>
                <c:pt idx="217">
                  <c:v>1.011736</c:v>
                </c:pt>
                <c:pt idx="218">
                  <c:v>-7.2444999999999996E-2</c:v>
                </c:pt>
                <c:pt idx="219">
                  <c:v>2.222261</c:v>
                </c:pt>
                <c:pt idx="220">
                  <c:v>-0.32691999999999999</c:v>
                </c:pt>
                <c:pt idx="221">
                  <c:v>4.0293409999999996</c:v>
                </c:pt>
                <c:pt idx="222">
                  <c:v>-0.25587500000000002</c:v>
                </c:pt>
                <c:pt idx="223">
                  <c:v>2.7665630000000001</c:v>
                </c:pt>
                <c:pt idx="224">
                  <c:v>0.20031299999999999</c:v>
                </c:pt>
                <c:pt idx="225">
                  <c:v>1.743277</c:v>
                </c:pt>
                <c:pt idx="226">
                  <c:v>0.52865700000000004</c:v>
                </c:pt>
                <c:pt idx="227">
                  <c:v>0.95948299999999997</c:v>
                </c:pt>
                <c:pt idx="228">
                  <c:v>1.330932</c:v>
                </c:pt>
                <c:pt idx="229">
                  <c:v>1.00847</c:v>
                </c:pt>
                <c:pt idx="230">
                  <c:v>0.22509399999999999</c:v>
                </c:pt>
                <c:pt idx="231">
                  <c:v>0.54146000000000005</c:v>
                </c:pt>
                <c:pt idx="232">
                  <c:v>-0.124932</c:v>
                </c:pt>
                <c:pt idx="233">
                  <c:v>0.489207</c:v>
                </c:pt>
                <c:pt idx="234">
                  <c:v>0.28129599999999999</c:v>
                </c:pt>
                <c:pt idx="235">
                  <c:v>0.79619300000000004</c:v>
                </c:pt>
                <c:pt idx="236">
                  <c:v>0.51877799999999996</c:v>
                </c:pt>
                <c:pt idx="237">
                  <c:v>0.46598299999999998</c:v>
                </c:pt>
                <c:pt idx="238">
                  <c:v>0.311672</c:v>
                </c:pt>
                <c:pt idx="239">
                  <c:v>0.29325899999999999</c:v>
                </c:pt>
                <c:pt idx="240">
                  <c:v>2.7245999999999999E-2</c:v>
                </c:pt>
                <c:pt idx="241">
                  <c:v>-9.6460000000000004E-2</c:v>
                </c:pt>
                <c:pt idx="242">
                  <c:v>0.39911600000000003</c:v>
                </c:pt>
                <c:pt idx="243">
                  <c:v>4.5057E-2</c:v>
                </c:pt>
                <c:pt idx="244">
                  <c:v>0.85014800000000001</c:v>
                </c:pt>
                <c:pt idx="245">
                  <c:v>1.220747</c:v>
                </c:pt>
                <c:pt idx="246">
                  <c:v>2.2032409999999998</c:v>
                </c:pt>
                <c:pt idx="247">
                  <c:v>6.0541400000000003</c:v>
                </c:pt>
                <c:pt idx="248">
                  <c:v>-0.21299599999999999</c:v>
                </c:pt>
                <c:pt idx="249">
                  <c:v>6.8379339999999997</c:v>
                </c:pt>
                <c:pt idx="250">
                  <c:v>-0.15776799999999999</c:v>
                </c:pt>
                <c:pt idx="251">
                  <c:v>6.4460379999999997</c:v>
                </c:pt>
                <c:pt idx="252">
                  <c:v>-0.29583900000000002</c:v>
                </c:pt>
                <c:pt idx="253">
                  <c:v>2.5270700000000001</c:v>
                </c:pt>
                <c:pt idx="254">
                  <c:v>-0.25441799999999998</c:v>
                </c:pt>
                <c:pt idx="255">
                  <c:v>2.135173</c:v>
                </c:pt>
                <c:pt idx="256">
                  <c:v>0.24263599999999999</c:v>
                </c:pt>
                <c:pt idx="257">
                  <c:v>0.61249500000000001</c:v>
                </c:pt>
                <c:pt idx="258">
                  <c:v>-3.3503999999999999E-2</c:v>
                </c:pt>
                <c:pt idx="259">
                  <c:v>1.220747</c:v>
                </c:pt>
                <c:pt idx="260">
                  <c:v>-0.17157500000000001</c:v>
                </c:pt>
                <c:pt idx="261">
                  <c:v>2.3964379999999998</c:v>
                </c:pt>
                <c:pt idx="262">
                  <c:v>-0.50294499999999998</c:v>
                </c:pt>
                <c:pt idx="263">
                  <c:v>-0.400482</c:v>
                </c:pt>
                <c:pt idx="264">
                  <c:v>-0.59959399999999996</c:v>
                </c:pt>
                <c:pt idx="265">
                  <c:v>0.17569000000000001</c:v>
                </c:pt>
                <c:pt idx="266">
                  <c:v>-0.57658299999999996</c:v>
                </c:pt>
                <c:pt idx="267">
                  <c:v>0.43695400000000001</c:v>
                </c:pt>
                <c:pt idx="268">
                  <c:v>-0.723858</c:v>
                </c:pt>
                <c:pt idx="269">
                  <c:v>-0.30329499999999998</c:v>
                </c:pt>
                <c:pt idx="270">
                  <c:v>-0.77908599999999995</c:v>
                </c:pt>
                <c:pt idx="271">
                  <c:v>-0.462501</c:v>
                </c:pt>
                <c:pt idx="272">
                  <c:v>-0.723858</c:v>
                </c:pt>
                <c:pt idx="273">
                  <c:v>-2.0258000000000002E-2</c:v>
                </c:pt>
                <c:pt idx="274">
                  <c:v>-0.33726</c:v>
                </c:pt>
                <c:pt idx="275">
                  <c:v>0</c:v>
                </c:pt>
                <c:pt idx="276">
                  <c:v>0</c:v>
                </c:pt>
                <c:pt idx="277">
                  <c:v>0.69821800000000001</c:v>
                </c:pt>
                <c:pt idx="278">
                  <c:v>-0.292989</c:v>
                </c:pt>
                <c:pt idx="279">
                  <c:v>0.30632199999999998</c:v>
                </c:pt>
                <c:pt idx="280">
                  <c:v>0</c:v>
                </c:pt>
                <c:pt idx="281">
                  <c:v>0</c:v>
                </c:pt>
                <c:pt idx="282">
                  <c:v>0</c:v>
                </c:pt>
                <c:pt idx="283">
                  <c:v>0</c:v>
                </c:pt>
                <c:pt idx="284">
                  <c:v>0</c:v>
                </c:pt>
                <c:pt idx="285">
                  <c:v>0</c:v>
                </c:pt>
                <c:pt idx="286">
                  <c:v>-0.80980600000000003</c:v>
                </c:pt>
                <c:pt idx="287">
                  <c:v>0</c:v>
                </c:pt>
                <c:pt idx="288">
                  <c:v>-0.57206400000000002</c:v>
                </c:pt>
                <c:pt idx="289">
                  <c:v>0</c:v>
                </c:pt>
                <c:pt idx="290">
                  <c:v>0</c:v>
                </c:pt>
                <c:pt idx="291">
                  <c:v>0</c:v>
                </c:pt>
                <c:pt idx="292">
                  <c:v>0</c:v>
                </c:pt>
                <c:pt idx="293">
                  <c:v>0</c:v>
                </c:pt>
                <c:pt idx="295">
                  <c:v>0</c:v>
                </c:pt>
                <c:pt idx="296">
                  <c:v>-0.67475300000000005</c:v>
                </c:pt>
                <c:pt idx="297">
                  <c:v>-0.60810299999999995</c:v>
                </c:pt>
                <c:pt idx="298">
                  <c:v>0</c:v>
                </c:pt>
                <c:pt idx="299">
                  <c:v>0</c:v>
                </c:pt>
                <c:pt idx="300">
                  <c:v>0</c:v>
                </c:pt>
                <c:pt idx="301">
                  <c:v>0</c:v>
                </c:pt>
                <c:pt idx="302">
                  <c:v>-0.66491699999999998</c:v>
                </c:pt>
                <c:pt idx="303">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75946000000000002</c:v>
                </c:pt>
                <c:pt idx="320">
                  <c:v>0</c:v>
                </c:pt>
                <c:pt idx="321">
                  <c:v>0</c:v>
                </c:pt>
                <c:pt idx="322">
                  <c:v>0</c:v>
                </c:pt>
                <c:pt idx="323">
                  <c:v>0</c:v>
                </c:pt>
                <c:pt idx="324">
                  <c:v>0</c:v>
                </c:pt>
                <c:pt idx="325">
                  <c:v>-0.89036899999999997</c:v>
                </c:pt>
                <c:pt idx="326">
                  <c:v>0</c:v>
                </c:pt>
                <c:pt idx="327">
                  <c:v>-0.91777600000000004</c:v>
                </c:pt>
                <c:pt idx="328">
                  <c:v>0</c:v>
                </c:pt>
                <c:pt idx="329">
                  <c:v>-0.89036899999999997</c:v>
                </c:pt>
                <c:pt idx="330">
                  <c:v>0</c:v>
                </c:pt>
                <c:pt idx="331">
                  <c:v>0</c:v>
                </c:pt>
                <c:pt idx="332">
                  <c:v>0</c:v>
                </c:pt>
                <c:pt idx="333">
                  <c:v>0</c:v>
                </c:pt>
                <c:pt idx="334">
                  <c:v>-0.71470900000000004</c:v>
                </c:pt>
                <c:pt idx="335">
                  <c:v>0</c:v>
                </c:pt>
                <c:pt idx="337">
                  <c:v>0</c:v>
                </c:pt>
                <c:pt idx="339">
                  <c:v>0</c:v>
                </c:pt>
                <c:pt idx="341">
                  <c:v>0</c:v>
                </c:pt>
                <c:pt idx="343">
                  <c:v>0</c:v>
                </c:pt>
                <c:pt idx="345">
                  <c:v>0</c:v>
                </c:pt>
                <c:pt idx="346">
                  <c:v>-0.55322300000000002</c:v>
                </c:pt>
                <c:pt idx="347">
                  <c:v>0</c:v>
                </c:pt>
                <c:pt idx="348">
                  <c:v>-0.44152799999999998</c:v>
                </c:pt>
                <c:pt idx="349">
                  <c:v>-0.84966200000000003</c:v>
                </c:pt>
                <c:pt idx="350">
                  <c:v>0</c:v>
                </c:pt>
                <c:pt idx="351">
                  <c:v>-0.90979699999999997</c:v>
                </c:pt>
                <c:pt idx="352">
                  <c:v>0</c:v>
                </c:pt>
                <c:pt idx="353">
                  <c:v>0</c:v>
                </c:pt>
                <c:pt idx="354">
                  <c:v>0</c:v>
                </c:pt>
                <c:pt idx="355">
                  <c:v>0</c:v>
                </c:pt>
                <c:pt idx="356">
                  <c:v>0</c:v>
                </c:pt>
                <c:pt idx="357">
                  <c:v>0</c:v>
                </c:pt>
                <c:pt idx="359">
                  <c:v>0</c:v>
                </c:pt>
                <c:pt idx="360">
                  <c:v>-0.75946000000000002</c:v>
                </c:pt>
                <c:pt idx="361">
                  <c:v>0</c:v>
                </c:pt>
                <c:pt idx="362">
                  <c:v>0</c:v>
                </c:pt>
                <c:pt idx="363">
                  <c:v>0</c:v>
                </c:pt>
                <c:pt idx="365">
                  <c:v>0</c:v>
                </c:pt>
                <c:pt idx="366">
                  <c:v>0</c:v>
                </c:pt>
                <c:pt idx="367">
                  <c:v>0</c:v>
                </c:pt>
                <c:pt idx="368">
                  <c:v>0</c:v>
                </c:pt>
                <c:pt idx="369">
                  <c:v>0</c:v>
                </c:pt>
                <c:pt idx="370">
                  <c:v>0</c:v>
                </c:pt>
                <c:pt idx="371">
                  <c:v>0</c:v>
                </c:pt>
                <c:pt idx="373">
                  <c:v>0</c:v>
                </c:pt>
                <c:pt idx="374">
                  <c:v>0</c:v>
                </c:pt>
                <c:pt idx="375">
                  <c:v>0</c:v>
                </c:pt>
                <c:pt idx="376">
                  <c:v>0</c:v>
                </c:pt>
                <c:pt idx="377">
                  <c:v>0</c:v>
                </c:pt>
                <c:pt idx="378">
                  <c:v>0</c:v>
                </c:pt>
                <c:pt idx="379">
                  <c:v>-0.58415499999999998</c:v>
                </c:pt>
                <c:pt idx="381">
                  <c:v>0</c:v>
                </c:pt>
                <c:pt idx="382">
                  <c:v>0</c:v>
                </c:pt>
                <c:pt idx="383">
                  <c:v>-0.31385600000000002</c:v>
                </c:pt>
                <c:pt idx="384">
                  <c:v>0</c:v>
                </c:pt>
                <c:pt idx="385">
                  <c:v>0</c:v>
                </c:pt>
                <c:pt idx="386">
                  <c:v>0</c:v>
                </c:pt>
                <c:pt idx="387">
                  <c:v>0</c:v>
                </c:pt>
                <c:pt idx="388">
                  <c:v>0</c:v>
                </c:pt>
                <c:pt idx="389">
                  <c:v>0</c:v>
                </c:pt>
                <c:pt idx="390">
                  <c:v>0.111111</c:v>
                </c:pt>
                <c:pt idx="391">
                  <c:v>0</c:v>
                </c:pt>
                <c:pt idx="392">
                  <c:v>-0.61703600000000003</c:v>
                </c:pt>
                <c:pt idx="393">
                  <c:v>0</c:v>
                </c:pt>
                <c:pt idx="394">
                  <c:v>-0.11623699999999999</c:v>
                </c:pt>
                <c:pt idx="395">
                  <c:v>0</c:v>
                </c:pt>
                <c:pt idx="396">
                  <c:v>0</c:v>
                </c:pt>
                <c:pt idx="397">
                  <c:v>0</c:v>
                </c:pt>
                <c:pt idx="398">
                  <c:v>0</c:v>
                </c:pt>
                <c:pt idx="399">
                  <c:v>-0.740896</c:v>
                </c:pt>
                <c:pt idx="400">
                  <c:v>0</c:v>
                </c:pt>
                <c:pt idx="401">
                  <c:v>0</c:v>
                </c:pt>
                <c:pt idx="402">
                  <c:v>-0.53923399999999999</c:v>
                </c:pt>
                <c:pt idx="403">
                  <c:v>0</c:v>
                </c:pt>
                <c:pt idx="404">
                  <c:v>-0.52568199999999998</c:v>
                </c:pt>
                <c:pt idx="405">
                  <c:v>0</c:v>
                </c:pt>
                <c:pt idx="406">
                  <c:v>-8.6777999999999994E-2</c:v>
                </c:pt>
                <c:pt idx="407">
                  <c:v>0</c:v>
                </c:pt>
                <c:pt idx="408">
                  <c:v>-0.558118</c:v>
                </c:pt>
                <c:pt idx="409">
                  <c:v>0.22148499999999999</c:v>
                </c:pt>
                <c:pt idx="410">
                  <c:v>-0.35190700000000003</c:v>
                </c:pt>
                <c:pt idx="411">
                  <c:v>0.33599899999999999</c:v>
                </c:pt>
                <c:pt idx="412">
                  <c:v>-0.37154599999999999</c:v>
                </c:pt>
                <c:pt idx="413">
                  <c:v>-0.16022800000000001</c:v>
                </c:pt>
                <c:pt idx="414">
                  <c:v>-7.8467999999999996E-2</c:v>
                </c:pt>
                <c:pt idx="415">
                  <c:v>-0.21112300000000001</c:v>
                </c:pt>
                <c:pt idx="416">
                  <c:v>1.5969999999999999E-3</c:v>
                </c:pt>
                <c:pt idx="417">
                  <c:v>-0.43506299999999998</c:v>
                </c:pt>
                <c:pt idx="418">
                  <c:v>0.165466</c:v>
                </c:pt>
                <c:pt idx="419">
                  <c:v>-0.36744500000000002</c:v>
                </c:pt>
                <c:pt idx="420">
                  <c:v>0.17835000000000001</c:v>
                </c:pt>
                <c:pt idx="421">
                  <c:v>-0.40834300000000001</c:v>
                </c:pt>
                <c:pt idx="422">
                  <c:v>1.0031950000000001</c:v>
                </c:pt>
                <c:pt idx="423">
                  <c:v>-0.236571</c:v>
                </c:pt>
                <c:pt idx="424">
                  <c:v>1.0915710000000001</c:v>
                </c:pt>
                <c:pt idx="425">
                  <c:v>-0.25838299999999997</c:v>
                </c:pt>
                <c:pt idx="426">
                  <c:v>3.2420610000000001</c:v>
                </c:pt>
                <c:pt idx="427">
                  <c:v>-0.22808899999999999</c:v>
                </c:pt>
                <c:pt idx="428">
                  <c:v>0</c:v>
                </c:pt>
                <c:pt idx="429">
                  <c:v>-0.29209299999999999</c:v>
                </c:pt>
                <c:pt idx="430">
                  <c:v>0.70860699999999999</c:v>
                </c:pt>
                <c:pt idx="431">
                  <c:v>-0.179314</c:v>
                </c:pt>
                <c:pt idx="432">
                  <c:v>-8.3504999999999996E-2</c:v>
                </c:pt>
                <c:pt idx="433">
                  <c:v>-9.0246999999999994E-2</c:v>
                </c:pt>
                <c:pt idx="434">
                  <c:v>-0.38557399999999997</c:v>
                </c:pt>
                <c:pt idx="435">
                  <c:v>8.9620000000000005E-2</c:v>
                </c:pt>
                <c:pt idx="436">
                  <c:v>-0.344051</c:v>
                </c:pt>
                <c:pt idx="437">
                  <c:v>3.0627999999999999E-2</c:v>
                </c:pt>
                <c:pt idx="438">
                  <c:v>-0.27486100000000002</c:v>
                </c:pt>
                <c:pt idx="439">
                  <c:v>2.4265999999999999E-2</c:v>
                </c:pt>
                <c:pt idx="440">
                  <c:v>-0.12159300000000001</c:v>
                </c:pt>
                <c:pt idx="441">
                  <c:v>0.36568800000000001</c:v>
                </c:pt>
                <c:pt idx="442">
                  <c:v>-9.2670000000000002E-2</c:v>
                </c:pt>
                <c:pt idx="443">
                  <c:v>6.2436999999999999E-2</c:v>
                </c:pt>
                <c:pt idx="444">
                  <c:v>-0.33349499999999999</c:v>
                </c:pt>
                <c:pt idx="445">
                  <c:v>-6.3527E-2</c:v>
                </c:pt>
                <c:pt idx="446">
                  <c:v>-0.27826000000000001</c:v>
                </c:pt>
                <c:pt idx="447">
                  <c:v>-7.9394999999999993E-2</c:v>
                </c:pt>
                <c:pt idx="448">
                  <c:v>-0.292989</c:v>
                </c:pt>
                <c:pt idx="449">
                  <c:v>7.3570999999999998E-2</c:v>
                </c:pt>
                <c:pt idx="450">
                  <c:v>-0.17862</c:v>
                </c:pt>
                <c:pt idx="451">
                  <c:v>0.30328100000000002</c:v>
                </c:pt>
                <c:pt idx="452">
                  <c:v>0.1149</c:v>
                </c:pt>
                <c:pt idx="453">
                  <c:v>-0.40939900000000001</c:v>
                </c:pt>
                <c:pt idx="454">
                  <c:v>-0.15306</c:v>
                </c:pt>
                <c:pt idx="455">
                  <c:v>-0.40424599999999999</c:v>
                </c:pt>
                <c:pt idx="456">
                  <c:v>-0.25043799999999999</c:v>
                </c:pt>
                <c:pt idx="457">
                  <c:v>-0.34383200000000003</c:v>
                </c:pt>
                <c:pt idx="458">
                  <c:v>-0.40462300000000001</c:v>
                </c:pt>
                <c:pt idx="459">
                  <c:v>-0.26300000000000001</c:v>
                </c:pt>
                <c:pt idx="460">
                  <c:v>-0.40427800000000003</c:v>
                </c:pt>
                <c:pt idx="461">
                  <c:v>-0.183032</c:v>
                </c:pt>
                <c:pt idx="462">
                  <c:v>-0.36230400000000001</c:v>
                </c:pt>
                <c:pt idx="463">
                  <c:v>-0.12299599999999999</c:v>
                </c:pt>
                <c:pt idx="464">
                  <c:v>-0.13230500000000001</c:v>
                </c:pt>
                <c:pt idx="465">
                  <c:v>0.107197</c:v>
                </c:pt>
                <c:pt idx="466">
                  <c:v>-0.15908600000000001</c:v>
                </c:pt>
                <c:pt idx="467">
                  <c:v>5.9649000000000001E-2</c:v>
                </c:pt>
                <c:pt idx="468">
                  <c:v>-5.4434000000000003E-2</c:v>
                </c:pt>
                <c:pt idx="469">
                  <c:v>0.117386</c:v>
                </c:pt>
                <c:pt idx="470">
                  <c:v>0.36124800000000001</c:v>
                </c:pt>
                <c:pt idx="471">
                  <c:v>-0.36890299999999998</c:v>
                </c:pt>
                <c:pt idx="472">
                  <c:v>-4.0730000000000002E-2</c:v>
                </c:pt>
                <c:pt idx="473">
                  <c:v>-0.30790699999999999</c:v>
                </c:pt>
                <c:pt idx="474">
                  <c:v>-0.25763900000000001</c:v>
                </c:pt>
                <c:pt idx="475">
                  <c:v>-0.372361</c:v>
                </c:pt>
                <c:pt idx="477">
                  <c:v>-0.29271799999999998</c:v>
                </c:pt>
                <c:pt idx="479">
                  <c:v>-0.45319300000000001</c:v>
                </c:pt>
                <c:pt idx="480">
                  <c:v>-0.292989</c:v>
                </c:pt>
                <c:pt idx="481">
                  <c:v>-0.48129</c:v>
                </c:pt>
                <c:pt idx="482">
                  <c:v>0</c:v>
                </c:pt>
                <c:pt idx="483">
                  <c:v>-0.48129</c:v>
                </c:pt>
                <c:pt idx="484">
                  <c:v>3.6593079999999998</c:v>
                </c:pt>
                <c:pt idx="485">
                  <c:v>-2.5257999999999999E-2</c:v>
                </c:pt>
                <c:pt idx="486">
                  <c:v>1.2885420000000001</c:v>
                </c:pt>
                <c:pt idx="487">
                  <c:v>0.15474599999999999</c:v>
                </c:pt>
                <c:pt idx="488">
                  <c:v>1.5969999999999999E-3</c:v>
                </c:pt>
                <c:pt idx="489">
                  <c:v>8.6818999999999993E-2</c:v>
                </c:pt>
                <c:pt idx="491">
                  <c:v>-0.17265800000000001</c:v>
                </c:pt>
                <c:pt idx="493">
                  <c:v>-0.35017199999999998</c:v>
                </c:pt>
                <c:pt idx="494">
                  <c:v>-0.35190700000000003</c:v>
                </c:pt>
                <c:pt idx="495">
                  <c:v>-0.40564499999999998</c:v>
                </c:pt>
                <c:pt idx="496">
                  <c:v>8.9972999999999997E-2</c:v>
                </c:pt>
                <c:pt idx="497">
                  <c:v>-0.42149399999999998</c:v>
                </c:pt>
                <c:pt idx="498">
                  <c:v>6.0514999999999999E-2</c:v>
                </c:pt>
                <c:pt idx="499">
                  <c:v>-0.33432200000000001</c:v>
                </c:pt>
                <c:pt idx="500">
                  <c:v>0</c:v>
                </c:pt>
                <c:pt idx="501">
                  <c:v>-0.41039999999999999</c:v>
                </c:pt>
                <c:pt idx="502">
                  <c:v>-0.16042500000000001</c:v>
                </c:pt>
                <c:pt idx="503">
                  <c:v>-0.31054799999999999</c:v>
                </c:pt>
                <c:pt idx="504">
                  <c:v>0</c:v>
                </c:pt>
              </c:numCache>
            </c:numRef>
          </c:val>
          <c:smooth val="0"/>
          <c:extLst>
            <c:ext xmlns:c16="http://schemas.microsoft.com/office/drawing/2014/chart" uri="{C3380CC4-5D6E-409C-BE32-E72D297353CC}">
              <c16:uniqueId val="{00000000-4B92-4723-A6DD-F9006463A51A}"/>
            </c:ext>
          </c:extLst>
        </c:ser>
        <c:dLbls>
          <c:showLegendKey val="0"/>
          <c:showVal val="0"/>
          <c:showCatName val="0"/>
          <c:showSerName val="0"/>
          <c:showPercent val="0"/>
          <c:showBubbleSize val="0"/>
        </c:dLbls>
        <c:smooth val="0"/>
        <c:axId val="298003144"/>
        <c:axId val="298003536"/>
      </c:lineChart>
      <c:dateAx>
        <c:axId val="298003144"/>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vert="horz"/>
          <a:lstStyle/>
          <a:p>
            <a:pPr>
              <a:defRPr sz="1000"/>
            </a:pPr>
            <a:endParaRPr lang="cs-CZ"/>
          </a:p>
        </c:txPr>
        <c:crossAx val="298003536"/>
        <c:crosses val="autoZero"/>
        <c:auto val="1"/>
        <c:lblOffset val="100"/>
        <c:baseTimeUnit val="days"/>
      </c:dateAx>
      <c:valAx>
        <c:axId val="298003536"/>
        <c:scaling>
          <c:orientation val="minMax"/>
          <c:max val="2"/>
        </c:scaling>
        <c:delete val="0"/>
        <c:axPos val="l"/>
        <c:majorGridlines>
          <c:spPr>
            <a:ln>
              <a:solidFill>
                <a:srgbClr val="FFFFFF">
                  <a:lumMod val="85000"/>
                </a:srgbClr>
              </a:solidFill>
            </a:ln>
          </c:spPr>
        </c:majorGridlines>
        <c:numFmt formatCode="0\ %" sourceLinked="0"/>
        <c:majorTickMark val="out"/>
        <c:minorTickMark val="none"/>
        <c:tickLblPos val="nextTo"/>
        <c:spPr>
          <a:noFill/>
          <a:ln w="9525">
            <a:solidFill>
              <a:srgbClr val="000000"/>
            </a:solidFill>
          </a:ln>
          <a:effectLst/>
        </c:spPr>
        <c:txPr>
          <a:bodyPr rot="-60000000" vert="horz"/>
          <a:lstStyle/>
          <a:p>
            <a:pPr>
              <a:defRPr sz="1200"/>
            </a:pPr>
            <a:endParaRPr lang="cs-CZ"/>
          </a:p>
        </c:txPr>
        <c:crossAx val="298003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cs-CZ"/>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725639816114128E-2"/>
          <c:y val="3.7414076378474583E-2"/>
          <c:w val="0.93069323165507978"/>
          <c:h val="0.81046931681231571"/>
        </c:manualLayout>
      </c:layout>
      <c:lineChart>
        <c:grouping val="standard"/>
        <c:varyColors val="0"/>
        <c:ser>
          <c:idx val="0"/>
          <c:order val="0"/>
          <c:spPr>
            <a:ln w="19050" cap="rnd">
              <a:solidFill>
                <a:schemeClr val="tx1"/>
              </a:solidFill>
              <a:round/>
            </a:ln>
            <a:effectLst/>
          </c:spPr>
          <c:marker>
            <c:symbol val="circle"/>
            <c:size val="5"/>
            <c:spPr>
              <a:solidFill>
                <a:schemeClr val="tx1"/>
              </a:solidFill>
              <a:ln w="19050">
                <a:solidFill>
                  <a:schemeClr val="tx1"/>
                </a:solidFill>
              </a:ln>
              <a:effectLst/>
            </c:spPr>
          </c:marker>
          <c:trendline>
            <c:spPr>
              <a:ln w="25400" cap="rnd">
                <a:solidFill>
                  <a:srgbClr val="FF0000"/>
                </a:solidFill>
                <a:prstDash val="solid"/>
              </a:ln>
              <a:effectLst/>
            </c:spPr>
            <c:trendlineType val="movingAvg"/>
            <c:period val="7"/>
            <c:dispRSqr val="0"/>
            <c:dispEq val="0"/>
          </c:trendline>
          <c:cat>
            <c:numRef>
              <c:f>Sheet1!$A$82:$A$502</c:f>
              <c:numCache>
                <c:formatCode>m/d/yyyy</c:formatCode>
                <c:ptCount val="421"/>
                <c:pt idx="0">
                  <c:v>44186</c:v>
                </c:pt>
                <c:pt idx="1">
                  <c:v>44187</c:v>
                </c:pt>
                <c:pt idx="2">
                  <c:v>44188</c:v>
                </c:pt>
                <c:pt idx="3">
                  <c:v>44189</c:v>
                </c:pt>
                <c:pt idx="4">
                  <c:v>44190</c:v>
                </c:pt>
                <c:pt idx="5">
                  <c:v>44191</c:v>
                </c:pt>
                <c:pt idx="6">
                  <c:v>44192</c:v>
                </c:pt>
                <c:pt idx="7">
                  <c:v>44193</c:v>
                </c:pt>
                <c:pt idx="8">
                  <c:v>44194</c:v>
                </c:pt>
                <c:pt idx="9">
                  <c:v>44195</c:v>
                </c:pt>
                <c:pt idx="10">
                  <c:v>44196</c:v>
                </c:pt>
                <c:pt idx="11">
                  <c:v>44197</c:v>
                </c:pt>
                <c:pt idx="12">
                  <c:v>44198</c:v>
                </c:pt>
                <c:pt idx="13">
                  <c:v>44199</c:v>
                </c:pt>
                <c:pt idx="14">
                  <c:v>44200</c:v>
                </c:pt>
                <c:pt idx="15">
                  <c:v>44201</c:v>
                </c:pt>
                <c:pt idx="16">
                  <c:v>44202</c:v>
                </c:pt>
                <c:pt idx="17">
                  <c:v>44203</c:v>
                </c:pt>
                <c:pt idx="18">
                  <c:v>44204</c:v>
                </c:pt>
                <c:pt idx="19">
                  <c:v>44205</c:v>
                </c:pt>
                <c:pt idx="20">
                  <c:v>44206</c:v>
                </c:pt>
                <c:pt idx="21">
                  <c:v>44207</c:v>
                </c:pt>
                <c:pt idx="22">
                  <c:v>44208</c:v>
                </c:pt>
                <c:pt idx="23">
                  <c:v>44209</c:v>
                </c:pt>
                <c:pt idx="24">
                  <c:v>44210</c:v>
                </c:pt>
                <c:pt idx="25">
                  <c:v>44211</c:v>
                </c:pt>
                <c:pt idx="26">
                  <c:v>44212</c:v>
                </c:pt>
                <c:pt idx="27">
                  <c:v>44213</c:v>
                </c:pt>
                <c:pt idx="28">
                  <c:v>44214</c:v>
                </c:pt>
                <c:pt idx="29">
                  <c:v>44215</c:v>
                </c:pt>
                <c:pt idx="30">
                  <c:v>44216</c:v>
                </c:pt>
                <c:pt idx="31">
                  <c:v>44217</c:v>
                </c:pt>
                <c:pt idx="32">
                  <c:v>44218</c:v>
                </c:pt>
                <c:pt idx="33">
                  <c:v>44219</c:v>
                </c:pt>
                <c:pt idx="34">
                  <c:v>44220</c:v>
                </c:pt>
                <c:pt idx="35">
                  <c:v>44221</c:v>
                </c:pt>
                <c:pt idx="36">
                  <c:v>44222</c:v>
                </c:pt>
                <c:pt idx="37">
                  <c:v>44223</c:v>
                </c:pt>
                <c:pt idx="38">
                  <c:v>44224</c:v>
                </c:pt>
                <c:pt idx="39">
                  <c:v>44225</c:v>
                </c:pt>
                <c:pt idx="40">
                  <c:v>44226</c:v>
                </c:pt>
                <c:pt idx="41">
                  <c:v>44227</c:v>
                </c:pt>
                <c:pt idx="42">
                  <c:v>44228</c:v>
                </c:pt>
                <c:pt idx="43">
                  <c:v>44229</c:v>
                </c:pt>
                <c:pt idx="44">
                  <c:v>44230</c:v>
                </c:pt>
                <c:pt idx="45">
                  <c:v>44231</c:v>
                </c:pt>
                <c:pt idx="46">
                  <c:v>44232</c:v>
                </c:pt>
                <c:pt idx="47">
                  <c:v>44233</c:v>
                </c:pt>
                <c:pt idx="48">
                  <c:v>44234</c:v>
                </c:pt>
                <c:pt idx="49">
                  <c:v>44235</c:v>
                </c:pt>
                <c:pt idx="50">
                  <c:v>44236</c:v>
                </c:pt>
                <c:pt idx="51">
                  <c:v>44237</c:v>
                </c:pt>
                <c:pt idx="52">
                  <c:v>44238</c:v>
                </c:pt>
                <c:pt idx="53">
                  <c:v>44239</c:v>
                </c:pt>
                <c:pt idx="54">
                  <c:v>44240</c:v>
                </c:pt>
                <c:pt idx="55">
                  <c:v>44241</c:v>
                </c:pt>
                <c:pt idx="56">
                  <c:v>44242</c:v>
                </c:pt>
                <c:pt idx="57">
                  <c:v>44243</c:v>
                </c:pt>
                <c:pt idx="58">
                  <c:v>44244</c:v>
                </c:pt>
                <c:pt idx="59">
                  <c:v>44245</c:v>
                </c:pt>
                <c:pt idx="60">
                  <c:v>44246</c:v>
                </c:pt>
                <c:pt idx="61">
                  <c:v>44247</c:v>
                </c:pt>
                <c:pt idx="62">
                  <c:v>44248</c:v>
                </c:pt>
                <c:pt idx="63">
                  <c:v>44249</c:v>
                </c:pt>
                <c:pt idx="64">
                  <c:v>44250</c:v>
                </c:pt>
                <c:pt idx="65">
                  <c:v>44251</c:v>
                </c:pt>
                <c:pt idx="66">
                  <c:v>44252</c:v>
                </c:pt>
                <c:pt idx="67">
                  <c:v>44253</c:v>
                </c:pt>
                <c:pt idx="68">
                  <c:v>44254</c:v>
                </c:pt>
                <c:pt idx="69">
                  <c:v>44255</c:v>
                </c:pt>
                <c:pt idx="70">
                  <c:v>44256</c:v>
                </c:pt>
                <c:pt idx="71">
                  <c:v>44257</c:v>
                </c:pt>
                <c:pt idx="72">
                  <c:v>44258</c:v>
                </c:pt>
                <c:pt idx="73">
                  <c:v>44259</c:v>
                </c:pt>
                <c:pt idx="74">
                  <c:v>44260</c:v>
                </c:pt>
                <c:pt idx="75">
                  <c:v>44261</c:v>
                </c:pt>
                <c:pt idx="76">
                  <c:v>44262</c:v>
                </c:pt>
                <c:pt idx="77">
                  <c:v>44263</c:v>
                </c:pt>
                <c:pt idx="78">
                  <c:v>44264</c:v>
                </c:pt>
                <c:pt idx="79">
                  <c:v>44265</c:v>
                </c:pt>
                <c:pt idx="80">
                  <c:v>44266</c:v>
                </c:pt>
                <c:pt idx="81">
                  <c:v>44267</c:v>
                </c:pt>
                <c:pt idx="82">
                  <c:v>44268</c:v>
                </c:pt>
                <c:pt idx="83">
                  <c:v>44269</c:v>
                </c:pt>
                <c:pt idx="84">
                  <c:v>44270</c:v>
                </c:pt>
                <c:pt idx="85">
                  <c:v>44271</c:v>
                </c:pt>
                <c:pt idx="86">
                  <c:v>44272</c:v>
                </c:pt>
                <c:pt idx="87">
                  <c:v>44273</c:v>
                </c:pt>
                <c:pt idx="88">
                  <c:v>44274</c:v>
                </c:pt>
                <c:pt idx="89">
                  <c:v>44275</c:v>
                </c:pt>
                <c:pt idx="90">
                  <c:v>44276</c:v>
                </c:pt>
                <c:pt idx="91">
                  <c:v>44277</c:v>
                </c:pt>
                <c:pt idx="92">
                  <c:v>44278</c:v>
                </c:pt>
                <c:pt idx="93">
                  <c:v>44279</c:v>
                </c:pt>
                <c:pt idx="94">
                  <c:v>44280</c:v>
                </c:pt>
                <c:pt idx="95">
                  <c:v>44281</c:v>
                </c:pt>
                <c:pt idx="96">
                  <c:v>44282</c:v>
                </c:pt>
                <c:pt idx="97">
                  <c:v>44283</c:v>
                </c:pt>
                <c:pt idx="98">
                  <c:v>44284</c:v>
                </c:pt>
                <c:pt idx="99">
                  <c:v>44285</c:v>
                </c:pt>
                <c:pt idx="100">
                  <c:v>44286</c:v>
                </c:pt>
                <c:pt idx="101">
                  <c:v>44287</c:v>
                </c:pt>
                <c:pt idx="102">
                  <c:v>44288</c:v>
                </c:pt>
                <c:pt idx="103">
                  <c:v>44289</c:v>
                </c:pt>
                <c:pt idx="104">
                  <c:v>44290</c:v>
                </c:pt>
                <c:pt idx="105">
                  <c:v>44291</c:v>
                </c:pt>
                <c:pt idx="106">
                  <c:v>44292</c:v>
                </c:pt>
                <c:pt idx="107">
                  <c:v>44293</c:v>
                </c:pt>
                <c:pt idx="108">
                  <c:v>44294</c:v>
                </c:pt>
                <c:pt idx="109">
                  <c:v>44295</c:v>
                </c:pt>
                <c:pt idx="110">
                  <c:v>44296</c:v>
                </c:pt>
                <c:pt idx="111">
                  <c:v>44297</c:v>
                </c:pt>
                <c:pt idx="112">
                  <c:v>44298</c:v>
                </c:pt>
                <c:pt idx="113">
                  <c:v>44299</c:v>
                </c:pt>
                <c:pt idx="114">
                  <c:v>44300</c:v>
                </c:pt>
                <c:pt idx="115">
                  <c:v>44301</c:v>
                </c:pt>
                <c:pt idx="116">
                  <c:v>44302</c:v>
                </c:pt>
                <c:pt idx="117">
                  <c:v>44303</c:v>
                </c:pt>
                <c:pt idx="118">
                  <c:v>44304</c:v>
                </c:pt>
                <c:pt idx="119">
                  <c:v>44305</c:v>
                </c:pt>
                <c:pt idx="120">
                  <c:v>44306</c:v>
                </c:pt>
                <c:pt idx="121">
                  <c:v>44307</c:v>
                </c:pt>
                <c:pt idx="122">
                  <c:v>44308</c:v>
                </c:pt>
                <c:pt idx="123">
                  <c:v>44309</c:v>
                </c:pt>
                <c:pt idx="124">
                  <c:v>44310</c:v>
                </c:pt>
                <c:pt idx="125">
                  <c:v>44311</c:v>
                </c:pt>
                <c:pt idx="126">
                  <c:v>44312</c:v>
                </c:pt>
                <c:pt idx="127">
                  <c:v>44313</c:v>
                </c:pt>
                <c:pt idx="128">
                  <c:v>44314</c:v>
                </c:pt>
                <c:pt idx="129">
                  <c:v>44315</c:v>
                </c:pt>
                <c:pt idx="130">
                  <c:v>44316</c:v>
                </c:pt>
                <c:pt idx="131">
                  <c:v>44317</c:v>
                </c:pt>
                <c:pt idx="132">
                  <c:v>44318</c:v>
                </c:pt>
                <c:pt idx="133">
                  <c:v>44319</c:v>
                </c:pt>
                <c:pt idx="134">
                  <c:v>44320</c:v>
                </c:pt>
                <c:pt idx="135">
                  <c:v>44321</c:v>
                </c:pt>
                <c:pt idx="136">
                  <c:v>44322</c:v>
                </c:pt>
                <c:pt idx="137">
                  <c:v>44323</c:v>
                </c:pt>
                <c:pt idx="138">
                  <c:v>44324</c:v>
                </c:pt>
                <c:pt idx="139">
                  <c:v>44325</c:v>
                </c:pt>
                <c:pt idx="140">
                  <c:v>44326</c:v>
                </c:pt>
                <c:pt idx="141">
                  <c:v>44327</c:v>
                </c:pt>
                <c:pt idx="142">
                  <c:v>44328</c:v>
                </c:pt>
                <c:pt idx="143">
                  <c:v>44329</c:v>
                </c:pt>
                <c:pt idx="144">
                  <c:v>44330</c:v>
                </c:pt>
                <c:pt idx="145">
                  <c:v>44331</c:v>
                </c:pt>
                <c:pt idx="146">
                  <c:v>44332</c:v>
                </c:pt>
                <c:pt idx="147">
                  <c:v>44333</c:v>
                </c:pt>
                <c:pt idx="148">
                  <c:v>44334</c:v>
                </c:pt>
                <c:pt idx="149">
                  <c:v>44335</c:v>
                </c:pt>
                <c:pt idx="150">
                  <c:v>44336</c:v>
                </c:pt>
                <c:pt idx="151">
                  <c:v>44337</c:v>
                </c:pt>
                <c:pt idx="152">
                  <c:v>44338</c:v>
                </c:pt>
                <c:pt idx="153">
                  <c:v>44339</c:v>
                </c:pt>
                <c:pt idx="154">
                  <c:v>44340</c:v>
                </c:pt>
                <c:pt idx="155">
                  <c:v>44341</c:v>
                </c:pt>
                <c:pt idx="156">
                  <c:v>44342</c:v>
                </c:pt>
                <c:pt idx="157">
                  <c:v>44343</c:v>
                </c:pt>
                <c:pt idx="158">
                  <c:v>44344</c:v>
                </c:pt>
                <c:pt idx="159">
                  <c:v>44345</c:v>
                </c:pt>
                <c:pt idx="160">
                  <c:v>44346</c:v>
                </c:pt>
                <c:pt idx="161">
                  <c:v>44347</c:v>
                </c:pt>
                <c:pt idx="162">
                  <c:v>44348</c:v>
                </c:pt>
                <c:pt idx="163">
                  <c:v>44349</c:v>
                </c:pt>
                <c:pt idx="164">
                  <c:v>44350</c:v>
                </c:pt>
                <c:pt idx="165">
                  <c:v>44351</c:v>
                </c:pt>
                <c:pt idx="166">
                  <c:v>44352</c:v>
                </c:pt>
                <c:pt idx="167">
                  <c:v>44353</c:v>
                </c:pt>
                <c:pt idx="168">
                  <c:v>44354</c:v>
                </c:pt>
                <c:pt idx="169">
                  <c:v>44355</c:v>
                </c:pt>
                <c:pt idx="170">
                  <c:v>44356</c:v>
                </c:pt>
                <c:pt idx="171">
                  <c:v>44357</c:v>
                </c:pt>
                <c:pt idx="172">
                  <c:v>44358</c:v>
                </c:pt>
                <c:pt idx="173">
                  <c:v>44359</c:v>
                </c:pt>
                <c:pt idx="174">
                  <c:v>44360</c:v>
                </c:pt>
                <c:pt idx="175">
                  <c:v>44361</c:v>
                </c:pt>
                <c:pt idx="176">
                  <c:v>44362</c:v>
                </c:pt>
                <c:pt idx="177">
                  <c:v>44363</c:v>
                </c:pt>
                <c:pt idx="178">
                  <c:v>44364</c:v>
                </c:pt>
                <c:pt idx="179">
                  <c:v>44365</c:v>
                </c:pt>
                <c:pt idx="180">
                  <c:v>44366</c:v>
                </c:pt>
                <c:pt idx="181">
                  <c:v>44367</c:v>
                </c:pt>
                <c:pt idx="182">
                  <c:v>44368</c:v>
                </c:pt>
                <c:pt idx="183">
                  <c:v>44369</c:v>
                </c:pt>
                <c:pt idx="184">
                  <c:v>44370</c:v>
                </c:pt>
                <c:pt idx="185">
                  <c:v>44371</c:v>
                </c:pt>
                <c:pt idx="186">
                  <c:v>44372</c:v>
                </c:pt>
                <c:pt idx="187">
                  <c:v>44373</c:v>
                </c:pt>
                <c:pt idx="188">
                  <c:v>44374</c:v>
                </c:pt>
                <c:pt idx="189">
                  <c:v>44375</c:v>
                </c:pt>
                <c:pt idx="190">
                  <c:v>44376</c:v>
                </c:pt>
                <c:pt idx="191">
                  <c:v>44377</c:v>
                </c:pt>
                <c:pt idx="192">
                  <c:v>44378</c:v>
                </c:pt>
                <c:pt idx="193">
                  <c:v>44379</c:v>
                </c:pt>
                <c:pt idx="194">
                  <c:v>44380</c:v>
                </c:pt>
                <c:pt idx="195">
                  <c:v>44381</c:v>
                </c:pt>
                <c:pt idx="196">
                  <c:v>44382</c:v>
                </c:pt>
                <c:pt idx="197">
                  <c:v>44383</c:v>
                </c:pt>
                <c:pt idx="198">
                  <c:v>44384</c:v>
                </c:pt>
                <c:pt idx="199">
                  <c:v>44385</c:v>
                </c:pt>
                <c:pt idx="200">
                  <c:v>44386</c:v>
                </c:pt>
                <c:pt idx="201">
                  <c:v>44387</c:v>
                </c:pt>
                <c:pt idx="202">
                  <c:v>44388</c:v>
                </c:pt>
                <c:pt idx="203">
                  <c:v>44389</c:v>
                </c:pt>
                <c:pt idx="204">
                  <c:v>44390</c:v>
                </c:pt>
                <c:pt idx="205">
                  <c:v>44391</c:v>
                </c:pt>
                <c:pt idx="206">
                  <c:v>44392</c:v>
                </c:pt>
                <c:pt idx="207">
                  <c:v>44393</c:v>
                </c:pt>
                <c:pt idx="208">
                  <c:v>44394</c:v>
                </c:pt>
                <c:pt idx="209">
                  <c:v>44395</c:v>
                </c:pt>
                <c:pt idx="210">
                  <c:v>44396</c:v>
                </c:pt>
                <c:pt idx="211">
                  <c:v>44397</c:v>
                </c:pt>
                <c:pt idx="212">
                  <c:v>44398</c:v>
                </c:pt>
                <c:pt idx="213">
                  <c:v>44399</c:v>
                </c:pt>
                <c:pt idx="214">
                  <c:v>44400</c:v>
                </c:pt>
                <c:pt idx="215">
                  <c:v>44401</c:v>
                </c:pt>
                <c:pt idx="216">
                  <c:v>44402</c:v>
                </c:pt>
                <c:pt idx="217">
                  <c:v>44403</c:v>
                </c:pt>
                <c:pt idx="218">
                  <c:v>44404</c:v>
                </c:pt>
                <c:pt idx="219">
                  <c:v>44405</c:v>
                </c:pt>
                <c:pt idx="220">
                  <c:v>44406</c:v>
                </c:pt>
                <c:pt idx="221">
                  <c:v>44407</c:v>
                </c:pt>
                <c:pt idx="222">
                  <c:v>44408</c:v>
                </c:pt>
                <c:pt idx="223">
                  <c:v>44409</c:v>
                </c:pt>
                <c:pt idx="224">
                  <c:v>44410</c:v>
                </c:pt>
                <c:pt idx="225">
                  <c:v>44411</c:v>
                </c:pt>
                <c:pt idx="226">
                  <c:v>44412</c:v>
                </c:pt>
                <c:pt idx="227">
                  <c:v>44413</c:v>
                </c:pt>
                <c:pt idx="228">
                  <c:v>44414</c:v>
                </c:pt>
                <c:pt idx="229">
                  <c:v>44415</c:v>
                </c:pt>
                <c:pt idx="230">
                  <c:v>44416</c:v>
                </c:pt>
                <c:pt idx="231">
                  <c:v>44417</c:v>
                </c:pt>
                <c:pt idx="232">
                  <c:v>44418</c:v>
                </c:pt>
                <c:pt idx="233">
                  <c:v>44419</c:v>
                </c:pt>
                <c:pt idx="234">
                  <c:v>44420</c:v>
                </c:pt>
                <c:pt idx="235">
                  <c:v>44421</c:v>
                </c:pt>
                <c:pt idx="236">
                  <c:v>44422</c:v>
                </c:pt>
                <c:pt idx="237">
                  <c:v>44423</c:v>
                </c:pt>
                <c:pt idx="238">
                  <c:v>44424</c:v>
                </c:pt>
                <c:pt idx="239">
                  <c:v>44425</c:v>
                </c:pt>
                <c:pt idx="240">
                  <c:v>44426</c:v>
                </c:pt>
                <c:pt idx="241">
                  <c:v>44427</c:v>
                </c:pt>
                <c:pt idx="242">
                  <c:v>44428</c:v>
                </c:pt>
                <c:pt idx="243">
                  <c:v>44429</c:v>
                </c:pt>
                <c:pt idx="244">
                  <c:v>44430</c:v>
                </c:pt>
                <c:pt idx="245">
                  <c:v>44431</c:v>
                </c:pt>
                <c:pt idx="246">
                  <c:v>44432</c:v>
                </c:pt>
                <c:pt idx="247">
                  <c:v>44433</c:v>
                </c:pt>
                <c:pt idx="248">
                  <c:v>44434</c:v>
                </c:pt>
                <c:pt idx="249">
                  <c:v>44435</c:v>
                </c:pt>
                <c:pt idx="250">
                  <c:v>44436</c:v>
                </c:pt>
                <c:pt idx="251">
                  <c:v>44437</c:v>
                </c:pt>
                <c:pt idx="252">
                  <c:v>44438</c:v>
                </c:pt>
                <c:pt idx="253">
                  <c:v>44439</c:v>
                </c:pt>
                <c:pt idx="254">
                  <c:v>44440</c:v>
                </c:pt>
                <c:pt idx="255">
                  <c:v>44441</c:v>
                </c:pt>
                <c:pt idx="256">
                  <c:v>44442</c:v>
                </c:pt>
                <c:pt idx="257">
                  <c:v>44443</c:v>
                </c:pt>
                <c:pt idx="258">
                  <c:v>44444</c:v>
                </c:pt>
                <c:pt idx="259">
                  <c:v>44445</c:v>
                </c:pt>
                <c:pt idx="260">
                  <c:v>44446</c:v>
                </c:pt>
                <c:pt idx="261">
                  <c:v>44447</c:v>
                </c:pt>
                <c:pt idx="262">
                  <c:v>44448</c:v>
                </c:pt>
                <c:pt idx="263">
                  <c:v>44449</c:v>
                </c:pt>
                <c:pt idx="264">
                  <c:v>44450</c:v>
                </c:pt>
                <c:pt idx="265">
                  <c:v>44451</c:v>
                </c:pt>
                <c:pt idx="266">
                  <c:v>44452</c:v>
                </c:pt>
                <c:pt idx="267">
                  <c:v>44453</c:v>
                </c:pt>
                <c:pt idx="268">
                  <c:v>44454</c:v>
                </c:pt>
                <c:pt idx="269">
                  <c:v>44455</c:v>
                </c:pt>
                <c:pt idx="270">
                  <c:v>44456</c:v>
                </c:pt>
                <c:pt idx="271">
                  <c:v>44457</c:v>
                </c:pt>
                <c:pt idx="272">
                  <c:v>44458</c:v>
                </c:pt>
                <c:pt idx="273">
                  <c:v>44459</c:v>
                </c:pt>
                <c:pt idx="274">
                  <c:v>44460</c:v>
                </c:pt>
                <c:pt idx="275">
                  <c:v>44461</c:v>
                </c:pt>
                <c:pt idx="276">
                  <c:v>44462</c:v>
                </c:pt>
                <c:pt idx="277">
                  <c:v>44463</c:v>
                </c:pt>
                <c:pt idx="278">
                  <c:v>44464</c:v>
                </c:pt>
                <c:pt idx="279">
                  <c:v>44465</c:v>
                </c:pt>
                <c:pt idx="280">
                  <c:v>44466</c:v>
                </c:pt>
                <c:pt idx="281">
                  <c:v>44467</c:v>
                </c:pt>
                <c:pt idx="282">
                  <c:v>44468</c:v>
                </c:pt>
                <c:pt idx="283">
                  <c:v>44469</c:v>
                </c:pt>
                <c:pt idx="284">
                  <c:v>44470</c:v>
                </c:pt>
                <c:pt idx="285">
                  <c:v>44471</c:v>
                </c:pt>
                <c:pt idx="286">
                  <c:v>44472</c:v>
                </c:pt>
                <c:pt idx="287">
                  <c:v>44473</c:v>
                </c:pt>
                <c:pt idx="288">
                  <c:v>44474</c:v>
                </c:pt>
                <c:pt idx="289">
                  <c:v>44475</c:v>
                </c:pt>
                <c:pt idx="290">
                  <c:v>44476</c:v>
                </c:pt>
                <c:pt idx="291">
                  <c:v>44477</c:v>
                </c:pt>
                <c:pt idx="292">
                  <c:v>44478</c:v>
                </c:pt>
                <c:pt idx="293">
                  <c:v>44479</c:v>
                </c:pt>
                <c:pt idx="294">
                  <c:v>44480</c:v>
                </c:pt>
                <c:pt idx="295">
                  <c:v>44481</c:v>
                </c:pt>
                <c:pt idx="296">
                  <c:v>44482</c:v>
                </c:pt>
                <c:pt idx="297">
                  <c:v>44483</c:v>
                </c:pt>
                <c:pt idx="298">
                  <c:v>44484</c:v>
                </c:pt>
                <c:pt idx="299">
                  <c:v>44485</c:v>
                </c:pt>
                <c:pt idx="300">
                  <c:v>44486</c:v>
                </c:pt>
                <c:pt idx="301">
                  <c:v>44487</c:v>
                </c:pt>
                <c:pt idx="302">
                  <c:v>44488</c:v>
                </c:pt>
                <c:pt idx="303">
                  <c:v>44489</c:v>
                </c:pt>
                <c:pt idx="304">
                  <c:v>44490</c:v>
                </c:pt>
                <c:pt idx="305">
                  <c:v>44491</c:v>
                </c:pt>
                <c:pt idx="306">
                  <c:v>44492</c:v>
                </c:pt>
                <c:pt idx="307">
                  <c:v>44493</c:v>
                </c:pt>
                <c:pt idx="308">
                  <c:v>44494</c:v>
                </c:pt>
                <c:pt idx="309">
                  <c:v>44495</c:v>
                </c:pt>
                <c:pt idx="310">
                  <c:v>44496</c:v>
                </c:pt>
                <c:pt idx="311">
                  <c:v>44497</c:v>
                </c:pt>
                <c:pt idx="312">
                  <c:v>44498</c:v>
                </c:pt>
                <c:pt idx="313">
                  <c:v>44499</c:v>
                </c:pt>
                <c:pt idx="314">
                  <c:v>44500</c:v>
                </c:pt>
                <c:pt idx="315">
                  <c:v>44501</c:v>
                </c:pt>
                <c:pt idx="316">
                  <c:v>44502</c:v>
                </c:pt>
                <c:pt idx="317">
                  <c:v>44503</c:v>
                </c:pt>
                <c:pt idx="318">
                  <c:v>44504</c:v>
                </c:pt>
                <c:pt idx="319">
                  <c:v>44505</c:v>
                </c:pt>
                <c:pt idx="320">
                  <c:v>44506</c:v>
                </c:pt>
                <c:pt idx="321">
                  <c:v>44507</c:v>
                </c:pt>
                <c:pt idx="322">
                  <c:v>44508</c:v>
                </c:pt>
                <c:pt idx="323">
                  <c:v>44509</c:v>
                </c:pt>
                <c:pt idx="324">
                  <c:v>44510</c:v>
                </c:pt>
                <c:pt idx="325">
                  <c:v>44511</c:v>
                </c:pt>
                <c:pt idx="326">
                  <c:v>44512</c:v>
                </c:pt>
                <c:pt idx="327">
                  <c:v>44513</c:v>
                </c:pt>
                <c:pt idx="328">
                  <c:v>44514</c:v>
                </c:pt>
                <c:pt idx="329">
                  <c:v>44515</c:v>
                </c:pt>
                <c:pt idx="330">
                  <c:v>44516</c:v>
                </c:pt>
                <c:pt idx="331">
                  <c:v>44517</c:v>
                </c:pt>
                <c:pt idx="332">
                  <c:v>44518</c:v>
                </c:pt>
                <c:pt idx="333">
                  <c:v>44519</c:v>
                </c:pt>
                <c:pt idx="334">
                  <c:v>44520</c:v>
                </c:pt>
                <c:pt idx="335">
                  <c:v>44521</c:v>
                </c:pt>
                <c:pt idx="336">
                  <c:v>44522</c:v>
                </c:pt>
                <c:pt idx="337">
                  <c:v>44523</c:v>
                </c:pt>
                <c:pt idx="338">
                  <c:v>44524</c:v>
                </c:pt>
                <c:pt idx="339">
                  <c:v>44525</c:v>
                </c:pt>
                <c:pt idx="340">
                  <c:v>44526</c:v>
                </c:pt>
                <c:pt idx="341">
                  <c:v>44527</c:v>
                </c:pt>
                <c:pt idx="342">
                  <c:v>44528</c:v>
                </c:pt>
                <c:pt idx="343">
                  <c:v>44529</c:v>
                </c:pt>
                <c:pt idx="344">
                  <c:v>44530</c:v>
                </c:pt>
                <c:pt idx="345">
                  <c:v>44531</c:v>
                </c:pt>
                <c:pt idx="346">
                  <c:v>44532</c:v>
                </c:pt>
                <c:pt idx="347">
                  <c:v>44533</c:v>
                </c:pt>
                <c:pt idx="348">
                  <c:v>44534</c:v>
                </c:pt>
                <c:pt idx="349">
                  <c:v>44535</c:v>
                </c:pt>
                <c:pt idx="350">
                  <c:v>44536</c:v>
                </c:pt>
                <c:pt idx="351">
                  <c:v>44537</c:v>
                </c:pt>
                <c:pt idx="352">
                  <c:v>44538</c:v>
                </c:pt>
                <c:pt idx="353">
                  <c:v>44539</c:v>
                </c:pt>
                <c:pt idx="354">
                  <c:v>44540</c:v>
                </c:pt>
                <c:pt idx="355">
                  <c:v>44541</c:v>
                </c:pt>
                <c:pt idx="356">
                  <c:v>44542</c:v>
                </c:pt>
                <c:pt idx="357">
                  <c:v>44543</c:v>
                </c:pt>
                <c:pt idx="358">
                  <c:v>44544</c:v>
                </c:pt>
                <c:pt idx="359">
                  <c:v>44545</c:v>
                </c:pt>
                <c:pt idx="360">
                  <c:v>44546</c:v>
                </c:pt>
                <c:pt idx="361">
                  <c:v>44547</c:v>
                </c:pt>
                <c:pt idx="362">
                  <c:v>44548</c:v>
                </c:pt>
                <c:pt idx="363">
                  <c:v>44549</c:v>
                </c:pt>
                <c:pt idx="364">
                  <c:v>44550</c:v>
                </c:pt>
                <c:pt idx="365">
                  <c:v>44551</c:v>
                </c:pt>
                <c:pt idx="366">
                  <c:v>44552</c:v>
                </c:pt>
                <c:pt idx="367">
                  <c:v>44553</c:v>
                </c:pt>
                <c:pt idx="368">
                  <c:v>44554</c:v>
                </c:pt>
                <c:pt idx="369">
                  <c:v>44555</c:v>
                </c:pt>
                <c:pt idx="370">
                  <c:v>44556</c:v>
                </c:pt>
                <c:pt idx="371">
                  <c:v>44557</c:v>
                </c:pt>
                <c:pt idx="372">
                  <c:v>44558</c:v>
                </c:pt>
                <c:pt idx="373">
                  <c:v>44559</c:v>
                </c:pt>
                <c:pt idx="374">
                  <c:v>44560</c:v>
                </c:pt>
                <c:pt idx="375">
                  <c:v>44561</c:v>
                </c:pt>
                <c:pt idx="376">
                  <c:v>44562</c:v>
                </c:pt>
                <c:pt idx="377">
                  <c:v>44563</c:v>
                </c:pt>
                <c:pt idx="378">
                  <c:v>44564</c:v>
                </c:pt>
                <c:pt idx="379">
                  <c:v>44565</c:v>
                </c:pt>
                <c:pt idx="380">
                  <c:v>44566</c:v>
                </c:pt>
                <c:pt idx="381">
                  <c:v>44567</c:v>
                </c:pt>
                <c:pt idx="382">
                  <c:v>44568</c:v>
                </c:pt>
                <c:pt idx="383">
                  <c:v>44569</c:v>
                </c:pt>
                <c:pt idx="384">
                  <c:v>44570</c:v>
                </c:pt>
                <c:pt idx="385">
                  <c:v>44571</c:v>
                </c:pt>
                <c:pt idx="386">
                  <c:v>44572</c:v>
                </c:pt>
                <c:pt idx="387">
                  <c:v>44573</c:v>
                </c:pt>
                <c:pt idx="388">
                  <c:v>44574</c:v>
                </c:pt>
                <c:pt idx="389">
                  <c:v>44575</c:v>
                </c:pt>
                <c:pt idx="390">
                  <c:v>44576</c:v>
                </c:pt>
                <c:pt idx="391">
                  <c:v>44577</c:v>
                </c:pt>
                <c:pt idx="392">
                  <c:v>44578</c:v>
                </c:pt>
                <c:pt idx="393">
                  <c:v>44579</c:v>
                </c:pt>
                <c:pt idx="394">
                  <c:v>44550</c:v>
                </c:pt>
                <c:pt idx="395">
                  <c:v>44551</c:v>
                </c:pt>
                <c:pt idx="396">
                  <c:v>44552</c:v>
                </c:pt>
                <c:pt idx="397">
                  <c:v>44553</c:v>
                </c:pt>
                <c:pt idx="398">
                  <c:v>44554</c:v>
                </c:pt>
                <c:pt idx="399">
                  <c:v>44555</c:v>
                </c:pt>
                <c:pt idx="400">
                  <c:v>44556</c:v>
                </c:pt>
                <c:pt idx="401">
                  <c:v>44557</c:v>
                </c:pt>
                <c:pt idx="402">
                  <c:v>44558</c:v>
                </c:pt>
                <c:pt idx="403">
                  <c:v>44559</c:v>
                </c:pt>
                <c:pt idx="404">
                  <c:v>44560</c:v>
                </c:pt>
                <c:pt idx="405">
                  <c:v>44561</c:v>
                </c:pt>
                <c:pt idx="406">
                  <c:v>44562</c:v>
                </c:pt>
                <c:pt idx="407">
                  <c:v>44563</c:v>
                </c:pt>
                <c:pt idx="408">
                  <c:v>44564</c:v>
                </c:pt>
                <c:pt idx="409">
                  <c:v>44565</c:v>
                </c:pt>
                <c:pt idx="410">
                  <c:v>44566</c:v>
                </c:pt>
                <c:pt idx="411">
                  <c:v>44567</c:v>
                </c:pt>
                <c:pt idx="412">
                  <c:v>44568</c:v>
                </c:pt>
                <c:pt idx="413">
                  <c:v>44569</c:v>
                </c:pt>
                <c:pt idx="414">
                  <c:v>44570</c:v>
                </c:pt>
                <c:pt idx="415">
                  <c:v>44571</c:v>
                </c:pt>
                <c:pt idx="416">
                  <c:v>44572</c:v>
                </c:pt>
                <c:pt idx="417">
                  <c:v>44573</c:v>
                </c:pt>
                <c:pt idx="418">
                  <c:v>44574</c:v>
                </c:pt>
                <c:pt idx="419">
                  <c:v>44575</c:v>
                </c:pt>
                <c:pt idx="420">
                  <c:v>44576</c:v>
                </c:pt>
              </c:numCache>
            </c:numRef>
          </c:cat>
          <c:val>
            <c:numRef>
              <c:f>Sheet1!$B$82:$B$502</c:f>
              <c:numCache>
                <c:formatCode>General</c:formatCode>
                <c:ptCount val="421"/>
                <c:pt idx="0">
                  <c:v>0.143829296424</c:v>
                </c:pt>
                <c:pt idx="1">
                  <c:v>0.167971195992</c:v>
                </c:pt>
                <c:pt idx="2">
                  <c:v>0.18222458283500001</c:v>
                </c:pt>
                <c:pt idx="3">
                  <c:v>0.23514611960500001</c:v>
                </c:pt>
                <c:pt idx="4">
                  <c:v>0.215721572157</c:v>
                </c:pt>
                <c:pt idx="5">
                  <c:v>0.184973544973</c:v>
                </c:pt>
                <c:pt idx="6">
                  <c:v>0.19321685508700001</c:v>
                </c:pt>
                <c:pt idx="7">
                  <c:v>0.200773933037</c:v>
                </c:pt>
                <c:pt idx="8">
                  <c:v>0.268036912751</c:v>
                </c:pt>
                <c:pt idx="9">
                  <c:v>0.26955660688700001</c:v>
                </c:pt>
                <c:pt idx="10">
                  <c:v>0.30043875422499999</c:v>
                </c:pt>
                <c:pt idx="11">
                  <c:v>0.35447520927199999</c:v>
                </c:pt>
                <c:pt idx="12">
                  <c:v>0.20372226198900001</c:v>
                </c:pt>
                <c:pt idx="13">
                  <c:v>0.25786245595700003</c:v>
                </c:pt>
                <c:pt idx="14">
                  <c:v>0.19630709426599999</c:v>
                </c:pt>
                <c:pt idx="15">
                  <c:v>0.24851292052599999</c:v>
                </c:pt>
                <c:pt idx="16">
                  <c:v>0.28928530848700001</c:v>
                </c:pt>
                <c:pt idx="17">
                  <c:v>0.26091819045999998</c:v>
                </c:pt>
                <c:pt idx="18">
                  <c:v>0.224930953898</c:v>
                </c:pt>
                <c:pt idx="19">
                  <c:v>0.28188047202099997</c:v>
                </c:pt>
                <c:pt idx="20">
                  <c:v>0.23422181372500001</c:v>
                </c:pt>
                <c:pt idx="21">
                  <c:v>0.15606385513400001</c:v>
                </c:pt>
                <c:pt idx="22">
                  <c:v>0.20508719430299999</c:v>
                </c:pt>
                <c:pt idx="23">
                  <c:v>0.22739369566500001</c:v>
                </c:pt>
                <c:pt idx="24">
                  <c:v>0.17919721635300001</c:v>
                </c:pt>
                <c:pt idx="25">
                  <c:v>0.20839201877899999</c:v>
                </c:pt>
                <c:pt idx="26">
                  <c:v>0.24130675526000001</c:v>
                </c:pt>
                <c:pt idx="27">
                  <c:v>0.222569879015</c:v>
                </c:pt>
                <c:pt idx="28">
                  <c:v>0.160218307575</c:v>
                </c:pt>
                <c:pt idx="29">
                  <c:v>0.221723353219</c:v>
                </c:pt>
                <c:pt idx="30">
                  <c:v>0.20385911583899999</c:v>
                </c:pt>
                <c:pt idx="31">
                  <c:v>0.199761211849</c:v>
                </c:pt>
                <c:pt idx="32">
                  <c:v>0.19427328742200001</c:v>
                </c:pt>
                <c:pt idx="33">
                  <c:v>0.225131596706</c:v>
                </c:pt>
                <c:pt idx="34">
                  <c:v>0.20536271045500001</c:v>
                </c:pt>
                <c:pt idx="35">
                  <c:v>0.148962148962</c:v>
                </c:pt>
                <c:pt idx="36">
                  <c:v>0.22222913684699999</c:v>
                </c:pt>
                <c:pt idx="37">
                  <c:v>0.18443458448200001</c:v>
                </c:pt>
                <c:pt idx="38">
                  <c:v>0.21929084001599999</c:v>
                </c:pt>
                <c:pt idx="39">
                  <c:v>0.19130840032599999</c:v>
                </c:pt>
                <c:pt idx="40">
                  <c:v>0.204291845493</c:v>
                </c:pt>
                <c:pt idx="41">
                  <c:v>0.201768488745</c:v>
                </c:pt>
                <c:pt idx="42">
                  <c:v>0.14863593603</c:v>
                </c:pt>
                <c:pt idx="43">
                  <c:v>0.19903347055599999</c:v>
                </c:pt>
                <c:pt idx="44">
                  <c:v>0.21559152305500001</c:v>
                </c:pt>
                <c:pt idx="45">
                  <c:v>0.19232989161799999</c:v>
                </c:pt>
                <c:pt idx="46">
                  <c:v>0.18875951634499999</c:v>
                </c:pt>
                <c:pt idx="47">
                  <c:v>0.23798104373599999</c:v>
                </c:pt>
                <c:pt idx="48">
                  <c:v>0.177071720549</c:v>
                </c:pt>
                <c:pt idx="49">
                  <c:v>0.16369881109600001</c:v>
                </c:pt>
                <c:pt idx="50">
                  <c:v>0.21532984519100001</c:v>
                </c:pt>
                <c:pt idx="51">
                  <c:v>0.20471894517600001</c:v>
                </c:pt>
                <c:pt idx="52">
                  <c:v>0.203997758266</c:v>
                </c:pt>
                <c:pt idx="53">
                  <c:v>0.18858369571200001</c:v>
                </c:pt>
                <c:pt idx="54">
                  <c:v>0.21639379577699999</c:v>
                </c:pt>
                <c:pt idx="55">
                  <c:v>0.199673853959</c:v>
                </c:pt>
                <c:pt idx="56">
                  <c:v>0.17184176945900001</c:v>
                </c:pt>
                <c:pt idx="57">
                  <c:v>0.23336137364500001</c:v>
                </c:pt>
                <c:pt idx="58">
                  <c:v>0.20134125115099999</c:v>
                </c:pt>
                <c:pt idx="59">
                  <c:v>0.215552178318</c:v>
                </c:pt>
                <c:pt idx="60">
                  <c:v>0.19061134387500001</c:v>
                </c:pt>
                <c:pt idx="61">
                  <c:v>0.24649784482699999</c:v>
                </c:pt>
                <c:pt idx="62">
                  <c:v>0.22559812123799999</c:v>
                </c:pt>
                <c:pt idx="63">
                  <c:v>0.17899686520300001</c:v>
                </c:pt>
                <c:pt idx="64">
                  <c:v>0.239870077141</c:v>
                </c:pt>
                <c:pt idx="65">
                  <c:v>0.20221084953900001</c:v>
                </c:pt>
                <c:pt idx="66">
                  <c:v>0.22144630011300001</c:v>
                </c:pt>
                <c:pt idx="67">
                  <c:v>0.20376591921199999</c:v>
                </c:pt>
                <c:pt idx="68">
                  <c:v>0.218272200045</c:v>
                </c:pt>
                <c:pt idx="69">
                  <c:v>0.21158566519300001</c:v>
                </c:pt>
                <c:pt idx="70">
                  <c:v>0.17083044604100001</c:v>
                </c:pt>
                <c:pt idx="71">
                  <c:v>0.22088469905700001</c:v>
                </c:pt>
                <c:pt idx="72">
                  <c:v>0.208534093975</c:v>
                </c:pt>
                <c:pt idx="73">
                  <c:v>0.18806537438199999</c:v>
                </c:pt>
                <c:pt idx="74">
                  <c:v>0.16518232819000001</c:v>
                </c:pt>
                <c:pt idx="75">
                  <c:v>0.26021850408699998</c:v>
                </c:pt>
                <c:pt idx="76">
                  <c:v>0.169028213166</c:v>
                </c:pt>
                <c:pt idx="77">
                  <c:v>0.12498493794399999</c:v>
                </c:pt>
                <c:pt idx="78">
                  <c:v>0.17262079062899999</c:v>
                </c:pt>
                <c:pt idx="79">
                  <c:v>0.15802003193399999</c:v>
                </c:pt>
                <c:pt idx="80">
                  <c:v>0.12088771275599999</c:v>
                </c:pt>
                <c:pt idx="81">
                  <c:v>0.16235761507099999</c:v>
                </c:pt>
                <c:pt idx="82">
                  <c:v>0.21674140508199999</c:v>
                </c:pt>
                <c:pt idx="83">
                  <c:v>0.15495049504899999</c:v>
                </c:pt>
                <c:pt idx="84">
                  <c:v>0.115310401605</c:v>
                </c:pt>
                <c:pt idx="85">
                  <c:v>0.15072310307299999</c:v>
                </c:pt>
                <c:pt idx="86">
                  <c:v>0.13523576896699999</c:v>
                </c:pt>
                <c:pt idx="87">
                  <c:v>0.12718306319799999</c:v>
                </c:pt>
                <c:pt idx="88">
                  <c:v>0.13041158265399999</c:v>
                </c:pt>
                <c:pt idx="89">
                  <c:v>0.20310513891400001</c:v>
                </c:pt>
                <c:pt idx="90">
                  <c:v>0.123913583312</c:v>
                </c:pt>
                <c:pt idx="91">
                  <c:v>9.3609406951999999E-2</c:v>
                </c:pt>
                <c:pt idx="92">
                  <c:v>0.126573465523</c:v>
                </c:pt>
                <c:pt idx="93">
                  <c:v>0.10403079565999999</c:v>
                </c:pt>
                <c:pt idx="94">
                  <c:v>9.9220457287999997E-2</c:v>
                </c:pt>
                <c:pt idx="95">
                  <c:v>0.117014020462</c:v>
                </c:pt>
                <c:pt idx="96">
                  <c:v>0.184538363022</c:v>
                </c:pt>
                <c:pt idx="97">
                  <c:v>0.12506303580399999</c:v>
                </c:pt>
                <c:pt idx="98">
                  <c:v>8.0643473711000002E-2</c:v>
                </c:pt>
                <c:pt idx="99">
                  <c:v>0.104993056813</c:v>
                </c:pt>
                <c:pt idx="100">
                  <c:v>8.9652728560999997E-2</c:v>
                </c:pt>
                <c:pt idx="101">
                  <c:v>7.1037463975999998E-2</c:v>
                </c:pt>
                <c:pt idx="102">
                  <c:v>0.143948296122</c:v>
                </c:pt>
                <c:pt idx="103">
                  <c:v>0.15091486466000001</c:v>
                </c:pt>
                <c:pt idx="104">
                  <c:v>0.14302680692200001</c:v>
                </c:pt>
                <c:pt idx="105">
                  <c:v>8.6407630802999999E-2</c:v>
                </c:pt>
                <c:pt idx="106">
                  <c:v>4.8563246765999997E-2</c:v>
                </c:pt>
                <c:pt idx="107">
                  <c:v>7.3285459807999997E-2</c:v>
                </c:pt>
                <c:pt idx="108">
                  <c:v>6.3160757385000002E-2</c:v>
                </c:pt>
                <c:pt idx="109">
                  <c:v>7.8647267007000005E-2</c:v>
                </c:pt>
                <c:pt idx="110">
                  <c:v>0.121530698065</c:v>
                </c:pt>
                <c:pt idx="111">
                  <c:v>6.4782276545999995E-2</c:v>
                </c:pt>
                <c:pt idx="112">
                  <c:v>4.6593173064000001E-2</c:v>
                </c:pt>
                <c:pt idx="113">
                  <c:v>6.1392702100000002E-2</c:v>
                </c:pt>
                <c:pt idx="114">
                  <c:v>5.0701766166999999E-2</c:v>
                </c:pt>
                <c:pt idx="115">
                  <c:v>4.4661499804999998E-2</c:v>
                </c:pt>
                <c:pt idx="116">
                  <c:v>6.6318638824000006E-2</c:v>
                </c:pt>
                <c:pt idx="117">
                  <c:v>9.8304580606000003E-2</c:v>
                </c:pt>
                <c:pt idx="118">
                  <c:v>5.4747647561999999E-2</c:v>
                </c:pt>
                <c:pt idx="119">
                  <c:v>3.9306081117E-2</c:v>
                </c:pt>
                <c:pt idx="120">
                  <c:v>4.4720534813999999E-2</c:v>
                </c:pt>
                <c:pt idx="121">
                  <c:v>4.0998461275000002E-2</c:v>
                </c:pt>
                <c:pt idx="122">
                  <c:v>3.6269250735000001E-2</c:v>
                </c:pt>
                <c:pt idx="123">
                  <c:v>5.3210408085999999E-2</c:v>
                </c:pt>
                <c:pt idx="124">
                  <c:v>8.3157450401000005E-2</c:v>
                </c:pt>
                <c:pt idx="125">
                  <c:v>6.2167502659E-2</c:v>
                </c:pt>
                <c:pt idx="126">
                  <c:v>3.0212989744E-2</c:v>
                </c:pt>
                <c:pt idx="127">
                  <c:v>3.9328611025000001E-2</c:v>
                </c:pt>
                <c:pt idx="128">
                  <c:v>3.4529914528999998E-2</c:v>
                </c:pt>
                <c:pt idx="129">
                  <c:v>3.0479635583999999E-2</c:v>
                </c:pt>
                <c:pt idx="130">
                  <c:v>4.4524669072999998E-2</c:v>
                </c:pt>
                <c:pt idx="131">
                  <c:v>9.4194411911999995E-2</c:v>
                </c:pt>
                <c:pt idx="132">
                  <c:v>3.1161122789E-2</c:v>
                </c:pt>
                <c:pt idx="133">
                  <c:v>2.3227117658999999E-2</c:v>
                </c:pt>
                <c:pt idx="134">
                  <c:v>3.1000291629999999E-2</c:v>
                </c:pt>
                <c:pt idx="135">
                  <c:v>2.7394005227000001E-2</c:v>
                </c:pt>
                <c:pt idx="136">
                  <c:v>2.3186703065000001E-2</c:v>
                </c:pt>
                <c:pt idx="137">
                  <c:v>3.5682215604999998E-2</c:v>
                </c:pt>
                <c:pt idx="138">
                  <c:v>5.3784534901999997E-2</c:v>
                </c:pt>
                <c:pt idx="139">
                  <c:v>2.3663919169999999E-2</c:v>
                </c:pt>
                <c:pt idx="140">
                  <c:v>1.7200754004999999E-2</c:v>
                </c:pt>
                <c:pt idx="141">
                  <c:v>1.9495095476E-2</c:v>
                </c:pt>
                <c:pt idx="142">
                  <c:v>1.7957390425000001E-2</c:v>
                </c:pt>
                <c:pt idx="143">
                  <c:v>1.7133047209999999E-2</c:v>
                </c:pt>
                <c:pt idx="144">
                  <c:v>2.1047686162999998E-2</c:v>
                </c:pt>
                <c:pt idx="145">
                  <c:v>3.9622371619999999E-2</c:v>
                </c:pt>
                <c:pt idx="146">
                  <c:v>1.4970453053E-2</c:v>
                </c:pt>
                <c:pt idx="147">
                  <c:v>1.0448752792999999E-2</c:v>
                </c:pt>
                <c:pt idx="148">
                  <c:v>1.3394490249E-2</c:v>
                </c:pt>
                <c:pt idx="149">
                  <c:v>1.1430006907999999E-2</c:v>
                </c:pt>
                <c:pt idx="150">
                  <c:v>9.3902552779999999E-3</c:v>
                </c:pt>
                <c:pt idx="151">
                  <c:v>1.1546743892E-2</c:v>
                </c:pt>
                <c:pt idx="152">
                  <c:v>2.1628683408000001E-2</c:v>
                </c:pt>
                <c:pt idx="153">
                  <c:v>1.2740476493000001E-2</c:v>
                </c:pt>
                <c:pt idx="154">
                  <c:v>8.0910929790000002E-3</c:v>
                </c:pt>
                <c:pt idx="155">
                  <c:v>1.0057174347E-2</c:v>
                </c:pt>
                <c:pt idx="156">
                  <c:v>8.6049647069999999E-3</c:v>
                </c:pt>
                <c:pt idx="157">
                  <c:v>8.8682432429999999E-3</c:v>
                </c:pt>
                <c:pt idx="158">
                  <c:v>8.7731137799999994E-3</c:v>
                </c:pt>
                <c:pt idx="159">
                  <c:v>1.6491985202999999E-2</c:v>
                </c:pt>
                <c:pt idx="160">
                  <c:v>9.4566196330000008E-3</c:v>
                </c:pt>
                <c:pt idx="161">
                  <c:v>6.1851965910000003E-3</c:v>
                </c:pt>
                <c:pt idx="162">
                  <c:v>8.4614190340000003E-3</c:v>
                </c:pt>
                <c:pt idx="163">
                  <c:v>6.6310160419999998E-3</c:v>
                </c:pt>
                <c:pt idx="164">
                  <c:v>5.6925996199999997E-3</c:v>
                </c:pt>
                <c:pt idx="165">
                  <c:v>6.7605371129999996E-3</c:v>
                </c:pt>
                <c:pt idx="166">
                  <c:v>1.0375237765E-2</c:v>
                </c:pt>
                <c:pt idx="167">
                  <c:v>8.7858021429999995E-3</c:v>
                </c:pt>
                <c:pt idx="168">
                  <c:v>4.1640178000000002E-3</c:v>
                </c:pt>
                <c:pt idx="169">
                  <c:v>7.0138855969999999E-3</c:v>
                </c:pt>
                <c:pt idx="170">
                  <c:v>5.2610482009999996E-3</c:v>
                </c:pt>
                <c:pt idx="171">
                  <c:v>3.833090732E-3</c:v>
                </c:pt>
                <c:pt idx="172">
                  <c:v>3.501050315E-3</c:v>
                </c:pt>
                <c:pt idx="173">
                  <c:v>5.3078556260000003E-3</c:v>
                </c:pt>
                <c:pt idx="174">
                  <c:v>2.9268292679999999E-3</c:v>
                </c:pt>
                <c:pt idx="175">
                  <c:v>2.3336003620000002E-3</c:v>
                </c:pt>
                <c:pt idx="176">
                  <c:v>3.8327701849999998E-3</c:v>
                </c:pt>
                <c:pt idx="177">
                  <c:v>1.895734597E-3</c:v>
                </c:pt>
                <c:pt idx="178">
                  <c:v>1.8742385900000001E-3</c:v>
                </c:pt>
                <c:pt idx="179">
                  <c:v>1.8152288139999999E-3</c:v>
                </c:pt>
                <c:pt idx="180">
                  <c:v>2.3850085170000002E-3</c:v>
                </c:pt>
                <c:pt idx="181">
                  <c:v>4.7876769350000004E-3</c:v>
                </c:pt>
                <c:pt idx="182">
                  <c:v>1.3401015220000001E-3</c:v>
                </c:pt>
                <c:pt idx="183">
                  <c:v>1.5880772040000001E-3</c:v>
                </c:pt>
                <c:pt idx="184">
                  <c:v>1.9643953339999998E-3</c:v>
                </c:pt>
                <c:pt idx="185">
                  <c:v>1.4958063990000001E-3</c:v>
                </c:pt>
                <c:pt idx="186">
                  <c:v>2.6063765300000001E-3</c:v>
                </c:pt>
                <c:pt idx="187">
                  <c:v>2.7863777079999998E-3</c:v>
                </c:pt>
                <c:pt idx="188">
                  <c:v>3.1552851019999999E-3</c:v>
                </c:pt>
                <c:pt idx="189">
                  <c:v>1.4890728330000001E-3</c:v>
                </c:pt>
                <c:pt idx="190">
                  <c:v>2.5133145829999998E-3</c:v>
                </c:pt>
                <c:pt idx="191">
                  <c:v>2.4243893560000002E-3</c:v>
                </c:pt>
                <c:pt idx="192">
                  <c:v>2.477640802E-3</c:v>
                </c:pt>
                <c:pt idx="193">
                  <c:v>3.0155083280000001E-3</c:v>
                </c:pt>
                <c:pt idx="194">
                  <c:v>4.0080160320000004E-3</c:v>
                </c:pt>
                <c:pt idx="195">
                  <c:v>5.9974747470000001E-3</c:v>
                </c:pt>
                <c:pt idx="196">
                  <c:v>5.8004640370000003E-3</c:v>
                </c:pt>
                <c:pt idx="197">
                  <c:v>5.8601134209999997E-3</c:v>
                </c:pt>
                <c:pt idx="198">
                  <c:v>5.6507997309999999E-3</c:v>
                </c:pt>
                <c:pt idx="199">
                  <c:v>5.1619348930000003E-3</c:v>
                </c:pt>
                <c:pt idx="200">
                  <c:v>3.8937486660000002E-3</c:v>
                </c:pt>
                <c:pt idx="201">
                  <c:v>4.0477835909999999E-3</c:v>
                </c:pt>
                <c:pt idx="202">
                  <c:v>4.7452032179999999E-3</c:v>
                </c:pt>
                <c:pt idx="203">
                  <c:v>3.5242855309999999E-3</c:v>
                </c:pt>
                <c:pt idx="204">
                  <c:v>7.7513054830000002E-3</c:v>
                </c:pt>
                <c:pt idx="205">
                  <c:v>7.6503693280000002E-3</c:v>
                </c:pt>
                <c:pt idx="206">
                  <c:v>4.33582972E-3</c:v>
                </c:pt>
                <c:pt idx="207">
                  <c:v>2.2559852670000001E-3</c:v>
                </c:pt>
                <c:pt idx="208">
                  <c:v>5.3305752239999997E-3</c:v>
                </c:pt>
                <c:pt idx="209">
                  <c:v>3.8314176239999998E-3</c:v>
                </c:pt>
                <c:pt idx="210">
                  <c:v>3.9109107779999996E-3</c:v>
                </c:pt>
                <c:pt idx="211">
                  <c:v>8.921933085E-3</c:v>
                </c:pt>
                <c:pt idx="212">
                  <c:v>7.2951207950000003E-3</c:v>
                </c:pt>
                <c:pt idx="213">
                  <c:v>2.9839128169999998E-3</c:v>
                </c:pt>
                <c:pt idx="214">
                  <c:v>2.0708399840000001E-3</c:v>
                </c:pt>
                <c:pt idx="215">
                  <c:v>2.1082749789999998E-3</c:v>
                </c:pt>
                <c:pt idx="216">
                  <c:v>1.9147435250000001E-3</c:v>
                </c:pt>
                <c:pt idx="217">
                  <c:v>3.2585305870000002E-3</c:v>
                </c:pt>
                <c:pt idx="218">
                  <c:v>5.9486537250000001E-3</c:v>
                </c:pt>
                <c:pt idx="219">
                  <c:v>4.9672790339999997E-3</c:v>
                </c:pt>
                <c:pt idx="220">
                  <c:v>3.360134405E-3</c:v>
                </c:pt>
                <c:pt idx="221">
                  <c:v>2.0200354529999998E-3</c:v>
                </c:pt>
                <c:pt idx="222">
                  <c:v>2.8272547350000001E-3</c:v>
                </c:pt>
                <c:pt idx="223">
                  <c:v>3.0608214839999998E-3</c:v>
                </c:pt>
                <c:pt idx="224">
                  <c:v>2.6899396249999998E-3</c:v>
                </c:pt>
                <c:pt idx="225">
                  <c:v>6.0128064959999996E-3</c:v>
                </c:pt>
                <c:pt idx="226">
                  <c:v>5.7624494709999996E-3</c:v>
                </c:pt>
                <c:pt idx="227">
                  <c:v>3.3420225919999999E-3</c:v>
                </c:pt>
                <c:pt idx="228">
                  <c:v>2.5405847649999998E-3</c:v>
                </c:pt>
                <c:pt idx="229">
                  <c:v>4.3771793150000002E-3</c:v>
                </c:pt>
                <c:pt idx="230">
                  <c:v>3.9201045360000002E-3</c:v>
                </c:pt>
                <c:pt idx="231">
                  <c:v>3.8922337770000001E-3</c:v>
                </c:pt>
                <c:pt idx="232">
                  <c:v>5.6002524049999997E-3</c:v>
                </c:pt>
                <c:pt idx="233">
                  <c:v>7.1863375039999998E-3</c:v>
                </c:pt>
                <c:pt idx="234">
                  <c:v>4.2776589530000002E-3</c:v>
                </c:pt>
                <c:pt idx="235">
                  <c:v>2.7401742260000001E-3</c:v>
                </c:pt>
                <c:pt idx="236">
                  <c:v>2.946568884E-3</c:v>
                </c:pt>
                <c:pt idx="237">
                  <c:v>2.307763315E-3</c:v>
                </c:pt>
                <c:pt idx="238">
                  <c:v>4.0312577520000004E-3</c:v>
                </c:pt>
                <c:pt idx="239">
                  <c:v>9.3654266949999999E-3</c:v>
                </c:pt>
                <c:pt idx="240">
                  <c:v>5.2617732170000004E-3</c:v>
                </c:pt>
                <c:pt idx="241">
                  <c:v>3.578194064E-3</c:v>
                </c:pt>
                <c:pt idx="242">
                  <c:v>2.5845550549999999E-3</c:v>
                </c:pt>
                <c:pt idx="243">
                  <c:v>2.672064777E-3</c:v>
                </c:pt>
                <c:pt idx="244">
                  <c:v>2.5120772939999998E-3</c:v>
                </c:pt>
                <c:pt idx="245">
                  <c:v>3.8364955350000001E-3</c:v>
                </c:pt>
                <c:pt idx="246">
                  <c:v>6.5324384779999996E-3</c:v>
                </c:pt>
                <c:pt idx="247">
                  <c:v>6.1266167460000001E-3</c:v>
                </c:pt>
                <c:pt idx="248">
                  <c:v>5.4095238090000001E-3</c:v>
                </c:pt>
                <c:pt idx="249">
                  <c:v>3.3568502500000001E-3</c:v>
                </c:pt>
                <c:pt idx="250">
                  <c:v>5.0075112659999999E-3</c:v>
                </c:pt>
                <c:pt idx="251">
                  <c:v>5.1632245159999998E-3</c:v>
                </c:pt>
                <c:pt idx="252">
                  <c:v>7.8263064879999997E-3</c:v>
                </c:pt>
                <c:pt idx="253">
                  <c:v>6.506825093E-3</c:v>
                </c:pt>
                <c:pt idx="254">
                  <c:v>5.7665539860000002E-3</c:v>
                </c:pt>
                <c:pt idx="255">
                  <c:v>4.7602046880000004E-3</c:v>
                </c:pt>
                <c:pt idx="256">
                  <c:v>7.8728461080000006E-3</c:v>
                </c:pt>
                <c:pt idx="257">
                  <c:v>1.2397899649E-2</c:v>
                </c:pt>
                <c:pt idx="258">
                  <c:v>8.1699346399999994E-3</c:v>
                </c:pt>
                <c:pt idx="259">
                  <c:v>8.5377508760000002E-3</c:v>
                </c:pt>
                <c:pt idx="260">
                  <c:v>1.6019292050000002E-2</c:v>
                </c:pt>
                <c:pt idx="261">
                  <c:v>1.1792686552E-2</c:v>
                </c:pt>
                <c:pt idx="262">
                  <c:v>9.7477490879999996E-3</c:v>
                </c:pt>
                <c:pt idx="263">
                  <c:v>9.2220828100000006E-3</c:v>
                </c:pt>
                <c:pt idx="264">
                  <c:v>1.1997363216E-2</c:v>
                </c:pt>
                <c:pt idx="265">
                  <c:v>8.6795937210000004E-3</c:v>
                </c:pt>
                <c:pt idx="266">
                  <c:v>1.6381572992999999E-2</c:v>
                </c:pt>
                <c:pt idx="267">
                  <c:v>2.125930941E-2</c:v>
                </c:pt>
                <c:pt idx="268">
                  <c:v>2.0661539885999999E-2</c:v>
                </c:pt>
                <c:pt idx="269">
                  <c:v>1.4586109877E-2</c:v>
                </c:pt>
                <c:pt idx="270">
                  <c:v>8.0714490399999995E-3</c:v>
                </c:pt>
                <c:pt idx="271">
                  <c:v>1.1898603206999999E-2</c:v>
                </c:pt>
                <c:pt idx="272">
                  <c:v>1.0747513634E-2</c:v>
                </c:pt>
                <c:pt idx="273">
                  <c:v>2.2483221476000001E-2</c:v>
                </c:pt>
                <c:pt idx="274">
                  <c:v>2.3579028083000001E-2</c:v>
                </c:pt>
                <c:pt idx="275">
                  <c:v>2.0445449798999999E-2</c:v>
                </c:pt>
                <c:pt idx="276">
                  <c:v>1.4E-2</c:v>
                </c:pt>
                <c:pt idx="277">
                  <c:v>8.9821671120000005E-3</c:v>
                </c:pt>
                <c:pt idx="278">
                  <c:v>1.7087224319000002E-2</c:v>
                </c:pt>
                <c:pt idx="279">
                  <c:v>1.2182566918E-2</c:v>
                </c:pt>
                <c:pt idx="280">
                  <c:v>2.0242914979E-2</c:v>
                </c:pt>
                <c:pt idx="281">
                  <c:v>2.6423625829999998E-2</c:v>
                </c:pt>
                <c:pt idx="282">
                  <c:v>1.9350380096E-2</c:v>
                </c:pt>
                <c:pt idx="283">
                  <c:v>2.3490831213999998E-2</c:v>
                </c:pt>
                <c:pt idx="284">
                  <c:v>1.6106742911000001E-2</c:v>
                </c:pt>
                <c:pt idx="285">
                  <c:v>2.2207084467999998E-2</c:v>
                </c:pt>
                <c:pt idx="286">
                  <c:v>2.0431893687000002E-2</c:v>
                </c:pt>
                <c:pt idx="287">
                  <c:v>2.468295174E-2</c:v>
                </c:pt>
                <c:pt idx="288">
                  <c:v>4.0798442063999997E-2</c:v>
                </c:pt>
                <c:pt idx="289">
                  <c:v>3.3950869173999997E-2</c:v>
                </c:pt>
                <c:pt idx="290">
                  <c:v>2.5117324343E-2</c:v>
                </c:pt>
                <c:pt idx="291">
                  <c:v>1.8418900889999999E-2</c:v>
                </c:pt>
                <c:pt idx="292">
                  <c:v>3.1357076108000002E-2</c:v>
                </c:pt>
                <c:pt idx="293">
                  <c:v>2.1070703917E-2</c:v>
                </c:pt>
                <c:pt idx="294">
                  <c:v>3.9948637465999998E-2</c:v>
                </c:pt>
                <c:pt idx="295">
                  <c:v>4.8169556840000002E-2</c:v>
                </c:pt>
                <c:pt idx="296">
                  <c:v>3.8037805867999999E-2</c:v>
                </c:pt>
                <c:pt idx="297">
                  <c:v>3.7960609910999997E-2</c:v>
                </c:pt>
                <c:pt idx="298">
                  <c:v>2.7387041773000002E-2</c:v>
                </c:pt>
                <c:pt idx="299">
                  <c:v>3.7037037037000002E-2</c:v>
                </c:pt>
                <c:pt idx="300">
                  <c:v>3.4390612292000002E-2</c:v>
                </c:pt>
                <c:pt idx="301">
                  <c:v>5.4304125129999999E-2</c:v>
                </c:pt>
                <c:pt idx="302">
                  <c:v>7.3019869724E-2</c:v>
                </c:pt>
                <c:pt idx="303">
                  <c:v>6.4433841938000003E-2</c:v>
                </c:pt>
                <c:pt idx="304">
                  <c:v>5.5121444243000001E-2</c:v>
                </c:pt>
                <c:pt idx="305">
                  <c:v>4.5689019896000001E-2</c:v>
                </c:pt>
                <c:pt idx="306">
                  <c:v>5.5462695637999999E-2</c:v>
                </c:pt>
                <c:pt idx="307">
                  <c:v>5.1857211770000002E-2</c:v>
                </c:pt>
                <c:pt idx="308">
                  <c:v>6.0814665499999997E-2</c:v>
                </c:pt>
                <c:pt idx="309">
                  <c:v>6.6224783861000003E-2</c:v>
                </c:pt>
                <c:pt idx="310">
                  <c:v>5.3574386521000002E-2</c:v>
                </c:pt>
                <c:pt idx="311">
                  <c:v>7.2682948851000004E-2</c:v>
                </c:pt>
                <c:pt idx="312">
                  <c:v>5.5035588184999998E-2</c:v>
                </c:pt>
                <c:pt idx="313">
                  <c:v>8.7548638132000006E-2</c:v>
                </c:pt>
                <c:pt idx="314">
                  <c:v>5.2400451011E-2</c:v>
                </c:pt>
                <c:pt idx="315">
                  <c:v>7.4664657120999997E-2</c:v>
                </c:pt>
                <c:pt idx="316">
                  <c:v>0.105886988212</c:v>
                </c:pt>
                <c:pt idx="317">
                  <c:v>0.12878316104099999</c:v>
                </c:pt>
                <c:pt idx="318">
                  <c:v>0.109701492537</c:v>
                </c:pt>
                <c:pt idx="319">
                  <c:v>8.6061200357000003E-2</c:v>
                </c:pt>
                <c:pt idx="320">
                  <c:v>8.8405797100999994E-2</c:v>
                </c:pt>
                <c:pt idx="321">
                  <c:v>7.7756104123000006E-2</c:v>
                </c:pt>
                <c:pt idx="322">
                  <c:v>9.8347182904999997E-2</c:v>
                </c:pt>
                <c:pt idx="323">
                  <c:v>0.13238843526899999</c:v>
                </c:pt>
                <c:pt idx="324">
                  <c:v>0.12868819509500001</c:v>
                </c:pt>
                <c:pt idx="325">
                  <c:v>9.4312697836000006E-2</c:v>
                </c:pt>
                <c:pt idx="326">
                  <c:v>0.102272260344</c:v>
                </c:pt>
                <c:pt idx="327">
                  <c:v>0.11879507848900001</c:v>
                </c:pt>
                <c:pt idx="328">
                  <c:v>0.120012230545</c:v>
                </c:pt>
                <c:pt idx="329">
                  <c:v>0.10055969286200001</c:v>
                </c:pt>
                <c:pt idx="330">
                  <c:v>0.149598123981</c:v>
                </c:pt>
                <c:pt idx="331">
                  <c:v>0.14798581273899999</c:v>
                </c:pt>
                <c:pt idx="332">
                  <c:v>0.120538603215</c:v>
                </c:pt>
                <c:pt idx="333">
                  <c:v>0.14003504858999999</c:v>
                </c:pt>
                <c:pt idx="334">
                  <c:v>0.13545316667499999</c:v>
                </c:pt>
                <c:pt idx="335">
                  <c:v>0.13346252685599999</c:v>
                </c:pt>
                <c:pt idx="336">
                  <c:v>0.116188789756</c:v>
                </c:pt>
                <c:pt idx="337">
                  <c:v>0.180432733762</c:v>
                </c:pt>
                <c:pt idx="338">
                  <c:v>0.12729719500299999</c:v>
                </c:pt>
                <c:pt idx="339">
                  <c:v>0.18716987218200001</c:v>
                </c:pt>
                <c:pt idx="340">
                  <c:v>0.14158603281400001</c:v>
                </c:pt>
                <c:pt idx="341">
                  <c:v>0.13362860223100001</c:v>
                </c:pt>
                <c:pt idx="342">
                  <c:v>0.14238437323399999</c:v>
                </c:pt>
                <c:pt idx="343">
                  <c:v>0.13632586974499999</c:v>
                </c:pt>
                <c:pt idx="344">
                  <c:v>0.144658261446</c:v>
                </c:pt>
                <c:pt idx="345">
                  <c:v>0.15011556962200001</c:v>
                </c:pt>
                <c:pt idx="346">
                  <c:v>0.13186099382899999</c:v>
                </c:pt>
                <c:pt idx="347">
                  <c:v>0.12890848232499999</c:v>
                </c:pt>
                <c:pt idx="348">
                  <c:v>0.126277603431</c:v>
                </c:pt>
                <c:pt idx="349">
                  <c:v>0.129422238882</c:v>
                </c:pt>
                <c:pt idx="350">
                  <c:v>0.12858481342600001</c:v>
                </c:pt>
                <c:pt idx="351">
                  <c:v>0.14361591923600001</c:v>
                </c:pt>
                <c:pt idx="352">
                  <c:v>0.13780289370599999</c:v>
                </c:pt>
                <c:pt idx="353">
                  <c:v>0.123870708693</c:v>
                </c:pt>
                <c:pt idx="354">
                  <c:v>0.10963543987799999</c:v>
                </c:pt>
                <c:pt idx="355">
                  <c:v>0.12690839694600001</c:v>
                </c:pt>
                <c:pt idx="356">
                  <c:v>0.12248845625800001</c:v>
                </c:pt>
                <c:pt idx="357">
                  <c:v>0.10956187516599999</c:v>
                </c:pt>
                <c:pt idx="358">
                  <c:v>0.13884935566199999</c:v>
                </c:pt>
                <c:pt idx="359">
                  <c:v>0.124474816502</c:v>
                </c:pt>
                <c:pt idx="360">
                  <c:v>9.6836794099999998E-2</c:v>
                </c:pt>
                <c:pt idx="361">
                  <c:v>9.6947122038999994E-2</c:v>
                </c:pt>
                <c:pt idx="362">
                  <c:v>0.112146385271</c:v>
                </c:pt>
                <c:pt idx="363">
                  <c:v>0.12354505169799999</c:v>
                </c:pt>
                <c:pt idx="364">
                  <c:v>9.9992968145E-2</c:v>
                </c:pt>
                <c:pt idx="365">
                  <c:v>0.13076450576400001</c:v>
                </c:pt>
                <c:pt idx="366">
                  <c:v>9.4298126526999995E-2</c:v>
                </c:pt>
                <c:pt idx="367">
                  <c:v>8.5087763164000005E-2</c:v>
                </c:pt>
                <c:pt idx="368">
                  <c:v>0.104318629153</c:v>
                </c:pt>
                <c:pt idx="369">
                  <c:v>7.5668404236999998E-2</c:v>
                </c:pt>
                <c:pt idx="370">
                  <c:v>8.9214250854000005E-2</c:v>
                </c:pt>
                <c:pt idx="371">
                  <c:v>0.106202602907</c:v>
                </c:pt>
                <c:pt idx="372">
                  <c:v>0.13502849627300001</c:v>
                </c:pt>
                <c:pt idx="373">
                  <c:v>0.125970359915</c:v>
                </c:pt>
                <c:pt idx="374">
                  <c:v>0.128930450029</c:v>
                </c:pt>
                <c:pt idx="375">
                  <c:v>0.13584353379399999</c:v>
                </c:pt>
                <c:pt idx="376">
                  <c:v>0.114020731042</c:v>
                </c:pt>
                <c:pt idx="377">
                  <c:v>8.9557064337999995E-2</c:v>
                </c:pt>
                <c:pt idx="378">
                  <c:v>9.8775335579000006E-2</c:v>
                </c:pt>
                <c:pt idx="379">
                  <c:v>0.121386138613</c:v>
                </c:pt>
                <c:pt idx="380">
                  <c:v>0.120132638559</c:v>
                </c:pt>
                <c:pt idx="381">
                  <c:v>9.8325857096999994E-2</c:v>
                </c:pt>
                <c:pt idx="382">
                  <c:v>8.7025567730000003E-2</c:v>
                </c:pt>
                <c:pt idx="383">
                  <c:v>9.5476317189000001E-2</c:v>
                </c:pt>
                <c:pt idx="384">
                  <c:v>0.11034198599</c:v>
                </c:pt>
                <c:pt idx="385">
                  <c:v>8.2568126128999997E-2</c:v>
                </c:pt>
                <c:pt idx="386">
                  <c:v>0.14018395950900001</c:v>
                </c:pt>
                <c:pt idx="387">
                  <c:v>0.15149293130700001</c:v>
                </c:pt>
                <c:pt idx="388">
                  <c:v>0.148408200095</c:v>
                </c:pt>
                <c:pt idx="389">
                  <c:v>0.152218667063</c:v>
                </c:pt>
                <c:pt idx="390">
                  <c:v>0.14644538363699999</c:v>
                </c:pt>
                <c:pt idx="391">
                  <c:v>0.20924911182</c:v>
                </c:pt>
                <c:pt idx="392">
                  <c:v>0.17212223698500001</c:v>
                </c:pt>
                <c:pt idx="393">
                  <c:v>0.24869917576</c:v>
                </c:pt>
                <c:pt idx="394">
                  <c:v>0.100580818812</c:v>
                </c:pt>
                <c:pt idx="395">
                  <c:v>0.132171959758</c:v>
                </c:pt>
                <c:pt idx="396">
                  <c:v>9.5260389412999996E-2</c:v>
                </c:pt>
                <c:pt idx="397">
                  <c:v>8.6032980156E-2</c:v>
                </c:pt>
                <c:pt idx="398">
                  <c:v>0.105238375515</c:v>
                </c:pt>
                <c:pt idx="399">
                  <c:v>7.6500857631999999E-2</c:v>
                </c:pt>
                <c:pt idx="400">
                  <c:v>9.0131317150000001E-2</c:v>
                </c:pt>
                <c:pt idx="401">
                  <c:v>0.106962258464</c:v>
                </c:pt>
                <c:pt idx="402">
                  <c:v>0.13569261191199999</c:v>
                </c:pt>
                <c:pt idx="403">
                  <c:v>0.1272643772</c:v>
                </c:pt>
                <c:pt idx="404">
                  <c:v>0.12981025004399999</c:v>
                </c:pt>
                <c:pt idx="405">
                  <c:v>0.13741230437099999</c:v>
                </c:pt>
                <c:pt idx="406">
                  <c:v>0.11522520033100001</c:v>
                </c:pt>
                <c:pt idx="407">
                  <c:v>9.0660841069999998E-2</c:v>
                </c:pt>
                <c:pt idx="408">
                  <c:v>9.9926664311999994E-2</c:v>
                </c:pt>
                <c:pt idx="409">
                  <c:v>0.122533609791</c:v>
                </c:pt>
                <c:pt idx="410">
                  <c:v>0.121299361834</c:v>
                </c:pt>
                <c:pt idx="411">
                  <c:v>9.9652564888000006E-2</c:v>
                </c:pt>
                <c:pt idx="412">
                  <c:v>8.8042985692999995E-2</c:v>
                </c:pt>
                <c:pt idx="413">
                  <c:v>9.5925986041E-2</c:v>
                </c:pt>
                <c:pt idx="414">
                  <c:v>0.10985164193999999</c:v>
                </c:pt>
                <c:pt idx="415">
                  <c:v>8.2030364830999999E-2</c:v>
                </c:pt>
                <c:pt idx="416">
                  <c:v>0.139163685703</c:v>
                </c:pt>
                <c:pt idx="417">
                  <c:v>0.15074911956000001</c:v>
                </c:pt>
                <c:pt idx="418">
                  <c:v>0.14889962738699999</c:v>
                </c:pt>
                <c:pt idx="419">
                  <c:v>0.15782130546500001</c:v>
                </c:pt>
                <c:pt idx="420">
                  <c:v>0.16491332680199999</c:v>
                </c:pt>
              </c:numCache>
            </c:numRef>
          </c:val>
          <c:smooth val="0"/>
          <c:extLst>
            <c:ext xmlns:c16="http://schemas.microsoft.com/office/drawing/2014/chart" uri="{C3380CC4-5D6E-409C-BE32-E72D297353CC}">
              <c16:uniqueId val="{00000001-B2C4-4F8B-BFF0-E6161AC7AB47}"/>
            </c:ext>
          </c:extLst>
        </c:ser>
        <c:dLbls>
          <c:showLegendKey val="0"/>
          <c:showVal val="0"/>
          <c:showCatName val="0"/>
          <c:showSerName val="0"/>
          <c:showPercent val="0"/>
          <c:showBubbleSize val="0"/>
        </c:dLbls>
        <c:marker val="1"/>
        <c:smooth val="0"/>
        <c:axId val="414862472"/>
        <c:axId val="414859336"/>
      </c:lineChart>
      <c:dateAx>
        <c:axId val="414862472"/>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414859336"/>
        <c:crosses val="autoZero"/>
        <c:auto val="1"/>
        <c:lblOffset val="100"/>
        <c:baseTimeUnit val="days"/>
        <c:majorUnit val="7"/>
        <c:majorTimeUnit val="days"/>
      </c:dateAx>
      <c:valAx>
        <c:axId val="414859336"/>
        <c:scaling>
          <c:orientation val="minMax"/>
          <c:max val="0.5"/>
        </c:scaling>
        <c:delete val="0"/>
        <c:axPos val="l"/>
        <c:numFmt formatCode="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48624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D$1</c:f>
              <c:strCache>
                <c:ptCount val="1"/>
                <c:pt idx="0">
                  <c:v>5–11 let</c:v>
                </c:pt>
              </c:strCache>
            </c:strRef>
          </c:tx>
          <c:spPr>
            <a:ln w="28575" cap="rnd">
              <a:solidFill>
                <a:schemeClr val="accent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10-10F9-46B3-99E7-840FEC3209CF}"/>
                </c:ext>
              </c:extLst>
            </c:dLbl>
            <c:dLbl>
              <c:idx val="1"/>
              <c:delete val="1"/>
              <c:extLst>
                <c:ext xmlns:c15="http://schemas.microsoft.com/office/drawing/2012/chart" uri="{CE6537A1-D6FC-4f65-9D91-7224C49458BB}"/>
                <c:ext xmlns:c16="http://schemas.microsoft.com/office/drawing/2014/chart" uri="{C3380CC4-5D6E-409C-BE32-E72D297353CC}">
                  <c16:uniqueId val="{0000000F-10F9-46B3-99E7-840FEC3209CF}"/>
                </c:ext>
              </c:extLst>
            </c:dLbl>
            <c:dLbl>
              <c:idx val="2"/>
              <c:delete val="1"/>
              <c:extLst>
                <c:ext xmlns:c15="http://schemas.microsoft.com/office/drawing/2012/chart" uri="{CE6537A1-D6FC-4f65-9D91-7224C49458BB}"/>
                <c:ext xmlns:c16="http://schemas.microsoft.com/office/drawing/2014/chart" uri="{C3380CC4-5D6E-409C-BE32-E72D297353CC}">
                  <c16:uniqueId val="{0000000E-10F9-46B3-99E7-840FEC3209CF}"/>
                </c:ext>
              </c:extLst>
            </c:dLbl>
            <c:dLbl>
              <c:idx val="3"/>
              <c:delete val="1"/>
              <c:extLst>
                <c:ext xmlns:c15="http://schemas.microsoft.com/office/drawing/2012/chart" uri="{CE6537A1-D6FC-4f65-9D91-7224C49458BB}"/>
                <c:ext xmlns:c16="http://schemas.microsoft.com/office/drawing/2014/chart" uri="{C3380CC4-5D6E-409C-BE32-E72D297353CC}">
                  <c16:uniqueId val="{0000000D-10F9-46B3-99E7-840FEC3209CF}"/>
                </c:ext>
              </c:extLst>
            </c:dLbl>
            <c:dLbl>
              <c:idx val="4"/>
              <c:delete val="1"/>
              <c:extLst>
                <c:ext xmlns:c15="http://schemas.microsoft.com/office/drawing/2012/chart" uri="{CE6537A1-D6FC-4f65-9D91-7224C49458BB}"/>
                <c:ext xmlns:c16="http://schemas.microsoft.com/office/drawing/2014/chart" uri="{C3380CC4-5D6E-409C-BE32-E72D297353CC}">
                  <c16:uniqueId val="{0000000C-10F9-46B3-99E7-840FEC3209CF}"/>
                </c:ext>
              </c:extLst>
            </c:dLbl>
            <c:dLbl>
              <c:idx val="5"/>
              <c:delete val="1"/>
              <c:extLst>
                <c:ext xmlns:c15="http://schemas.microsoft.com/office/drawing/2012/chart" uri="{CE6537A1-D6FC-4f65-9D91-7224C49458BB}"/>
                <c:ext xmlns:c16="http://schemas.microsoft.com/office/drawing/2014/chart" uri="{C3380CC4-5D6E-409C-BE32-E72D297353CC}">
                  <c16:uniqueId val="{00000012-10F9-46B3-99E7-840FEC3209CF}"/>
                </c:ext>
              </c:extLst>
            </c:dLbl>
            <c:dLbl>
              <c:idx val="6"/>
              <c:delete val="1"/>
              <c:extLst>
                <c:ext xmlns:c15="http://schemas.microsoft.com/office/drawing/2012/chart" uri="{CE6537A1-D6FC-4f65-9D91-7224C49458BB}"/>
                <c:ext xmlns:c16="http://schemas.microsoft.com/office/drawing/2014/chart" uri="{C3380CC4-5D6E-409C-BE32-E72D297353CC}">
                  <c16:uniqueId val="{00000011-10F9-46B3-99E7-840FEC3209CF}"/>
                </c:ext>
              </c:extLst>
            </c:dLbl>
            <c:dLbl>
              <c:idx val="7"/>
              <c:delete val="1"/>
              <c:extLst>
                <c:ext xmlns:c15="http://schemas.microsoft.com/office/drawing/2012/chart" uri="{CE6537A1-D6FC-4f65-9D91-7224C49458BB}"/>
                <c:ext xmlns:c16="http://schemas.microsoft.com/office/drawing/2014/chart" uri="{C3380CC4-5D6E-409C-BE32-E72D297353CC}">
                  <c16:uniqueId val="{0000000B-10F9-46B3-99E7-840FEC3209CF}"/>
                </c:ext>
              </c:extLst>
            </c:dLbl>
            <c:dLbl>
              <c:idx val="8"/>
              <c:delete val="1"/>
              <c:extLst>
                <c:ext xmlns:c15="http://schemas.microsoft.com/office/drawing/2012/chart" uri="{CE6537A1-D6FC-4f65-9D91-7224C49458BB}"/>
                <c:ext xmlns:c16="http://schemas.microsoft.com/office/drawing/2014/chart" uri="{C3380CC4-5D6E-409C-BE32-E72D297353CC}">
                  <c16:uniqueId val="{0000000A-10F9-46B3-99E7-840FEC3209CF}"/>
                </c:ext>
              </c:extLst>
            </c:dLbl>
            <c:dLbl>
              <c:idx val="9"/>
              <c:delete val="1"/>
              <c:extLst>
                <c:ext xmlns:c15="http://schemas.microsoft.com/office/drawing/2012/chart" uri="{CE6537A1-D6FC-4f65-9D91-7224C49458BB}"/>
                <c:ext xmlns:c16="http://schemas.microsoft.com/office/drawing/2014/chart" uri="{C3380CC4-5D6E-409C-BE32-E72D297353CC}">
                  <c16:uniqueId val="{00000008-10F9-46B3-99E7-840FEC3209CF}"/>
                </c:ext>
              </c:extLst>
            </c:dLbl>
            <c:dLbl>
              <c:idx val="10"/>
              <c:delete val="1"/>
              <c:extLst>
                <c:ext xmlns:c15="http://schemas.microsoft.com/office/drawing/2012/chart" uri="{CE6537A1-D6FC-4f65-9D91-7224C49458BB}"/>
                <c:ext xmlns:c16="http://schemas.microsoft.com/office/drawing/2014/chart" uri="{C3380CC4-5D6E-409C-BE32-E72D297353CC}">
                  <c16:uniqueId val="{00000007-10F9-46B3-99E7-840FEC3209CF}"/>
                </c:ext>
              </c:extLst>
            </c:dLbl>
            <c:dLbl>
              <c:idx val="11"/>
              <c:delete val="1"/>
              <c:extLst>
                <c:ext xmlns:c15="http://schemas.microsoft.com/office/drawing/2012/chart" uri="{CE6537A1-D6FC-4f65-9D91-7224C49458BB}"/>
                <c:ext xmlns:c16="http://schemas.microsoft.com/office/drawing/2014/chart" uri="{C3380CC4-5D6E-409C-BE32-E72D297353CC}">
                  <c16:uniqueId val="{00000009-10F9-46B3-99E7-840FEC3209CF}"/>
                </c:ext>
              </c:extLst>
            </c:dLbl>
            <c:dLbl>
              <c:idx val="12"/>
              <c:delete val="1"/>
              <c:extLst>
                <c:ext xmlns:c15="http://schemas.microsoft.com/office/drawing/2012/chart" uri="{CE6537A1-D6FC-4f65-9D91-7224C49458BB}"/>
                <c:ext xmlns:c16="http://schemas.microsoft.com/office/drawing/2014/chart" uri="{C3380CC4-5D6E-409C-BE32-E72D297353CC}">
                  <c16:uniqueId val="{00000006-10F9-46B3-99E7-840FEC3209CF}"/>
                </c:ext>
              </c:extLst>
            </c:dLbl>
            <c:dLbl>
              <c:idx val="13"/>
              <c:delete val="1"/>
              <c:extLst>
                <c:ext xmlns:c15="http://schemas.microsoft.com/office/drawing/2012/chart" uri="{CE6537A1-D6FC-4f65-9D91-7224C49458BB}"/>
                <c:ext xmlns:c16="http://schemas.microsoft.com/office/drawing/2014/chart" uri="{C3380CC4-5D6E-409C-BE32-E72D297353CC}">
                  <c16:uniqueId val="{00000005-10F9-46B3-99E7-840FEC3209CF}"/>
                </c:ext>
              </c:extLst>
            </c:dLbl>
            <c:dLbl>
              <c:idx val="14"/>
              <c:delete val="1"/>
              <c:extLst>
                <c:ext xmlns:c15="http://schemas.microsoft.com/office/drawing/2012/chart" uri="{CE6537A1-D6FC-4f65-9D91-7224C49458BB}"/>
                <c:ext xmlns:c16="http://schemas.microsoft.com/office/drawing/2014/chart" uri="{C3380CC4-5D6E-409C-BE32-E72D297353CC}">
                  <c16:uniqueId val="{00000004-10F9-46B3-99E7-840FEC3209CF}"/>
                </c:ext>
              </c:extLst>
            </c:dLbl>
            <c:dLbl>
              <c:idx val="15"/>
              <c:delete val="1"/>
              <c:extLst>
                <c:ext xmlns:c15="http://schemas.microsoft.com/office/drawing/2012/chart" uri="{CE6537A1-D6FC-4f65-9D91-7224C49458BB}"/>
                <c:ext xmlns:c16="http://schemas.microsoft.com/office/drawing/2014/chart" uri="{C3380CC4-5D6E-409C-BE32-E72D297353CC}">
                  <c16:uniqueId val="{00000003-10F9-46B3-99E7-840FEC3209CF}"/>
                </c:ext>
              </c:extLst>
            </c:dLbl>
            <c:dLbl>
              <c:idx val="16"/>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dLblPos val="t"/>
              <c:showLegendKey val="0"/>
              <c:showVal val="1"/>
              <c:showCatName val="0"/>
              <c:showSerName val="0"/>
              <c:showPercent val="0"/>
              <c:showBubbleSize val="0"/>
              <c:extLst>
                <c:ext xmlns:c16="http://schemas.microsoft.com/office/drawing/2014/chart" uri="{C3380CC4-5D6E-409C-BE32-E72D297353CC}">
                  <c16:uniqueId val="{00000000-10F9-46B3-99E7-840FEC3209CF}"/>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D$2:$D$18</c:f>
              <c:numCache>
                <c:formatCode>General</c:formatCode>
                <c:ptCount val="17"/>
                <c:pt idx="0">
                  <c:v>1.109813084112</c:v>
                </c:pt>
                <c:pt idx="1">
                  <c:v>3.3707865168529998</c:v>
                </c:pt>
                <c:pt idx="2">
                  <c:v>4.0281329923270004</c:v>
                </c:pt>
                <c:pt idx="3">
                  <c:v>9.0203685741990007</c:v>
                </c:pt>
                <c:pt idx="4">
                  <c:v>11.352578657152</c:v>
                </c:pt>
                <c:pt idx="5">
                  <c:v>17.856029915861001</c:v>
                </c:pt>
                <c:pt idx="6">
                  <c:v>25.311984930539001</c:v>
                </c:pt>
                <c:pt idx="7">
                  <c:v>28.019085225403</c:v>
                </c:pt>
                <c:pt idx="8">
                  <c:v>32.394366197182997</c:v>
                </c:pt>
                <c:pt idx="9">
                  <c:v>31.662000509035</c:v>
                </c:pt>
                <c:pt idx="10">
                  <c:v>31.635872014419999</c:v>
                </c:pt>
                <c:pt idx="11">
                  <c:v>29.666666666666</c:v>
                </c:pt>
                <c:pt idx="12">
                  <c:v>25.230263157894001</c:v>
                </c:pt>
                <c:pt idx="13">
                  <c:v>17.97385620915</c:v>
                </c:pt>
                <c:pt idx="14">
                  <c:v>20.047923322683001</c:v>
                </c:pt>
                <c:pt idx="15">
                  <c:v>17.857142857142001</c:v>
                </c:pt>
                <c:pt idx="16">
                  <c:v>28.722440350347</c:v>
                </c:pt>
              </c:numCache>
            </c:numRef>
          </c:val>
          <c:smooth val="0"/>
          <c:extLst>
            <c:ext xmlns:c16="http://schemas.microsoft.com/office/drawing/2014/chart" uri="{C3380CC4-5D6E-409C-BE32-E72D297353CC}">
              <c16:uniqueId val="{00000001-10F9-46B3-99E7-840FEC3209CF}"/>
            </c:ext>
          </c:extLst>
        </c:ser>
        <c:dLbls>
          <c:dLblPos val="t"/>
          <c:showLegendKey val="0"/>
          <c:showVal val="1"/>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F$1</c:f>
              <c:strCache>
                <c:ptCount val="1"/>
                <c:pt idx="0">
                  <c:v>12–19 let</c:v>
                </c:pt>
              </c:strCache>
            </c:strRef>
          </c:tx>
          <c:spPr>
            <a:ln w="28575" cap="rnd">
              <a:solidFill>
                <a:schemeClr val="accent1"/>
              </a:solidFill>
              <a:round/>
            </a:ln>
            <a:effectLst/>
          </c:spPr>
          <c:marker>
            <c:symbol val="none"/>
          </c:marker>
          <c:dLbls>
            <c:dLbl>
              <c:idx val="16"/>
              <c:layout>
                <c:manualLayout>
                  <c:x val="-0.17983241908772449"/>
                  <c:y val="0"/>
                </c:manualLayout>
              </c:layout>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F28-4E8F-8E0F-2E876C5F31D9}"/>
                </c:ext>
              </c:extLst>
            </c:dLbl>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F$2:$F$18</c:f>
              <c:numCache>
                <c:formatCode>General</c:formatCode>
                <c:ptCount val="17"/>
                <c:pt idx="0">
                  <c:v>2.8730305838730001</c:v>
                </c:pt>
                <c:pt idx="1">
                  <c:v>6.219017575484</c:v>
                </c:pt>
                <c:pt idx="2">
                  <c:v>8.1120231772090001</c:v>
                </c:pt>
                <c:pt idx="3">
                  <c:v>12.263009277934</c:v>
                </c:pt>
                <c:pt idx="4">
                  <c:v>20.603156708004001</c:v>
                </c:pt>
                <c:pt idx="5">
                  <c:v>29.226640644059</c:v>
                </c:pt>
                <c:pt idx="6">
                  <c:v>30.130636325326002</c:v>
                </c:pt>
                <c:pt idx="7">
                  <c:v>30.416666666666</c:v>
                </c:pt>
                <c:pt idx="8">
                  <c:v>36.299765807961997</c:v>
                </c:pt>
                <c:pt idx="9">
                  <c:v>30.446549391068999</c:v>
                </c:pt>
                <c:pt idx="10">
                  <c:v>29.585661080074001</c:v>
                </c:pt>
                <c:pt idx="11">
                  <c:v>25.322503583372999</c:v>
                </c:pt>
                <c:pt idx="12">
                  <c:v>20.561188398961999</c:v>
                </c:pt>
                <c:pt idx="13">
                  <c:v>16.109563602599</c:v>
                </c:pt>
                <c:pt idx="14">
                  <c:v>18.296795952781999</c:v>
                </c:pt>
                <c:pt idx="15">
                  <c:v>17.445652173913</c:v>
                </c:pt>
                <c:pt idx="16">
                  <c:v>32.416267942582998</c:v>
                </c:pt>
              </c:numCache>
            </c:numRef>
          </c:val>
          <c:smooth val="0"/>
          <c:extLst>
            <c:ext xmlns:c16="http://schemas.microsoft.com/office/drawing/2014/chart" uri="{C3380CC4-5D6E-409C-BE32-E72D297353CC}">
              <c16:uniqueId val="{00000001-BF28-4E8F-8E0F-2E876C5F31D9}"/>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B$1</c:f>
              <c:strCache>
                <c:ptCount val="1"/>
                <c:pt idx="0">
                  <c:v>0–4 roky</c:v>
                </c:pt>
              </c:strCache>
            </c:strRef>
          </c:tx>
          <c:spPr>
            <a:ln w="28575" cap="rnd">
              <a:solidFill>
                <a:schemeClr val="accent1"/>
              </a:solidFill>
              <a:round/>
            </a:ln>
            <a:effectLst/>
          </c:spPr>
          <c:marker>
            <c:symbol val="none"/>
          </c:marker>
          <c:dLbls>
            <c:dLbl>
              <c:idx val="16"/>
              <c:layout>
                <c:manualLayout>
                  <c:x val="-4.691280497940653E-2"/>
                  <c:y val="-8.9243512370193817E-2"/>
                </c:manualLayout>
              </c:layout>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429-49AD-8C08-50BB1E9D69D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B$2:$B$18</c:f>
              <c:numCache>
                <c:formatCode>General</c:formatCode>
                <c:ptCount val="17"/>
                <c:pt idx="0">
                  <c:v>1.171875</c:v>
                </c:pt>
                <c:pt idx="1">
                  <c:v>2.4</c:v>
                </c:pt>
                <c:pt idx="2">
                  <c:v>1.853658536585</c:v>
                </c:pt>
                <c:pt idx="3">
                  <c:v>1.9884009942</c:v>
                </c:pt>
                <c:pt idx="4">
                  <c:v>4.9504950495040001</c:v>
                </c:pt>
                <c:pt idx="5">
                  <c:v>6.8823124569849998</c:v>
                </c:pt>
                <c:pt idx="6">
                  <c:v>12.518409425625</c:v>
                </c:pt>
                <c:pt idx="7">
                  <c:v>13.092633114513999</c:v>
                </c:pt>
                <c:pt idx="8">
                  <c:v>16.666666666666</c:v>
                </c:pt>
                <c:pt idx="9">
                  <c:v>17.741503880117001</c:v>
                </c:pt>
                <c:pt idx="10">
                  <c:v>20.834524149757002</c:v>
                </c:pt>
                <c:pt idx="11">
                  <c:v>17.235376044568</c:v>
                </c:pt>
                <c:pt idx="12">
                  <c:v>16.932270916334001</c:v>
                </c:pt>
                <c:pt idx="13">
                  <c:v>13.100775193798</c:v>
                </c:pt>
                <c:pt idx="14">
                  <c:v>17.604355716878</c:v>
                </c:pt>
                <c:pt idx="15">
                  <c:v>16.354759967452999</c:v>
                </c:pt>
                <c:pt idx="16">
                  <c:v>20.686498855835001</c:v>
                </c:pt>
              </c:numCache>
            </c:numRef>
          </c:val>
          <c:smooth val="0"/>
          <c:extLst>
            <c:ext xmlns:c16="http://schemas.microsoft.com/office/drawing/2014/chart" uri="{C3380CC4-5D6E-409C-BE32-E72D297353CC}">
              <c16:uniqueId val="{00000001-0429-49AD-8C08-50BB1E9D69DA}"/>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D$1</c:f>
              <c:strCache>
                <c:ptCount val="1"/>
                <c:pt idx="0">
                  <c:v>5–11 let</c:v>
                </c:pt>
              </c:strCache>
            </c:strRef>
          </c:tx>
          <c:spPr>
            <a:ln w="28575" cap="rnd">
              <a:solidFill>
                <a:schemeClr val="accent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F-901A-4BE3-82A4-0D0296CD283C}"/>
                </c:ext>
              </c:extLst>
            </c:dLbl>
            <c:dLbl>
              <c:idx val="1"/>
              <c:delete val="1"/>
              <c:extLst>
                <c:ext xmlns:c15="http://schemas.microsoft.com/office/drawing/2012/chart" uri="{CE6537A1-D6FC-4f65-9D91-7224C49458BB}"/>
                <c:ext xmlns:c16="http://schemas.microsoft.com/office/drawing/2014/chart" uri="{C3380CC4-5D6E-409C-BE32-E72D297353CC}">
                  <c16:uniqueId val="{0000000E-901A-4BE3-82A4-0D0296CD283C}"/>
                </c:ext>
              </c:extLst>
            </c:dLbl>
            <c:dLbl>
              <c:idx val="2"/>
              <c:delete val="1"/>
              <c:extLst>
                <c:ext xmlns:c15="http://schemas.microsoft.com/office/drawing/2012/chart" uri="{CE6537A1-D6FC-4f65-9D91-7224C49458BB}"/>
                <c:ext xmlns:c16="http://schemas.microsoft.com/office/drawing/2014/chart" uri="{C3380CC4-5D6E-409C-BE32-E72D297353CC}">
                  <c16:uniqueId val="{0000000C-901A-4BE3-82A4-0D0296CD283C}"/>
                </c:ext>
              </c:extLst>
            </c:dLbl>
            <c:dLbl>
              <c:idx val="3"/>
              <c:delete val="1"/>
              <c:extLst>
                <c:ext xmlns:c15="http://schemas.microsoft.com/office/drawing/2012/chart" uri="{CE6537A1-D6FC-4f65-9D91-7224C49458BB}"/>
                <c:ext xmlns:c16="http://schemas.microsoft.com/office/drawing/2014/chart" uri="{C3380CC4-5D6E-409C-BE32-E72D297353CC}">
                  <c16:uniqueId val="{0000000B-901A-4BE3-82A4-0D0296CD283C}"/>
                </c:ext>
              </c:extLst>
            </c:dLbl>
            <c:dLbl>
              <c:idx val="4"/>
              <c:delete val="1"/>
              <c:extLst>
                <c:ext xmlns:c15="http://schemas.microsoft.com/office/drawing/2012/chart" uri="{CE6537A1-D6FC-4f65-9D91-7224C49458BB}"/>
                <c:ext xmlns:c16="http://schemas.microsoft.com/office/drawing/2014/chart" uri="{C3380CC4-5D6E-409C-BE32-E72D297353CC}">
                  <c16:uniqueId val="{0000000D-901A-4BE3-82A4-0D0296CD283C}"/>
                </c:ext>
              </c:extLst>
            </c:dLbl>
            <c:dLbl>
              <c:idx val="5"/>
              <c:delete val="1"/>
              <c:extLst>
                <c:ext xmlns:c15="http://schemas.microsoft.com/office/drawing/2012/chart" uri="{CE6537A1-D6FC-4f65-9D91-7224C49458BB}"/>
                <c:ext xmlns:c16="http://schemas.microsoft.com/office/drawing/2014/chart" uri="{C3380CC4-5D6E-409C-BE32-E72D297353CC}">
                  <c16:uniqueId val="{0000000A-901A-4BE3-82A4-0D0296CD283C}"/>
                </c:ext>
              </c:extLst>
            </c:dLbl>
            <c:dLbl>
              <c:idx val="6"/>
              <c:delete val="1"/>
              <c:extLst>
                <c:ext xmlns:c15="http://schemas.microsoft.com/office/drawing/2012/chart" uri="{CE6537A1-D6FC-4f65-9D91-7224C49458BB}"/>
                <c:ext xmlns:c16="http://schemas.microsoft.com/office/drawing/2014/chart" uri="{C3380CC4-5D6E-409C-BE32-E72D297353CC}">
                  <c16:uniqueId val="{00000008-901A-4BE3-82A4-0D0296CD283C}"/>
                </c:ext>
              </c:extLst>
            </c:dLbl>
            <c:dLbl>
              <c:idx val="7"/>
              <c:delete val="1"/>
              <c:extLst>
                <c:ext xmlns:c15="http://schemas.microsoft.com/office/drawing/2012/chart" uri="{CE6537A1-D6FC-4f65-9D91-7224C49458BB}"/>
                <c:ext xmlns:c16="http://schemas.microsoft.com/office/drawing/2014/chart" uri="{C3380CC4-5D6E-409C-BE32-E72D297353CC}">
                  <c16:uniqueId val="{00000007-901A-4BE3-82A4-0D0296CD283C}"/>
                </c:ext>
              </c:extLst>
            </c:dLbl>
            <c:dLbl>
              <c:idx val="8"/>
              <c:delete val="1"/>
              <c:extLst>
                <c:ext xmlns:c15="http://schemas.microsoft.com/office/drawing/2012/chart" uri="{CE6537A1-D6FC-4f65-9D91-7224C49458BB}"/>
                <c:ext xmlns:c16="http://schemas.microsoft.com/office/drawing/2014/chart" uri="{C3380CC4-5D6E-409C-BE32-E72D297353CC}">
                  <c16:uniqueId val="{00000009-901A-4BE3-82A4-0D0296CD283C}"/>
                </c:ext>
              </c:extLst>
            </c:dLbl>
            <c:dLbl>
              <c:idx val="9"/>
              <c:delete val="1"/>
              <c:extLst>
                <c:ext xmlns:c15="http://schemas.microsoft.com/office/drawing/2012/chart" uri="{CE6537A1-D6FC-4f65-9D91-7224C49458BB}"/>
                <c:ext xmlns:c16="http://schemas.microsoft.com/office/drawing/2014/chart" uri="{C3380CC4-5D6E-409C-BE32-E72D297353CC}">
                  <c16:uniqueId val="{00000005-901A-4BE3-82A4-0D0296CD283C}"/>
                </c:ext>
              </c:extLst>
            </c:dLbl>
            <c:dLbl>
              <c:idx val="10"/>
              <c:delete val="1"/>
              <c:extLst>
                <c:ext xmlns:c15="http://schemas.microsoft.com/office/drawing/2012/chart" uri="{CE6537A1-D6FC-4f65-9D91-7224C49458BB}"/>
                <c:ext xmlns:c16="http://schemas.microsoft.com/office/drawing/2014/chart" uri="{C3380CC4-5D6E-409C-BE32-E72D297353CC}">
                  <c16:uniqueId val="{00000006-901A-4BE3-82A4-0D0296CD283C}"/>
                </c:ext>
              </c:extLst>
            </c:dLbl>
            <c:dLbl>
              <c:idx val="11"/>
              <c:delete val="1"/>
              <c:extLst>
                <c:ext xmlns:c15="http://schemas.microsoft.com/office/drawing/2012/chart" uri="{CE6537A1-D6FC-4f65-9D91-7224C49458BB}"/>
                <c:ext xmlns:c16="http://schemas.microsoft.com/office/drawing/2014/chart" uri="{C3380CC4-5D6E-409C-BE32-E72D297353CC}">
                  <c16:uniqueId val="{00000004-901A-4BE3-82A4-0D0296CD283C}"/>
                </c:ext>
              </c:extLst>
            </c:dLbl>
            <c:dLbl>
              <c:idx val="12"/>
              <c:delete val="1"/>
              <c:extLst>
                <c:ext xmlns:c15="http://schemas.microsoft.com/office/drawing/2012/chart" uri="{CE6537A1-D6FC-4f65-9D91-7224C49458BB}"/>
                <c:ext xmlns:c16="http://schemas.microsoft.com/office/drawing/2014/chart" uri="{C3380CC4-5D6E-409C-BE32-E72D297353CC}">
                  <c16:uniqueId val="{00000003-901A-4BE3-82A4-0D0296CD283C}"/>
                </c:ext>
              </c:extLst>
            </c:dLbl>
            <c:dLbl>
              <c:idx val="13"/>
              <c:delete val="1"/>
              <c:extLst>
                <c:ext xmlns:c15="http://schemas.microsoft.com/office/drawing/2012/chart" uri="{CE6537A1-D6FC-4f65-9D91-7224C49458BB}"/>
                <c:ext xmlns:c16="http://schemas.microsoft.com/office/drawing/2014/chart" uri="{C3380CC4-5D6E-409C-BE32-E72D297353CC}">
                  <c16:uniqueId val="{00000002-901A-4BE3-82A4-0D0296CD283C}"/>
                </c:ext>
              </c:extLst>
            </c:dLbl>
            <c:dLbl>
              <c:idx val="14"/>
              <c:delete val="1"/>
              <c:extLst>
                <c:ext xmlns:c15="http://schemas.microsoft.com/office/drawing/2012/chart" uri="{CE6537A1-D6FC-4f65-9D91-7224C49458BB}"/>
                <c:ext xmlns:c16="http://schemas.microsoft.com/office/drawing/2014/chart" uri="{C3380CC4-5D6E-409C-BE32-E72D297353CC}">
                  <c16:uniqueId val="{00000001-901A-4BE3-82A4-0D0296CD283C}"/>
                </c:ext>
              </c:extLst>
            </c:dLbl>
            <c:dLbl>
              <c:idx val="15"/>
              <c:delete val="1"/>
              <c:extLst>
                <c:ext xmlns:c15="http://schemas.microsoft.com/office/drawing/2012/chart" uri="{CE6537A1-D6FC-4f65-9D91-7224C49458BB}"/>
                <c:ext xmlns:c16="http://schemas.microsoft.com/office/drawing/2014/chart" uri="{C3380CC4-5D6E-409C-BE32-E72D297353CC}">
                  <c16:uniqueId val="{00000000-901A-4BE3-82A4-0D0296CD283C}"/>
                </c:ext>
              </c:extLst>
            </c:dLbl>
            <c:dLbl>
              <c:idx val="16"/>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dLblPos val="t"/>
              <c:showLegendKey val="0"/>
              <c:showVal val="1"/>
              <c:showCatName val="0"/>
              <c:showSerName val="0"/>
              <c:showPercent val="0"/>
              <c:showBubbleSize val="0"/>
              <c:extLst>
                <c:ext xmlns:c16="http://schemas.microsoft.com/office/drawing/2014/chart" uri="{C3380CC4-5D6E-409C-BE32-E72D297353CC}">
                  <c16:uniqueId val="{00000000-BC59-4D78-B4D2-43F5B7562F2C}"/>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D$2:$D$18</c:f>
              <c:numCache>
                <c:formatCode>General</c:formatCode>
                <c:ptCount val="17"/>
                <c:pt idx="0">
                  <c:v>1.6246142675619999</c:v>
                </c:pt>
                <c:pt idx="1">
                  <c:v>2.431968619759</c:v>
                </c:pt>
                <c:pt idx="2">
                  <c:v>2.9776054047290001</c:v>
                </c:pt>
                <c:pt idx="3">
                  <c:v>4.0929364778590003</c:v>
                </c:pt>
                <c:pt idx="4">
                  <c:v>5.0369912566119996</c:v>
                </c:pt>
                <c:pt idx="5">
                  <c:v>5.5105702472890004</c:v>
                </c:pt>
                <c:pt idx="6">
                  <c:v>9.1179496772980002</c:v>
                </c:pt>
                <c:pt idx="7">
                  <c:v>10.71137475095</c:v>
                </c:pt>
                <c:pt idx="8">
                  <c:v>13.409885277044999</c:v>
                </c:pt>
                <c:pt idx="9">
                  <c:v>13.392893650078999</c:v>
                </c:pt>
                <c:pt idx="10">
                  <c:v>12.369957926025</c:v>
                </c:pt>
                <c:pt idx="11">
                  <c:v>11.318898750635</c:v>
                </c:pt>
                <c:pt idx="12">
                  <c:v>9.6409865458190005</c:v>
                </c:pt>
                <c:pt idx="13">
                  <c:v>8.1602942303270005</c:v>
                </c:pt>
                <c:pt idx="14">
                  <c:v>7.8721773069410004</c:v>
                </c:pt>
                <c:pt idx="15">
                  <c:v>7.1833493645489996</c:v>
                </c:pt>
                <c:pt idx="16">
                  <c:v>13.981091207118</c:v>
                </c:pt>
              </c:numCache>
            </c:numRef>
          </c:val>
          <c:smooth val="0"/>
          <c:extLst>
            <c:ext xmlns:c16="http://schemas.microsoft.com/office/drawing/2014/chart" uri="{C3380CC4-5D6E-409C-BE32-E72D297353CC}">
              <c16:uniqueId val="{00000001-BC59-4D78-B4D2-43F5B7562F2C}"/>
            </c:ext>
          </c:extLst>
        </c:ser>
        <c:dLbls>
          <c:dLblPos val="t"/>
          <c:showLegendKey val="0"/>
          <c:showVal val="1"/>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1706720452149362"/>
          <c:h val="0.76753447806737263"/>
        </c:manualLayout>
      </c:layout>
      <c:lineChart>
        <c:grouping val="standard"/>
        <c:varyColors val="0"/>
        <c:ser>
          <c:idx val="0"/>
          <c:order val="0"/>
          <c:tx>
            <c:strRef>
              <c:f>List1!$B$1</c:f>
              <c:strCache>
                <c:ptCount val="1"/>
                <c:pt idx="0">
                  <c:v>0–4 roky</c:v>
                </c:pt>
              </c:strCache>
            </c:strRef>
          </c:tx>
          <c:spPr>
            <a:ln w="28575" cap="rnd">
              <a:solidFill>
                <a:schemeClr val="accent1"/>
              </a:solidFill>
              <a:round/>
            </a:ln>
            <a:effectLst/>
          </c:spPr>
          <c:marker>
            <c:symbol val="none"/>
          </c:marker>
          <c:dLbls>
            <c:dLbl>
              <c:idx val="16"/>
              <c:layout>
                <c:manualLayout>
                  <c:x val="-1.1728201244851596E-2"/>
                  <c:y val="-9.3940539337046075E-2"/>
                </c:manualLayout>
              </c:layout>
              <c:numFmt formatCode="###0\,00%" sourceLinked="0"/>
              <c:spPr>
                <a:solidFill>
                  <a:srgbClr val="FBCBD8"/>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CC-4C95-AF08-52F2B2691AF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cs-CZ"/>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22.09 - 28.09</c:v>
                </c:pt>
                <c:pt idx="1">
                  <c:v>29.09 - 05.10</c:v>
                </c:pt>
                <c:pt idx="2">
                  <c:v>06.10 - 12.10</c:v>
                </c:pt>
                <c:pt idx="3">
                  <c:v>13.10 - 19.10</c:v>
                </c:pt>
                <c:pt idx="4">
                  <c:v>20.10 - 26.10</c:v>
                </c:pt>
                <c:pt idx="5">
                  <c:v>27.10 - 02.11</c:v>
                </c:pt>
                <c:pt idx="6">
                  <c:v>03.11 - 09.11</c:v>
                </c:pt>
                <c:pt idx="7">
                  <c:v>10.11 - 16.11</c:v>
                </c:pt>
                <c:pt idx="8">
                  <c:v>17.11 - 23.11</c:v>
                </c:pt>
                <c:pt idx="9">
                  <c:v>24.11 - 30.11</c:v>
                </c:pt>
                <c:pt idx="10">
                  <c:v>01.12 - 07.12</c:v>
                </c:pt>
                <c:pt idx="11">
                  <c:v>08.12 - 14.12</c:v>
                </c:pt>
                <c:pt idx="12">
                  <c:v>15.12 - 21.12</c:v>
                </c:pt>
                <c:pt idx="13">
                  <c:v>22.12 - 28.12</c:v>
                </c:pt>
                <c:pt idx="14">
                  <c:v>29.12 - 04.01</c:v>
                </c:pt>
                <c:pt idx="15">
                  <c:v>05.01 - 11.01</c:v>
                </c:pt>
                <c:pt idx="16">
                  <c:v>12.01 - 19.01</c:v>
                </c:pt>
              </c:strCache>
            </c:strRef>
          </c:cat>
          <c:val>
            <c:numRef>
              <c:f>List1!$B$2:$B$18</c:f>
              <c:numCache>
                <c:formatCode>General</c:formatCode>
                <c:ptCount val="17"/>
                <c:pt idx="0">
                  <c:v>4.3235704323570001</c:v>
                </c:pt>
                <c:pt idx="1">
                  <c:v>4.4307347167689999</c:v>
                </c:pt>
                <c:pt idx="2">
                  <c:v>6.1598951507199997</c:v>
                </c:pt>
                <c:pt idx="3">
                  <c:v>5.9604519774010001</c:v>
                </c:pt>
                <c:pt idx="4">
                  <c:v>6.4166988790100001</c:v>
                </c:pt>
                <c:pt idx="5">
                  <c:v>7.7737940026069996</c:v>
                </c:pt>
                <c:pt idx="6">
                  <c:v>10.247632089467</c:v>
                </c:pt>
                <c:pt idx="7">
                  <c:v>8.7584591358659996</c:v>
                </c:pt>
                <c:pt idx="8">
                  <c:v>9.4592322779490008</c:v>
                </c:pt>
                <c:pt idx="9">
                  <c:v>10.233124239303001</c:v>
                </c:pt>
                <c:pt idx="10">
                  <c:v>10.084691153455999</c:v>
                </c:pt>
                <c:pt idx="11">
                  <c:v>9.6363636363630008</c:v>
                </c:pt>
                <c:pt idx="12">
                  <c:v>9.9819882633189998</c:v>
                </c:pt>
                <c:pt idx="13">
                  <c:v>9.7437781247129998</c:v>
                </c:pt>
                <c:pt idx="14">
                  <c:v>12.125773540725</c:v>
                </c:pt>
                <c:pt idx="15">
                  <c:v>7.9382361674749999</c:v>
                </c:pt>
                <c:pt idx="16">
                  <c:v>8.5801838610820003</c:v>
                </c:pt>
              </c:numCache>
            </c:numRef>
          </c:val>
          <c:smooth val="0"/>
          <c:extLst>
            <c:ext xmlns:c16="http://schemas.microsoft.com/office/drawing/2014/chart" uri="{C3380CC4-5D6E-409C-BE32-E72D297353CC}">
              <c16:uniqueId val="{00000001-59CC-4C95-AF08-52F2B2691AF8}"/>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8F9534-E31E-47A6-B3B5-39567348889D}" type="datetimeFigureOut">
              <a:rPr lang="cs-CZ" smtClean="0"/>
              <a:t>19.01.2022</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41426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5693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33093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8449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456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AD0F-0DC9-4FF9-A1AD-81BDA829852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6103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87308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465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AD0F-0DC9-4FF9-A1AD-81BDA829852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7463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01415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AD0F-0DC9-4FF9-A1AD-81BDA829852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754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43845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11651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79061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5740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1270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AD0F-0DC9-4FF9-A1AD-81BDA829852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9662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2097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3212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760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03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3728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01253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97212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9.png"/><Relationship Id="rId4" Type="http://schemas.openxmlformats.org/officeDocument/2006/relationships/image" Target="../media/image7.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4.svg"/><Relationship Id="rId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4.svg"/><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4.svg"/><Relationship Id="rId4" Type="http://schemas.openxmlformats.org/officeDocument/2006/relationships/image" Target="../media/image9.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4.svg"/><Relationship Id="rId4" Type="http://schemas.openxmlformats.org/officeDocument/2006/relationships/image" Target="../media/image9.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image" Target="../media/image4.svg"/><Relationship Id="rId5" Type="http://schemas.openxmlformats.org/officeDocument/2006/relationships/image" Target="../media/image9.png"/><Relationship Id="rId4" Type="http://schemas.openxmlformats.org/officeDocument/2006/relationships/image" Target="../media/image7.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5.png"/><Relationship Id="rId4" Type="http://schemas.openxmlformats.org/officeDocument/2006/relationships/image" Target="../media/image7.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6.png"/><Relationship Id="rId1" Type="http://schemas.openxmlformats.org/officeDocument/2006/relationships/slideMaster" Target="../slideMasters/slideMaster8.xml"/><Relationship Id="rId6" Type="http://schemas.openxmlformats.org/officeDocument/2006/relationships/image" Target="../media/image18.png"/><Relationship Id="rId5" Type="http://schemas.openxmlformats.org/officeDocument/2006/relationships/image" Target="../media/image4.svg"/><Relationship Id="rId4" Type="http://schemas.openxmlformats.org/officeDocument/2006/relationships/image" Target="../media/image17.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6.png"/><Relationship Id="rId1" Type="http://schemas.openxmlformats.org/officeDocument/2006/relationships/slideMaster" Target="../slideMasters/slideMaster8.xml"/><Relationship Id="rId6" Type="http://schemas.openxmlformats.org/officeDocument/2006/relationships/image" Target="../media/image18.png"/><Relationship Id="rId5" Type="http://schemas.openxmlformats.org/officeDocument/2006/relationships/image" Target="../media/image4.svg"/><Relationship Id="rId4" Type="http://schemas.openxmlformats.org/officeDocument/2006/relationships/image" Target="../media/image1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6.png"/><Relationship Id="rId1" Type="http://schemas.openxmlformats.org/officeDocument/2006/relationships/slideMaster" Target="../slideMasters/slideMaster8.xml"/><Relationship Id="rId6" Type="http://schemas.openxmlformats.org/officeDocument/2006/relationships/image" Target="../media/image18.png"/><Relationship Id="rId5" Type="http://schemas.openxmlformats.org/officeDocument/2006/relationships/image" Target="../media/image4.svg"/><Relationship Id="rId4" Type="http://schemas.openxmlformats.org/officeDocument/2006/relationships/image" Target="../media/image17.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7.sv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6.png"/><Relationship Id="rId1" Type="http://schemas.openxmlformats.org/officeDocument/2006/relationships/slideMaster" Target="../slideMasters/slideMaster8.xml"/><Relationship Id="rId6" Type="http://schemas.openxmlformats.org/officeDocument/2006/relationships/image" Target="../media/image18.png"/><Relationship Id="rId5" Type="http://schemas.openxmlformats.org/officeDocument/2006/relationships/image" Target="../media/image4.svg"/><Relationship Id="rId4" Type="http://schemas.openxmlformats.org/officeDocument/2006/relationships/image" Target="../media/image17.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8.xml"/><Relationship Id="rId6" Type="http://schemas.openxmlformats.org/officeDocument/2006/relationships/image" Target="../media/image4.svg"/><Relationship Id="rId5" Type="http://schemas.openxmlformats.org/officeDocument/2006/relationships/image" Target="../media/image15.png"/><Relationship Id="rId4" Type="http://schemas.openxmlformats.org/officeDocument/2006/relationships/image" Target="../media/image7.sv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31335381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751BB3-54BB-497C-9D87-7331E63652A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169F060A-A852-4CAC-8567-9FF26BE22C48}"/>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DA874AFF-9D96-448C-A700-2FC369C17CFA}"/>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4FEB687C-F962-4BE7-8278-3C31FC255F05}"/>
              </a:ext>
            </a:extLst>
          </p:cNvPr>
          <p:cNvSpPr>
            <a:spLocks noGrp="1"/>
          </p:cNvSpPr>
          <p:nvPr>
            <p:ph type="dt" sz="half" idx="10"/>
          </p:nvPr>
        </p:nvSpPr>
        <p:spPr/>
        <p:txBody>
          <a:bodyPr/>
          <a:lstStyle/>
          <a:p>
            <a:fld id="{AA058D0A-07E9-4A68-88A0-7C25FDBBE4AC}" type="datetimeFigureOut">
              <a:rPr lang="cs-CZ" smtClean="0"/>
              <a:t>19.01.2022</a:t>
            </a:fld>
            <a:endParaRPr lang="cs-CZ"/>
          </a:p>
        </p:txBody>
      </p:sp>
      <p:sp>
        <p:nvSpPr>
          <p:cNvPr id="6" name="Zástupný symbol pro zápatí 5">
            <a:extLst>
              <a:ext uri="{FF2B5EF4-FFF2-40B4-BE49-F238E27FC236}">
                <a16:creationId xmlns:a16="http://schemas.microsoft.com/office/drawing/2014/main" id="{C8620F06-EBA0-40CC-9A9C-15001C536D5E}"/>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D0FDE4CA-77DD-417D-8C54-07ECB9628C80}"/>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2391258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3EF8E94-026C-4341-B09E-E0FB30A2BAB9}"/>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90670218-0D2B-45AF-8CEE-4DF7A0BA978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BFFD3F4B-DA25-4423-9234-6270FB4E0C12}"/>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57E2AC16-B4BF-4A45-92DD-CD16581B2D7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7000A558-D06F-4CAD-88FC-71F13523FA65}"/>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118A76E9-680A-4BC2-86CB-5D2DB66F56C3}"/>
              </a:ext>
            </a:extLst>
          </p:cNvPr>
          <p:cNvSpPr>
            <a:spLocks noGrp="1"/>
          </p:cNvSpPr>
          <p:nvPr>
            <p:ph type="dt" sz="half" idx="10"/>
          </p:nvPr>
        </p:nvSpPr>
        <p:spPr/>
        <p:txBody>
          <a:bodyPr/>
          <a:lstStyle/>
          <a:p>
            <a:fld id="{AA058D0A-07E9-4A68-88A0-7C25FDBBE4AC}" type="datetimeFigureOut">
              <a:rPr lang="cs-CZ" smtClean="0"/>
              <a:t>19.01.2022</a:t>
            </a:fld>
            <a:endParaRPr lang="cs-CZ"/>
          </a:p>
        </p:txBody>
      </p:sp>
      <p:sp>
        <p:nvSpPr>
          <p:cNvPr id="8" name="Zástupný symbol pro zápatí 7">
            <a:extLst>
              <a:ext uri="{FF2B5EF4-FFF2-40B4-BE49-F238E27FC236}">
                <a16:creationId xmlns:a16="http://schemas.microsoft.com/office/drawing/2014/main" id="{1152DBE4-0E61-401B-BD63-91D12BCAE9C0}"/>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C424E131-06CD-4DDF-BC06-F98D2D3B9BCC}"/>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13615191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85B3AFD-D5D4-46CB-9F1D-95D2EFDFBB2A}"/>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B1BD99F9-6247-4A54-87C4-9749A54B1A78}"/>
              </a:ext>
            </a:extLst>
          </p:cNvPr>
          <p:cNvSpPr>
            <a:spLocks noGrp="1"/>
          </p:cNvSpPr>
          <p:nvPr>
            <p:ph type="dt" sz="half" idx="10"/>
          </p:nvPr>
        </p:nvSpPr>
        <p:spPr/>
        <p:txBody>
          <a:bodyPr/>
          <a:lstStyle/>
          <a:p>
            <a:fld id="{AA058D0A-07E9-4A68-88A0-7C25FDBBE4AC}" type="datetimeFigureOut">
              <a:rPr lang="cs-CZ" smtClean="0"/>
              <a:t>19.01.2022</a:t>
            </a:fld>
            <a:endParaRPr lang="cs-CZ"/>
          </a:p>
        </p:txBody>
      </p:sp>
      <p:sp>
        <p:nvSpPr>
          <p:cNvPr id="4" name="Zástupný symbol pro zápatí 3">
            <a:extLst>
              <a:ext uri="{FF2B5EF4-FFF2-40B4-BE49-F238E27FC236}">
                <a16:creationId xmlns:a16="http://schemas.microsoft.com/office/drawing/2014/main" id="{F8DBF052-AB7F-4048-9680-0492DCE6D0AF}"/>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B92A02BA-2BB6-4CF6-8B58-CFAA66013A03}"/>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1836112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D612E4EC-12D7-42E4-AE43-F6D7008AB302}"/>
              </a:ext>
            </a:extLst>
          </p:cNvPr>
          <p:cNvSpPr>
            <a:spLocks noGrp="1"/>
          </p:cNvSpPr>
          <p:nvPr>
            <p:ph type="dt" sz="half" idx="10"/>
          </p:nvPr>
        </p:nvSpPr>
        <p:spPr/>
        <p:txBody>
          <a:bodyPr/>
          <a:lstStyle/>
          <a:p>
            <a:fld id="{AA058D0A-07E9-4A68-88A0-7C25FDBBE4AC}" type="datetimeFigureOut">
              <a:rPr lang="cs-CZ" smtClean="0"/>
              <a:t>19.01.2022</a:t>
            </a:fld>
            <a:endParaRPr lang="cs-CZ"/>
          </a:p>
        </p:txBody>
      </p:sp>
      <p:sp>
        <p:nvSpPr>
          <p:cNvPr id="3" name="Zástupný symbol pro zápatí 2">
            <a:extLst>
              <a:ext uri="{FF2B5EF4-FFF2-40B4-BE49-F238E27FC236}">
                <a16:creationId xmlns:a16="http://schemas.microsoft.com/office/drawing/2014/main" id="{2706D130-0739-4330-9775-702FDF7EE7BC}"/>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A94FAE36-22DA-4CEF-82CE-F85F3D6E5E60}"/>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9189405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C0AC2F0-B610-42BD-9258-BE4E8A4796FB}"/>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9594586C-48B1-4459-A0A6-DFA4C0FE38A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7618E00B-DFA9-4ABA-9E89-EC4C6B3AC9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0E3D956F-D736-467D-809E-A6B8EBBB7B49}"/>
              </a:ext>
            </a:extLst>
          </p:cNvPr>
          <p:cNvSpPr>
            <a:spLocks noGrp="1"/>
          </p:cNvSpPr>
          <p:nvPr>
            <p:ph type="dt" sz="half" idx="10"/>
          </p:nvPr>
        </p:nvSpPr>
        <p:spPr/>
        <p:txBody>
          <a:bodyPr/>
          <a:lstStyle/>
          <a:p>
            <a:fld id="{AA058D0A-07E9-4A68-88A0-7C25FDBBE4AC}" type="datetimeFigureOut">
              <a:rPr lang="cs-CZ" smtClean="0"/>
              <a:t>19.01.2022</a:t>
            </a:fld>
            <a:endParaRPr lang="cs-CZ"/>
          </a:p>
        </p:txBody>
      </p:sp>
      <p:sp>
        <p:nvSpPr>
          <p:cNvPr id="6" name="Zástupný symbol pro zápatí 5">
            <a:extLst>
              <a:ext uri="{FF2B5EF4-FFF2-40B4-BE49-F238E27FC236}">
                <a16:creationId xmlns:a16="http://schemas.microsoft.com/office/drawing/2014/main" id="{EA2BC7A4-764C-4169-ADBC-7F1248B44C3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B88FFD62-2584-4271-8B43-930689E422C1}"/>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8041965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55F6CA7-4510-4C38-AB29-269B0667E781}"/>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525F525D-76F8-4F89-ACDB-370F1E3E47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0513CD65-3F93-416A-8079-50A6B39FD2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6FE6EB9A-EACF-42B5-8677-B501B2A425BD}"/>
              </a:ext>
            </a:extLst>
          </p:cNvPr>
          <p:cNvSpPr>
            <a:spLocks noGrp="1"/>
          </p:cNvSpPr>
          <p:nvPr>
            <p:ph type="dt" sz="half" idx="10"/>
          </p:nvPr>
        </p:nvSpPr>
        <p:spPr/>
        <p:txBody>
          <a:bodyPr/>
          <a:lstStyle/>
          <a:p>
            <a:fld id="{AA058D0A-07E9-4A68-88A0-7C25FDBBE4AC}" type="datetimeFigureOut">
              <a:rPr lang="cs-CZ" smtClean="0"/>
              <a:t>19.01.2022</a:t>
            </a:fld>
            <a:endParaRPr lang="cs-CZ"/>
          </a:p>
        </p:txBody>
      </p:sp>
      <p:sp>
        <p:nvSpPr>
          <p:cNvPr id="6" name="Zástupný symbol pro zápatí 5">
            <a:extLst>
              <a:ext uri="{FF2B5EF4-FFF2-40B4-BE49-F238E27FC236}">
                <a16:creationId xmlns:a16="http://schemas.microsoft.com/office/drawing/2014/main" id="{C6CB2E11-5C59-4983-B23C-94050313564F}"/>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A284666C-EC8D-44A8-94DD-5735F9059458}"/>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5539312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7C593D8-E6C3-42E0-91E5-34BBFE7635C1}"/>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07D27C9F-D286-49AD-B637-AB03985B6A0B}"/>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60051D3F-4680-4DFE-9D28-92707289CE66}"/>
              </a:ext>
            </a:extLst>
          </p:cNvPr>
          <p:cNvSpPr>
            <a:spLocks noGrp="1"/>
          </p:cNvSpPr>
          <p:nvPr>
            <p:ph type="dt" sz="half" idx="10"/>
          </p:nvPr>
        </p:nvSpPr>
        <p:spPr/>
        <p:txBody>
          <a:bodyPr/>
          <a:lstStyle/>
          <a:p>
            <a:fld id="{AA058D0A-07E9-4A68-88A0-7C25FDBBE4AC}" type="datetimeFigureOut">
              <a:rPr lang="cs-CZ" smtClean="0"/>
              <a:t>19.01.2022</a:t>
            </a:fld>
            <a:endParaRPr lang="cs-CZ"/>
          </a:p>
        </p:txBody>
      </p:sp>
      <p:sp>
        <p:nvSpPr>
          <p:cNvPr id="5" name="Zástupný symbol pro zápatí 4">
            <a:extLst>
              <a:ext uri="{FF2B5EF4-FFF2-40B4-BE49-F238E27FC236}">
                <a16:creationId xmlns:a16="http://schemas.microsoft.com/office/drawing/2014/main" id="{31A2C8DA-A4B9-4CA7-8902-C297ECB62BF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14C9B13D-3976-43E2-9805-3E309ABC7563}"/>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22496725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2A4CD9B6-8A80-4B59-B5D5-0A7202A073EB}"/>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3D6E8B14-04CE-430A-97C5-E63E3AC6241F}"/>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CA124C15-1E21-44AA-B0CF-567922D2D99B}"/>
              </a:ext>
            </a:extLst>
          </p:cNvPr>
          <p:cNvSpPr>
            <a:spLocks noGrp="1"/>
          </p:cNvSpPr>
          <p:nvPr>
            <p:ph type="dt" sz="half" idx="10"/>
          </p:nvPr>
        </p:nvSpPr>
        <p:spPr/>
        <p:txBody>
          <a:bodyPr/>
          <a:lstStyle/>
          <a:p>
            <a:fld id="{AA058D0A-07E9-4A68-88A0-7C25FDBBE4AC}" type="datetimeFigureOut">
              <a:rPr lang="cs-CZ" smtClean="0"/>
              <a:t>19.01.2022</a:t>
            </a:fld>
            <a:endParaRPr lang="cs-CZ"/>
          </a:p>
        </p:txBody>
      </p:sp>
      <p:sp>
        <p:nvSpPr>
          <p:cNvPr id="5" name="Zástupný symbol pro zápatí 4">
            <a:extLst>
              <a:ext uri="{FF2B5EF4-FFF2-40B4-BE49-F238E27FC236}">
                <a16:creationId xmlns:a16="http://schemas.microsoft.com/office/drawing/2014/main" id="{277C4AD0-92D5-4BED-AD8D-2078F6B78AF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0065E49F-34C0-46C8-AAEF-3C9FAFE7C29D}"/>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17044533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2442271195"/>
      </p:ext>
    </p:extLst>
  </p:cSld>
  <p:clrMapOvr>
    <a:masterClrMapping/>
  </p:clrMapOvr>
  <p:extLst>
    <p:ext uri="{DCECCB84-F9BA-43D5-87BE-67443E8EF086}">
      <p15:sldGuideLst xmlns:p15="http://schemas.microsoft.com/office/powerpoint/2012/main">
        <p15:guide id="1" orient="horz" pos="777">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516813508"/>
      </p:ext>
    </p:extLst>
  </p:cSld>
  <p:clrMapOvr>
    <a:masterClrMapping/>
  </p:clrMapOvr>
  <p:extLst>
    <p:ext uri="{DCECCB84-F9BA-43D5-87BE-67443E8EF086}">
      <p15:sldGuideLst xmlns:p15="http://schemas.microsoft.com/office/powerpoint/2012/main">
        <p15:guide id="1" orient="horz" pos="346">
          <p15:clr>
            <a:srgbClr val="FBAE40"/>
          </p15:clr>
        </p15:guide>
        <p15:guide id="2" pos="758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10" name="Obdélník 9">
            <a:extLst>
              <a:ext uri="{FF2B5EF4-FFF2-40B4-BE49-F238E27FC236}">
                <a16:creationId xmlns:a16="http://schemas.microsoft.com/office/drawing/2014/main" id="{5920C5AB-7E0D-4B8A-92A9-7DA47D440BBD}"/>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3" name="Zástupný obsah 2">
            <a:extLst>
              <a:ext uri="{FF2B5EF4-FFF2-40B4-BE49-F238E27FC236}">
                <a16:creationId xmlns:a16="http://schemas.microsoft.com/office/drawing/2014/main" id="{5CD1A40D-4F09-4D08-916F-43B796F44A47}"/>
              </a:ext>
            </a:extLst>
          </p:cNvPr>
          <p:cNvSpPr>
            <a:spLocks noGrp="1"/>
          </p:cNvSpPr>
          <p:nvPr>
            <p:ph idx="1"/>
          </p:nvPr>
        </p:nvSpPr>
        <p:spPr>
          <a:xfrm>
            <a:off x="381739" y="1825625"/>
            <a:ext cx="11487705" cy="4351338"/>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14" name="Nadpis 1">
            <a:extLst>
              <a:ext uri="{FF2B5EF4-FFF2-40B4-BE49-F238E27FC236}">
                <a16:creationId xmlns:a16="http://schemas.microsoft.com/office/drawing/2014/main" id="{635F49FF-6718-4CE1-A42C-74D8FC3B4218}"/>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spTree>
    <p:extLst>
      <p:ext uri="{BB962C8B-B14F-4D97-AF65-F5344CB8AC3E}">
        <p14:creationId xmlns:p14="http://schemas.microsoft.com/office/powerpoint/2010/main" val="1597903156"/>
      </p:ext>
    </p:extLst>
  </p:cSld>
  <p:clrMapOvr>
    <a:masterClrMapping/>
  </p:clrMapOvr>
  <p:extLst>
    <p:ext uri="{DCECCB84-F9BA-43D5-87BE-67443E8EF086}">
      <p15:sldGuideLst xmlns:p15="http://schemas.microsoft.com/office/powerpoint/2012/main">
        <p15:guide id="1" orient="horz" pos="414">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3187845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21433456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11948659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5229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B14159AF-26F1-42E1-BF83-F89C20A19403}" type="datetimeFigureOut">
              <a:rPr lang="cs-CZ" smtClean="0"/>
              <a:t>19.01.2022</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9607353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29739984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10" name="Obdélník 9">
            <a:extLst>
              <a:ext uri="{FF2B5EF4-FFF2-40B4-BE49-F238E27FC236}">
                <a16:creationId xmlns:a16="http://schemas.microsoft.com/office/drawing/2014/main" id="{5920C5AB-7E0D-4B8A-92A9-7DA47D440BBD}"/>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3" name="Zástupný obsah 2">
            <a:extLst>
              <a:ext uri="{FF2B5EF4-FFF2-40B4-BE49-F238E27FC236}">
                <a16:creationId xmlns:a16="http://schemas.microsoft.com/office/drawing/2014/main" id="{5CD1A40D-4F09-4D08-916F-43B796F44A47}"/>
              </a:ext>
            </a:extLst>
          </p:cNvPr>
          <p:cNvSpPr>
            <a:spLocks noGrp="1"/>
          </p:cNvSpPr>
          <p:nvPr>
            <p:ph idx="1"/>
          </p:nvPr>
        </p:nvSpPr>
        <p:spPr>
          <a:xfrm>
            <a:off x="381739" y="1825625"/>
            <a:ext cx="11487705" cy="4351338"/>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14" name="Nadpis 1">
            <a:extLst>
              <a:ext uri="{FF2B5EF4-FFF2-40B4-BE49-F238E27FC236}">
                <a16:creationId xmlns:a16="http://schemas.microsoft.com/office/drawing/2014/main" id="{635F49FF-6718-4CE1-A42C-74D8FC3B4218}"/>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grpSp>
        <p:nvGrpSpPr>
          <p:cNvPr id="15" name="Skupina 14">
            <a:extLst>
              <a:ext uri="{FF2B5EF4-FFF2-40B4-BE49-F238E27FC236}">
                <a16:creationId xmlns:a16="http://schemas.microsoft.com/office/drawing/2014/main" id="{A5367FD4-1AA0-460C-B73C-7D7567665B93}"/>
              </a:ext>
            </a:extLst>
          </p:cNvPr>
          <p:cNvGrpSpPr/>
          <p:nvPr userDrawn="1"/>
        </p:nvGrpSpPr>
        <p:grpSpPr>
          <a:xfrm>
            <a:off x="7146337" y="420847"/>
            <a:ext cx="4962987" cy="635942"/>
            <a:chOff x="3783104" y="781489"/>
            <a:chExt cx="6199096" cy="931105"/>
          </a:xfrm>
        </p:grpSpPr>
        <p:pic>
          <p:nvPicPr>
            <p:cNvPr id="16" name="Obrázek 15">
              <a:extLst>
                <a:ext uri="{FF2B5EF4-FFF2-40B4-BE49-F238E27FC236}">
                  <a16:creationId xmlns:a16="http://schemas.microsoft.com/office/drawing/2014/main" id="{36D59138-B214-4FC1-9898-96D78BF9475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7" name="Obrázek 16">
              <a:extLst>
                <a:ext uri="{FF2B5EF4-FFF2-40B4-BE49-F238E27FC236}">
                  <a16:creationId xmlns:a16="http://schemas.microsoft.com/office/drawing/2014/main" id="{C99D30FB-B17A-485F-8C33-36B649E5FF8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Tree>
    <p:extLst>
      <p:ext uri="{BB962C8B-B14F-4D97-AF65-F5344CB8AC3E}">
        <p14:creationId xmlns:p14="http://schemas.microsoft.com/office/powerpoint/2010/main" val="3165902606"/>
      </p:ext>
    </p:extLst>
  </p:cSld>
  <p:clrMapOvr>
    <a:masterClrMapping/>
  </p:clrMapOvr>
  <p:extLst>
    <p:ext uri="{DCECCB84-F9BA-43D5-87BE-67443E8EF086}">
      <p15:sldGuideLst xmlns:p15="http://schemas.microsoft.com/office/powerpoint/2012/main">
        <p15:guide id="1" orient="horz" pos="414">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40EF74F-5572-4E88-BDB6-732EFDF9A064}"/>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pic>
        <p:nvPicPr>
          <p:cNvPr id="13" name="Obrázek 12">
            <a:extLst>
              <a:ext uri="{FF2B5EF4-FFF2-40B4-BE49-F238E27FC236}">
                <a16:creationId xmlns:a16="http://schemas.microsoft.com/office/drawing/2014/main" id="{7ACC8354-5878-430C-A84E-8418F73DA8B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8761124" y="427270"/>
            <a:ext cx="3348200" cy="629518"/>
          </a:xfrm>
          <a:prstGeom prst="rect">
            <a:avLst/>
          </a:prstGeom>
        </p:spPr>
      </p:pic>
      <p:grpSp>
        <p:nvGrpSpPr>
          <p:cNvPr id="14" name="Skupina 13">
            <a:extLst>
              <a:ext uri="{FF2B5EF4-FFF2-40B4-BE49-F238E27FC236}">
                <a16:creationId xmlns:a16="http://schemas.microsoft.com/office/drawing/2014/main" id="{F87F3FC9-A29E-4C5B-A820-1CE817C19E7A}"/>
              </a:ext>
            </a:extLst>
          </p:cNvPr>
          <p:cNvGrpSpPr/>
          <p:nvPr userDrawn="1"/>
        </p:nvGrpSpPr>
        <p:grpSpPr>
          <a:xfrm>
            <a:off x="7146337" y="420847"/>
            <a:ext cx="4962987" cy="635942"/>
            <a:chOff x="3783104" y="781489"/>
            <a:chExt cx="6199096" cy="931105"/>
          </a:xfrm>
        </p:grpSpPr>
        <p:pic>
          <p:nvPicPr>
            <p:cNvPr id="15" name="Obrázek 14">
              <a:extLst>
                <a:ext uri="{FF2B5EF4-FFF2-40B4-BE49-F238E27FC236}">
                  <a16:creationId xmlns:a16="http://schemas.microsoft.com/office/drawing/2014/main" id="{88C88485-1FA6-42BC-89DE-25EBC5C93E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6" name="Obrázek 15">
              <a:extLst>
                <a:ext uri="{FF2B5EF4-FFF2-40B4-BE49-F238E27FC236}">
                  <a16:creationId xmlns:a16="http://schemas.microsoft.com/office/drawing/2014/main" id="{2861DD9B-1BC7-426A-81C6-0DC72A659A1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
        <p:nvSpPr>
          <p:cNvPr id="21" name="Nadpis 1">
            <a:extLst>
              <a:ext uri="{FF2B5EF4-FFF2-40B4-BE49-F238E27FC236}">
                <a16:creationId xmlns:a16="http://schemas.microsoft.com/office/drawing/2014/main" id="{A9AB94AD-4B9F-4F63-B34A-76C56085093C}"/>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spTree>
    <p:extLst>
      <p:ext uri="{BB962C8B-B14F-4D97-AF65-F5344CB8AC3E}">
        <p14:creationId xmlns:p14="http://schemas.microsoft.com/office/powerpoint/2010/main" val="32692988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67449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2988383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40EF74F-5572-4E88-BDB6-732EFDF9A064}"/>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pic>
        <p:nvPicPr>
          <p:cNvPr id="13" name="Obrázek 12">
            <a:extLst>
              <a:ext uri="{FF2B5EF4-FFF2-40B4-BE49-F238E27FC236}">
                <a16:creationId xmlns:a16="http://schemas.microsoft.com/office/drawing/2014/main" id="{7ACC8354-5878-430C-A84E-8418F73DA8B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8761124" y="427270"/>
            <a:ext cx="3348200" cy="629518"/>
          </a:xfrm>
          <a:prstGeom prst="rect">
            <a:avLst/>
          </a:prstGeom>
        </p:spPr>
      </p:pic>
      <p:grpSp>
        <p:nvGrpSpPr>
          <p:cNvPr id="14" name="Skupina 13">
            <a:extLst>
              <a:ext uri="{FF2B5EF4-FFF2-40B4-BE49-F238E27FC236}">
                <a16:creationId xmlns:a16="http://schemas.microsoft.com/office/drawing/2014/main" id="{F87F3FC9-A29E-4C5B-A820-1CE817C19E7A}"/>
              </a:ext>
            </a:extLst>
          </p:cNvPr>
          <p:cNvGrpSpPr/>
          <p:nvPr userDrawn="1"/>
        </p:nvGrpSpPr>
        <p:grpSpPr>
          <a:xfrm>
            <a:off x="7146337" y="420847"/>
            <a:ext cx="4962987" cy="635942"/>
            <a:chOff x="3783104" y="781489"/>
            <a:chExt cx="6199096" cy="931105"/>
          </a:xfrm>
        </p:grpSpPr>
        <p:pic>
          <p:nvPicPr>
            <p:cNvPr id="15" name="Obrázek 14">
              <a:extLst>
                <a:ext uri="{FF2B5EF4-FFF2-40B4-BE49-F238E27FC236}">
                  <a16:creationId xmlns:a16="http://schemas.microsoft.com/office/drawing/2014/main" id="{88C88485-1FA6-42BC-89DE-25EBC5C93E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6" name="Obrázek 15">
              <a:extLst>
                <a:ext uri="{FF2B5EF4-FFF2-40B4-BE49-F238E27FC236}">
                  <a16:creationId xmlns:a16="http://schemas.microsoft.com/office/drawing/2014/main" id="{2861DD9B-1BC7-426A-81C6-0DC72A659A1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
        <p:nvSpPr>
          <p:cNvPr id="21" name="Nadpis 1">
            <a:extLst>
              <a:ext uri="{FF2B5EF4-FFF2-40B4-BE49-F238E27FC236}">
                <a16:creationId xmlns:a16="http://schemas.microsoft.com/office/drawing/2014/main" id="{A9AB94AD-4B9F-4F63-B34A-76C56085093C}"/>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spTree>
    <p:extLst>
      <p:ext uri="{BB962C8B-B14F-4D97-AF65-F5344CB8AC3E}">
        <p14:creationId xmlns:p14="http://schemas.microsoft.com/office/powerpoint/2010/main" val="15633378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E5DF3E9-62C1-4745-823A-6D7216BF2CFE}"/>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9EBB1DD8-049C-4DC4-865B-670ECCC1BC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70B8F6BC-6C17-4E1F-8430-F112AE5EDAEA}"/>
              </a:ext>
            </a:extLst>
          </p:cNvPr>
          <p:cNvSpPr>
            <a:spLocks noGrp="1"/>
          </p:cNvSpPr>
          <p:nvPr>
            <p:ph type="dt" sz="half" idx="10"/>
          </p:nvPr>
        </p:nvSpPr>
        <p:spPr/>
        <p:txBody>
          <a:bodyPr/>
          <a:lstStyle/>
          <a:p>
            <a:fld id="{355F079A-B969-4D3B-9E26-A76BF6458036}" type="datetimeFigureOut">
              <a:rPr lang="cs-CZ" smtClean="0"/>
              <a:t>19.01.2022</a:t>
            </a:fld>
            <a:endParaRPr lang="cs-CZ"/>
          </a:p>
        </p:txBody>
      </p:sp>
      <p:sp>
        <p:nvSpPr>
          <p:cNvPr id="5" name="Zástupný symbol pro zápatí 4">
            <a:extLst>
              <a:ext uri="{FF2B5EF4-FFF2-40B4-BE49-F238E27FC236}">
                <a16:creationId xmlns:a16="http://schemas.microsoft.com/office/drawing/2014/main" id="{64AEA1B8-AA43-438F-A463-B1BC9EFE92C3}"/>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F296E2AE-331F-4547-8B24-6018982D52D2}"/>
              </a:ext>
            </a:extLst>
          </p:cNvPr>
          <p:cNvSpPr>
            <a:spLocks noGrp="1"/>
          </p:cNvSpPr>
          <p:nvPr>
            <p:ph type="sldNum" sz="quarter" idx="12"/>
          </p:nvPr>
        </p:nvSpPr>
        <p:spPr/>
        <p:txBody>
          <a:bodyPr/>
          <a:lstStyle/>
          <a:p>
            <a:fld id="{41C79ADA-515F-4E7E-84BD-B3429DED2682}" type="slidenum">
              <a:rPr lang="cs-CZ" smtClean="0"/>
              <a:t>‹#›</a:t>
            </a:fld>
            <a:endParaRPr lang="cs-CZ"/>
          </a:p>
        </p:txBody>
      </p:sp>
    </p:spTree>
    <p:extLst>
      <p:ext uri="{BB962C8B-B14F-4D97-AF65-F5344CB8AC3E}">
        <p14:creationId xmlns:p14="http://schemas.microsoft.com/office/powerpoint/2010/main" val="24967952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281B43B-783B-4C77-9518-4AF9F0FD6531}"/>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C541BCDB-67E6-4ADB-9708-B6BDC2288C0A}"/>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A8BB6B8-CF86-40CB-92A3-6CFE69E574D3}"/>
              </a:ext>
            </a:extLst>
          </p:cNvPr>
          <p:cNvSpPr>
            <a:spLocks noGrp="1"/>
          </p:cNvSpPr>
          <p:nvPr>
            <p:ph type="dt" sz="half" idx="10"/>
          </p:nvPr>
        </p:nvSpPr>
        <p:spPr/>
        <p:txBody>
          <a:bodyPr/>
          <a:lstStyle/>
          <a:p>
            <a:fld id="{355F079A-B969-4D3B-9E26-A76BF6458036}" type="datetimeFigureOut">
              <a:rPr lang="cs-CZ" smtClean="0"/>
              <a:t>19.01.2022</a:t>
            </a:fld>
            <a:endParaRPr lang="cs-CZ"/>
          </a:p>
        </p:txBody>
      </p:sp>
      <p:sp>
        <p:nvSpPr>
          <p:cNvPr id="5" name="Zástupný symbol pro zápatí 4">
            <a:extLst>
              <a:ext uri="{FF2B5EF4-FFF2-40B4-BE49-F238E27FC236}">
                <a16:creationId xmlns:a16="http://schemas.microsoft.com/office/drawing/2014/main" id="{74AEE1F9-76AC-43D2-A469-01DC8190F3D0}"/>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1B73F07E-5DFC-4BFD-A8DC-1F93AF7FC46E}"/>
              </a:ext>
            </a:extLst>
          </p:cNvPr>
          <p:cNvSpPr>
            <a:spLocks noGrp="1"/>
          </p:cNvSpPr>
          <p:nvPr>
            <p:ph type="sldNum" sz="quarter" idx="12"/>
          </p:nvPr>
        </p:nvSpPr>
        <p:spPr/>
        <p:txBody>
          <a:bodyPr/>
          <a:lstStyle/>
          <a:p>
            <a:fld id="{41C79ADA-515F-4E7E-84BD-B3429DED2682}" type="slidenum">
              <a:rPr lang="cs-CZ" smtClean="0"/>
              <a:t>‹#›</a:t>
            </a:fld>
            <a:endParaRPr lang="cs-CZ"/>
          </a:p>
        </p:txBody>
      </p:sp>
    </p:spTree>
    <p:extLst>
      <p:ext uri="{BB962C8B-B14F-4D97-AF65-F5344CB8AC3E}">
        <p14:creationId xmlns:p14="http://schemas.microsoft.com/office/powerpoint/2010/main" val="22501544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90C8933-F171-4FCA-8AF4-9ABAC1C27948}"/>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AFADB897-B5F1-4A1D-9DB2-815B120206F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CCAAB62E-0A68-434A-98F2-E3C493212044}"/>
              </a:ext>
            </a:extLst>
          </p:cNvPr>
          <p:cNvSpPr>
            <a:spLocks noGrp="1"/>
          </p:cNvSpPr>
          <p:nvPr>
            <p:ph type="dt" sz="half" idx="10"/>
          </p:nvPr>
        </p:nvSpPr>
        <p:spPr/>
        <p:txBody>
          <a:bodyPr/>
          <a:lstStyle/>
          <a:p>
            <a:fld id="{355F079A-B969-4D3B-9E26-A76BF6458036}" type="datetimeFigureOut">
              <a:rPr lang="cs-CZ" smtClean="0"/>
              <a:t>19.01.2022</a:t>
            </a:fld>
            <a:endParaRPr lang="cs-CZ"/>
          </a:p>
        </p:txBody>
      </p:sp>
      <p:sp>
        <p:nvSpPr>
          <p:cNvPr id="5" name="Zástupný symbol pro zápatí 4">
            <a:extLst>
              <a:ext uri="{FF2B5EF4-FFF2-40B4-BE49-F238E27FC236}">
                <a16:creationId xmlns:a16="http://schemas.microsoft.com/office/drawing/2014/main" id="{89D35E8C-4AFA-4ABE-AA72-FAF59514038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B2E51066-932D-4961-B51C-38F9670D7C11}"/>
              </a:ext>
            </a:extLst>
          </p:cNvPr>
          <p:cNvSpPr>
            <a:spLocks noGrp="1"/>
          </p:cNvSpPr>
          <p:nvPr>
            <p:ph type="sldNum" sz="quarter" idx="12"/>
          </p:nvPr>
        </p:nvSpPr>
        <p:spPr/>
        <p:txBody>
          <a:bodyPr/>
          <a:lstStyle/>
          <a:p>
            <a:fld id="{41C79ADA-515F-4E7E-84BD-B3429DED2682}" type="slidenum">
              <a:rPr lang="cs-CZ" smtClean="0"/>
              <a:t>‹#›</a:t>
            </a:fld>
            <a:endParaRPr lang="cs-CZ"/>
          </a:p>
        </p:txBody>
      </p:sp>
    </p:spTree>
    <p:extLst>
      <p:ext uri="{BB962C8B-B14F-4D97-AF65-F5344CB8AC3E}">
        <p14:creationId xmlns:p14="http://schemas.microsoft.com/office/powerpoint/2010/main" val="34812707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096BD48-6164-4386-BB7E-D69F4F1D1BCE}"/>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561661A-F73C-4B5B-9493-BF9B81676B0E}"/>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42A4FA98-6ABD-44BF-88A5-E852BA8BB04A}"/>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04D076AE-DBFC-4CB5-8FFC-C0BB5E818E03}"/>
              </a:ext>
            </a:extLst>
          </p:cNvPr>
          <p:cNvSpPr>
            <a:spLocks noGrp="1"/>
          </p:cNvSpPr>
          <p:nvPr>
            <p:ph type="dt" sz="half" idx="10"/>
          </p:nvPr>
        </p:nvSpPr>
        <p:spPr/>
        <p:txBody>
          <a:bodyPr/>
          <a:lstStyle/>
          <a:p>
            <a:fld id="{355F079A-B969-4D3B-9E26-A76BF6458036}" type="datetimeFigureOut">
              <a:rPr lang="cs-CZ" smtClean="0"/>
              <a:t>19.01.2022</a:t>
            </a:fld>
            <a:endParaRPr lang="cs-CZ"/>
          </a:p>
        </p:txBody>
      </p:sp>
      <p:sp>
        <p:nvSpPr>
          <p:cNvPr id="6" name="Zástupný symbol pro zápatí 5">
            <a:extLst>
              <a:ext uri="{FF2B5EF4-FFF2-40B4-BE49-F238E27FC236}">
                <a16:creationId xmlns:a16="http://schemas.microsoft.com/office/drawing/2014/main" id="{44E091C5-E625-4598-B1E6-3F885953FFC4}"/>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A0ECA2E2-038F-4D15-8B22-BE2A601B4905}"/>
              </a:ext>
            </a:extLst>
          </p:cNvPr>
          <p:cNvSpPr>
            <a:spLocks noGrp="1"/>
          </p:cNvSpPr>
          <p:nvPr>
            <p:ph type="sldNum" sz="quarter" idx="12"/>
          </p:nvPr>
        </p:nvSpPr>
        <p:spPr/>
        <p:txBody>
          <a:bodyPr/>
          <a:lstStyle/>
          <a:p>
            <a:fld id="{41C79ADA-515F-4E7E-84BD-B3429DED2682}" type="slidenum">
              <a:rPr lang="cs-CZ" smtClean="0"/>
              <a:t>‹#›</a:t>
            </a:fld>
            <a:endParaRPr lang="cs-CZ"/>
          </a:p>
        </p:txBody>
      </p:sp>
    </p:spTree>
    <p:extLst>
      <p:ext uri="{BB962C8B-B14F-4D97-AF65-F5344CB8AC3E}">
        <p14:creationId xmlns:p14="http://schemas.microsoft.com/office/powerpoint/2010/main" val="24833459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417C5EC-D4FD-409B-BCEA-81C67F2DF4D1}"/>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6F95288A-7692-4288-8064-89566DA690D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D717422F-CF67-458B-8257-941538B93C40}"/>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B611ED1E-63F2-4E48-9751-C96E138091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45CDB4E9-8C7F-4695-AA9C-FCEDB82BE555}"/>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CCD5BE80-19D6-4DCB-B280-F8E23D5DCD5B}"/>
              </a:ext>
            </a:extLst>
          </p:cNvPr>
          <p:cNvSpPr>
            <a:spLocks noGrp="1"/>
          </p:cNvSpPr>
          <p:nvPr>
            <p:ph type="dt" sz="half" idx="10"/>
          </p:nvPr>
        </p:nvSpPr>
        <p:spPr/>
        <p:txBody>
          <a:bodyPr/>
          <a:lstStyle/>
          <a:p>
            <a:fld id="{355F079A-B969-4D3B-9E26-A76BF6458036}" type="datetimeFigureOut">
              <a:rPr lang="cs-CZ" smtClean="0"/>
              <a:t>19.01.2022</a:t>
            </a:fld>
            <a:endParaRPr lang="cs-CZ"/>
          </a:p>
        </p:txBody>
      </p:sp>
      <p:sp>
        <p:nvSpPr>
          <p:cNvPr id="8" name="Zástupný symbol pro zápatí 7">
            <a:extLst>
              <a:ext uri="{FF2B5EF4-FFF2-40B4-BE49-F238E27FC236}">
                <a16:creationId xmlns:a16="http://schemas.microsoft.com/office/drawing/2014/main" id="{62266B58-B73D-434E-8E76-1658F85F4692}"/>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F14DF817-7C62-425D-8000-6B59D57218C9}"/>
              </a:ext>
            </a:extLst>
          </p:cNvPr>
          <p:cNvSpPr>
            <a:spLocks noGrp="1"/>
          </p:cNvSpPr>
          <p:nvPr>
            <p:ph type="sldNum" sz="quarter" idx="12"/>
          </p:nvPr>
        </p:nvSpPr>
        <p:spPr/>
        <p:txBody>
          <a:bodyPr/>
          <a:lstStyle/>
          <a:p>
            <a:fld id="{41C79ADA-515F-4E7E-84BD-B3429DED2682}" type="slidenum">
              <a:rPr lang="cs-CZ" smtClean="0"/>
              <a:t>‹#›</a:t>
            </a:fld>
            <a:endParaRPr lang="cs-CZ"/>
          </a:p>
        </p:txBody>
      </p:sp>
    </p:spTree>
    <p:extLst>
      <p:ext uri="{BB962C8B-B14F-4D97-AF65-F5344CB8AC3E}">
        <p14:creationId xmlns:p14="http://schemas.microsoft.com/office/powerpoint/2010/main" val="8684166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E02F693-58EE-4672-BD4C-0201EBE61F75}"/>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3CCDE9D-0684-449D-B101-13110CE847E5}"/>
              </a:ext>
            </a:extLst>
          </p:cNvPr>
          <p:cNvSpPr>
            <a:spLocks noGrp="1"/>
          </p:cNvSpPr>
          <p:nvPr>
            <p:ph type="dt" sz="half" idx="10"/>
          </p:nvPr>
        </p:nvSpPr>
        <p:spPr/>
        <p:txBody>
          <a:bodyPr/>
          <a:lstStyle/>
          <a:p>
            <a:fld id="{355F079A-B969-4D3B-9E26-A76BF6458036}" type="datetimeFigureOut">
              <a:rPr lang="cs-CZ" smtClean="0"/>
              <a:t>19.01.2022</a:t>
            </a:fld>
            <a:endParaRPr lang="cs-CZ"/>
          </a:p>
        </p:txBody>
      </p:sp>
      <p:sp>
        <p:nvSpPr>
          <p:cNvPr id="4" name="Zástupný symbol pro zápatí 3">
            <a:extLst>
              <a:ext uri="{FF2B5EF4-FFF2-40B4-BE49-F238E27FC236}">
                <a16:creationId xmlns:a16="http://schemas.microsoft.com/office/drawing/2014/main" id="{8DB61E3A-D7EB-46DB-AEAB-E7CD5460B85C}"/>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E06CBE6C-77F3-490E-A01A-54A03DF599D8}"/>
              </a:ext>
            </a:extLst>
          </p:cNvPr>
          <p:cNvSpPr>
            <a:spLocks noGrp="1"/>
          </p:cNvSpPr>
          <p:nvPr>
            <p:ph type="sldNum" sz="quarter" idx="12"/>
          </p:nvPr>
        </p:nvSpPr>
        <p:spPr/>
        <p:txBody>
          <a:bodyPr/>
          <a:lstStyle/>
          <a:p>
            <a:fld id="{41C79ADA-515F-4E7E-84BD-B3429DED2682}" type="slidenum">
              <a:rPr lang="cs-CZ" smtClean="0"/>
              <a:t>‹#›</a:t>
            </a:fld>
            <a:endParaRPr lang="cs-CZ"/>
          </a:p>
        </p:txBody>
      </p:sp>
    </p:spTree>
    <p:extLst>
      <p:ext uri="{BB962C8B-B14F-4D97-AF65-F5344CB8AC3E}">
        <p14:creationId xmlns:p14="http://schemas.microsoft.com/office/powerpoint/2010/main" val="42049322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C8A2ECC-513E-4D0A-9740-7774981F91ED}"/>
              </a:ext>
            </a:extLst>
          </p:cNvPr>
          <p:cNvSpPr>
            <a:spLocks noGrp="1"/>
          </p:cNvSpPr>
          <p:nvPr>
            <p:ph type="dt" sz="half" idx="10"/>
          </p:nvPr>
        </p:nvSpPr>
        <p:spPr/>
        <p:txBody>
          <a:bodyPr/>
          <a:lstStyle/>
          <a:p>
            <a:fld id="{355F079A-B969-4D3B-9E26-A76BF6458036}" type="datetimeFigureOut">
              <a:rPr lang="cs-CZ" smtClean="0"/>
              <a:t>19.01.2022</a:t>
            </a:fld>
            <a:endParaRPr lang="cs-CZ"/>
          </a:p>
        </p:txBody>
      </p:sp>
      <p:sp>
        <p:nvSpPr>
          <p:cNvPr id="3" name="Zástupný symbol pro zápatí 2">
            <a:extLst>
              <a:ext uri="{FF2B5EF4-FFF2-40B4-BE49-F238E27FC236}">
                <a16:creationId xmlns:a16="http://schemas.microsoft.com/office/drawing/2014/main" id="{BFEE1ED7-124E-4945-9FDD-41F9CA408B41}"/>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174A38A2-0A22-4C0C-A87C-64CB95236FFC}"/>
              </a:ext>
            </a:extLst>
          </p:cNvPr>
          <p:cNvSpPr>
            <a:spLocks noGrp="1"/>
          </p:cNvSpPr>
          <p:nvPr>
            <p:ph type="sldNum" sz="quarter" idx="12"/>
          </p:nvPr>
        </p:nvSpPr>
        <p:spPr/>
        <p:txBody>
          <a:bodyPr/>
          <a:lstStyle/>
          <a:p>
            <a:fld id="{41C79ADA-515F-4E7E-84BD-B3429DED2682}" type="slidenum">
              <a:rPr lang="cs-CZ" smtClean="0"/>
              <a:t>‹#›</a:t>
            </a:fld>
            <a:endParaRPr lang="cs-CZ"/>
          </a:p>
        </p:txBody>
      </p:sp>
    </p:spTree>
    <p:extLst>
      <p:ext uri="{BB962C8B-B14F-4D97-AF65-F5344CB8AC3E}">
        <p14:creationId xmlns:p14="http://schemas.microsoft.com/office/powerpoint/2010/main" val="26245155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EEB7537-C8B7-4597-B6FF-AFBD3ABB5603}"/>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B0968028-85C4-4789-9477-06B0BD18EF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81DEF750-34CD-4931-992E-BA63D1C1C5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997B1277-7600-4DB5-BC5E-8B1B065C45DE}"/>
              </a:ext>
            </a:extLst>
          </p:cNvPr>
          <p:cNvSpPr>
            <a:spLocks noGrp="1"/>
          </p:cNvSpPr>
          <p:nvPr>
            <p:ph type="dt" sz="half" idx="10"/>
          </p:nvPr>
        </p:nvSpPr>
        <p:spPr/>
        <p:txBody>
          <a:bodyPr/>
          <a:lstStyle/>
          <a:p>
            <a:fld id="{355F079A-B969-4D3B-9E26-A76BF6458036}" type="datetimeFigureOut">
              <a:rPr lang="cs-CZ" smtClean="0"/>
              <a:t>19.01.2022</a:t>
            </a:fld>
            <a:endParaRPr lang="cs-CZ"/>
          </a:p>
        </p:txBody>
      </p:sp>
      <p:sp>
        <p:nvSpPr>
          <p:cNvPr id="6" name="Zástupný symbol pro zápatí 5">
            <a:extLst>
              <a:ext uri="{FF2B5EF4-FFF2-40B4-BE49-F238E27FC236}">
                <a16:creationId xmlns:a16="http://schemas.microsoft.com/office/drawing/2014/main" id="{47811C39-222F-4FAD-B07E-3ADEA53C29A5}"/>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98235432-3FBC-43FC-A754-373FC46E317A}"/>
              </a:ext>
            </a:extLst>
          </p:cNvPr>
          <p:cNvSpPr>
            <a:spLocks noGrp="1"/>
          </p:cNvSpPr>
          <p:nvPr>
            <p:ph type="sldNum" sz="quarter" idx="12"/>
          </p:nvPr>
        </p:nvSpPr>
        <p:spPr/>
        <p:txBody>
          <a:bodyPr/>
          <a:lstStyle/>
          <a:p>
            <a:fld id="{41C79ADA-515F-4E7E-84BD-B3429DED2682}" type="slidenum">
              <a:rPr lang="cs-CZ" smtClean="0"/>
              <a:t>‹#›</a:t>
            </a:fld>
            <a:endParaRPr lang="cs-CZ"/>
          </a:p>
        </p:txBody>
      </p:sp>
    </p:spTree>
    <p:extLst>
      <p:ext uri="{BB962C8B-B14F-4D97-AF65-F5344CB8AC3E}">
        <p14:creationId xmlns:p14="http://schemas.microsoft.com/office/powerpoint/2010/main" val="8054021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742B714-80ED-4005-A405-43615470AC7F}"/>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A7E94801-A074-4B8C-B757-B69FE37EB6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117BBB6E-AD26-4F37-9661-566B5BCC81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D5F1F047-462C-4865-96C9-9F42D674BA1E}"/>
              </a:ext>
            </a:extLst>
          </p:cNvPr>
          <p:cNvSpPr>
            <a:spLocks noGrp="1"/>
          </p:cNvSpPr>
          <p:nvPr>
            <p:ph type="dt" sz="half" idx="10"/>
          </p:nvPr>
        </p:nvSpPr>
        <p:spPr/>
        <p:txBody>
          <a:bodyPr/>
          <a:lstStyle/>
          <a:p>
            <a:fld id="{355F079A-B969-4D3B-9E26-A76BF6458036}" type="datetimeFigureOut">
              <a:rPr lang="cs-CZ" smtClean="0"/>
              <a:t>19.01.2022</a:t>
            </a:fld>
            <a:endParaRPr lang="cs-CZ"/>
          </a:p>
        </p:txBody>
      </p:sp>
      <p:sp>
        <p:nvSpPr>
          <p:cNvPr id="6" name="Zástupný symbol pro zápatí 5">
            <a:extLst>
              <a:ext uri="{FF2B5EF4-FFF2-40B4-BE49-F238E27FC236}">
                <a16:creationId xmlns:a16="http://schemas.microsoft.com/office/drawing/2014/main" id="{2B49764F-E273-420D-88A4-2CF93C4915AA}"/>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652C22BF-1A22-495C-A09D-37AADCD8388A}"/>
              </a:ext>
            </a:extLst>
          </p:cNvPr>
          <p:cNvSpPr>
            <a:spLocks noGrp="1"/>
          </p:cNvSpPr>
          <p:nvPr>
            <p:ph type="sldNum" sz="quarter" idx="12"/>
          </p:nvPr>
        </p:nvSpPr>
        <p:spPr/>
        <p:txBody>
          <a:bodyPr/>
          <a:lstStyle/>
          <a:p>
            <a:fld id="{41C79ADA-515F-4E7E-84BD-B3429DED2682}" type="slidenum">
              <a:rPr lang="cs-CZ" smtClean="0"/>
              <a:t>‹#›</a:t>
            </a:fld>
            <a:endParaRPr lang="cs-CZ"/>
          </a:p>
        </p:txBody>
      </p:sp>
    </p:spTree>
    <p:extLst>
      <p:ext uri="{BB962C8B-B14F-4D97-AF65-F5344CB8AC3E}">
        <p14:creationId xmlns:p14="http://schemas.microsoft.com/office/powerpoint/2010/main" val="7237084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2364D47-2261-4726-A626-CA137E850D44}"/>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4C777ACA-1D5C-4168-AC03-6FA3CB2E2DB0}"/>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3EF2F1B4-0F1F-4113-B68C-6186C252F9A0}"/>
              </a:ext>
            </a:extLst>
          </p:cNvPr>
          <p:cNvSpPr>
            <a:spLocks noGrp="1"/>
          </p:cNvSpPr>
          <p:nvPr>
            <p:ph type="dt" sz="half" idx="10"/>
          </p:nvPr>
        </p:nvSpPr>
        <p:spPr/>
        <p:txBody>
          <a:bodyPr/>
          <a:lstStyle/>
          <a:p>
            <a:fld id="{355F079A-B969-4D3B-9E26-A76BF6458036}" type="datetimeFigureOut">
              <a:rPr lang="cs-CZ" smtClean="0"/>
              <a:t>19.01.2022</a:t>
            </a:fld>
            <a:endParaRPr lang="cs-CZ"/>
          </a:p>
        </p:txBody>
      </p:sp>
      <p:sp>
        <p:nvSpPr>
          <p:cNvPr id="5" name="Zástupný symbol pro zápatí 4">
            <a:extLst>
              <a:ext uri="{FF2B5EF4-FFF2-40B4-BE49-F238E27FC236}">
                <a16:creationId xmlns:a16="http://schemas.microsoft.com/office/drawing/2014/main" id="{1412B750-773E-468C-AC61-D1E5DE642B1C}"/>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2349774A-2C14-4111-97F2-EC2F6B578B54}"/>
              </a:ext>
            </a:extLst>
          </p:cNvPr>
          <p:cNvSpPr>
            <a:spLocks noGrp="1"/>
          </p:cNvSpPr>
          <p:nvPr>
            <p:ph type="sldNum" sz="quarter" idx="12"/>
          </p:nvPr>
        </p:nvSpPr>
        <p:spPr/>
        <p:txBody>
          <a:bodyPr/>
          <a:lstStyle/>
          <a:p>
            <a:fld id="{41C79ADA-515F-4E7E-84BD-B3429DED2682}" type="slidenum">
              <a:rPr lang="cs-CZ" smtClean="0"/>
              <a:t>‹#›</a:t>
            </a:fld>
            <a:endParaRPr lang="cs-CZ"/>
          </a:p>
        </p:txBody>
      </p:sp>
    </p:spTree>
    <p:extLst>
      <p:ext uri="{BB962C8B-B14F-4D97-AF65-F5344CB8AC3E}">
        <p14:creationId xmlns:p14="http://schemas.microsoft.com/office/powerpoint/2010/main" val="1918100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7248042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658EB29D-A8B1-4704-AEF9-6A01A64E65CC}"/>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12E7D6AC-8E05-49CC-8C8A-A8374E8D0DA6}"/>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FF6127B3-2A5B-480B-8BB4-55153F87AF2A}"/>
              </a:ext>
            </a:extLst>
          </p:cNvPr>
          <p:cNvSpPr>
            <a:spLocks noGrp="1"/>
          </p:cNvSpPr>
          <p:nvPr>
            <p:ph type="dt" sz="half" idx="10"/>
          </p:nvPr>
        </p:nvSpPr>
        <p:spPr/>
        <p:txBody>
          <a:bodyPr/>
          <a:lstStyle/>
          <a:p>
            <a:fld id="{355F079A-B969-4D3B-9E26-A76BF6458036}" type="datetimeFigureOut">
              <a:rPr lang="cs-CZ" smtClean="0"/>
              <a:t>19.01.2022</a:t>
            </a:fld>
            <a:endParaRPr lang="cs-CZ"/>
          </a:p>
        </p:txBody>
      </p:sp>
      <p:sp>
        <p:nvSpPr>
          <p:cNvPr id="5" name="Zástupný symbol pro zápatí 4">
            <a:extLst>
              <a:ext uri="{FF2B5EF4-FFF2-40B4-BE49-F238E27FC236}">
                <a16:creationId xmlns:a16="http://schemas.microsoft.com/office/drawing/2014/main" id="{538F06BC-2E99-45BF-AFA9-920584775A66}"/>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82C51DB7-1136-4810-8BA3-5BF8A70FF13F}"/>
              </a:ext>
            </a:extLst>
          </p:cNvPr>
          <p:cNvSpPr>
            <a:spLocks noGrp="1"/>
          </p:cNvSpPr>
          <p:nvPr>
            <p:ph type="sldNum" sz="quarter" idx="12"/>
          </p:nvPr>
        </p:nvSpPr>
        <p:spPr/>
        <p:txBody>
          <a:bodyPr/>
          <a:lstStyle/>
          <a:p>
            <a:fld id="{41C79ADA-515F-4E7E-84BD-B3429DED2682}" type="slidenum">
              <a:rPr lang="cs-CZ" smtClean="0"/>
              <a:t>‹#›</a:t>
            </a:fld>
            <a:endParaRPr lang="cs-CZ"/>
          </a:p>
        </p:txBody>
      </p:sp>
    </p:spTree>
    <p:extLst>
      <p:ext uri="{BB962C8B-B14F-4D97-AF65-F5344CB8AC3E}">
        <p14:creationId xmlns:p14="http://schemas.microsoft.com/office/powerpoint/2010/main" val="28172331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23174351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3518177240"/>
      </p:ext>
    </p:extLst>
  </p:cSld>
  <p:clrMapOvr>
    <a:masterClrMapping/>
  </p:clrMapOvr>
  <p:extLst>
    <p:ext uri="{DCECCB84-F9BA-43D5-87BE-67443E8EF086}">
      <p15:sldGuideLst xmlns:p15="http://schemas.microsoft.com/office/powerpoint/2012/main">
        <p15:guide id="1" orient="horz" pos="777">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2503799013"/>
      </p:ext>
    </p:extLst>
  </p:cSld>
  <p:clrMapOvr>
    <a:masterClrMapping/>
  </p:clrMapOvr>
  <p:extLst>
    <p:ext uri="{DCECCB84-F9BA-43D5-87BE-67443E8EF086}">
      <p15:sldGuideLst xmlns:p15="http://schemas.microsoft.com/office/powerpoint/2012/main">
        <p15:guide id="1" orient="horz" pos="346">
          <p15:clr>
            <a:srgbClr val="FBAE40"/>
          </p15:clr>
        </p15:guide>
        <p15:guide id="2" pos="758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7827901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7464356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10789491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25986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624222713"/>
      </p:ext>
    </p:extLst>
  </p:cSld>
  <p:clrMapOvr>
    <a:masterClrMapping/>
  </p:clrMapOvr>
  <p:extLst>
    <p:ext uri="{DCECCB84-F9BA-43D5-87BE-67443E8EF086}">
      <p15:sldGuideLst xmlns:p15="http://schemas.microsoft.com/office/powerpoint/2012/main">
        <p15:guide id="1" orient="horz" pos="411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31240302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B14159AF-26F1-42E1-BF83-F89C20A19403}" type="datetimeFigureOut">
              <a:rPr lang="cs-CZ" smtClean="0"/>
              <a:t>19.01.2022</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17757571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15819885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14835841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10" name="Obdélník 9">
            <a:extLst>
              <a:ext uri="{FF2B5EF4-FFF2-40B4-BE49-F238E27FC236}">
                <a16:creationId xmlns:a16="http://schemas.microsoft.com/office/drawing/2014/main" id="{5920C5AB-7E0D-4B8A-92A9-7DA47D440BBD}"/>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3" name="Zástupný obsah 2">
            <a:extLst>
              <a:ext uri="{FF2B5EF4-FFF2-40B4-BE49-F238E27FC236}">
                <a16:creationId xmlns:a16="http://schemas.microsoft.com/office/drawing/2014/main" id="{5CD1A40D-4F09-4D08-916F-43B796F44A47}"/>
              </a:ext>
            </a:extLst>
          </p:cNvPr>
          <p:cNvSpPr>
            <a:spLocks noGrp="1"/>
          </p:cNvSpPr>
          <p:nvPr>
            <p:ph idx="1"/>
          </p:nvPr>
        </p:nvSpPr>
        <p:spPr>
          <a:xfrm>
            <a:off x="381739" y="1825625"/>
            <a:ext cx="11487705" cy="4351338"/>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14" name="Nadpis 1">
            <a:extLst>
              <a:ext uri="{FF2B5EF4-FFF2-40B4-BE49-F238E27FC236}">
                <a16:creationId xmlns:a16="http://schemas.microsoft.com/office/drawing/2014/main" id="{635F49FF-6718-4CE1-A42C-74D8FC3B4218}"/>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grpSp>
        <p:nvGrpSpPr>
          <p:cNvPr id="15" name="Skupina 14">
            <a:extLst>
              <a:ext uri="{FF2B5EF4-FFF2-40B4-BE49-F238E27FC236}">
                <a16:creationId xmlns:a16="http://schemas.microsoft.com/office/drawing/2014/main" id="{A5367FD4-1AA0-460C-B73C-7D7567665B93}"/>
              </a:ext>
            </a:extLst>
          </p:cNvPr>
          <p:cNvGrpSpPr/>
          <p:nvPr userDrawn="1"/>
        </p:nvGrpSpPr>
        <p:grpSpPr>
          <a:xfrm>
            <a:off x="7146337" y="420847"/>
            <a:ext cx="4962987" cy="635942"/>
            <a:chOff x="3783104" y="781489"/>
            <a:chExt cx="6199096" cy="931105"/>
          </a:xfrm>
        </p:grpSpPr>
        <p:pic>
          <p:nvPicPr>
            <p:cNvPr id="16" name="Obrázek 15">
              <a:extLst>
                <a:ext uri="{FF2B5EF4-FFF2-40B4-BE49-F238E27FC236}">
                  <a16:creationId xmlns:a16="http://schemas.microsoft.com/office/drawing/2014/main" id="{36D59138-B214-4FC1-9898-96D78BF9475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7" name="Obrázek 16">
              <a:extLst>
                <a:ext uri="{FF2B5EF4-FFF2-40B4-BE49-F238E27FC236}">
                  <a16:creationId xmlns:a16="http://schemas.microsoft.com/office/drawing/2014/main" id="{C99D30FB-B17A-485F-8C33-36B649E5FF8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Tree>
    <p:extLst>
      <p:ext uri="{BB962C8B-B14F-4D97-AF65-F5344CB8AC3E}">
        <p14:creationId xmlns:p14="http://schemas.microsoft.com/office/powerpoint/2010/main" val="2059515531"/>
      </p:ext>
    </p:extLst>
  </p:cSld>
  <p:clrMapOvr>
    <a:masterClrMapping/>
  </p:clrMapOvr>
  <p:extLst>
    <p:ext uri="{DCECCB84-F9BA-43D5-87BE-67443E8EF086}">
      <p15:sldGuideLst xmlns:p15="http://schemas.microsoft.com/office/powerpoint/2012/main">
        <p15:guide id="1" orient="horz" pos="414">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40EF74F-5572-4E88-BDB6-732EFDF9A064}"/>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pic>
        <p:nvPicPr>
          <p:cNvPr id="13" name="Obrázek 12">
            <a:extLst>
              <a:ext uri="{FF2B5EF4-FFF2-40B4-BE49-F238E27FC236}">
                <a16:creationId xmlns:a16="http://schemas.microsoft.com/office/drawing/2014/main" id="{7ACC8354-5878-430C-A84E-8418F73DA8B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8761124" y="427270"/>
            <a:ext cx="3348200" cy="629518"/>
          </a:xfrm>
          <a:prstGeom prst="rect">
            <a:avLst/>
          </a:prstGeom>
        </p:spPr>
      </p:pic>
      <p:grpSp>
        <p:nvGrpSpPr>
          <p:cNvPr id="14" name="Skupina 13">
            <a:extLst>
              <a:ext uri="{FF2B5EF4-FFF2-40B4-BE49-F238E27FC236}">
                <a16:creationId xmlns:a16="http://schemas.microsoft.com/office/drawing/2014/main" id="{F87F3FC9-A29E-4C5B-A820-1CE817C19E7A}"/>
              </a:ext>
            </a:extLst>
          </p:cNvPr>
          <p:cNvGrpSpPr/>
          <p:nvPr userDrawn="1"/>
        </p:nvGrpSpPr>
        <p:grpSpPr>
          <a:xfrm>
            <a:off x="7146337" y="420847"/>
            <a:ext cx="4962987" cy="635942"/>
            <a:chOff x="3783104" y="781489"/>
            <a:chExt cx="6199096" cy="931105"/>
          </a:xfrm>
        </p:grpSpPr>
        <p:pic>
          <p:nvPicPr>
            <p:cNvPr id="15" name="Obrázek 14">
              <a:extLst>
                <a:ext uri="{FF2B5EF4-FFF2-40B4-BE49-F238E27FC236}">
                  <a16:creationId xmlns:a16="http://schemas.microsoft.com/office/drawing/2014/main" id="{88C88485-1FA6-42BC-89DE-25EBC5C93E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6" name="Obrázek 15">
              <a:extLst>
                <a:ext uri="{FF2B5EF4-FFF2-40B4-BE49-F238E27FC236}">
                  <a16:creationId xmlns:a16="http://schemas.microsoft.com/office/drawing/2014/main" id="{2861DD9B-1BC7-426A-81C6-0DC72A659A1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
        <p:nvSpPr>
          <p:cNvPr id="21" name="Nadpis 1">
            <a:extLst>
              <a:ext uri="{FF2B5EF4-FFF2-40B4-BE49-F238E27FC236}">
                <a16:creationId xmlns:a16="http://schemas.microsoft.com/office/drawing/2014/main" id="{A9AB94AD-4B9F-4F63-B34A-76C56085093C}"/>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spTree>
    <p:extLst>
      <p:ext uri="{BB962C8B-B14F-4D97-AF65-F5344CB8AC3E}">
        <p14:creationId xmlns:p14="http://schemas.microsoft.com/office/powerpoint/2010/main" val="7602624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86145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16673933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4159AF-26F1-42E1-BF83-F89C20A19403}"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01.2022</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1DE3A8-275C-4F7D-9678-21DFF80A7010}"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4064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233501730"/>
      </p:ext>
    </p:extLst>
  </p:cSld>
  <p:clrMapOvr>
    <a:masterClrMapping/>
  </p:clrMapOvr>
  <p:extLst>
    <p:ext uri="{DCECCB84-F9BA-43D5-87BE-67443E8EF086}">
      <p15:sldGuideLst xmlns:p15="http://schemas.microsoft.com/office/powerpoint/2012/main">
        <p15:guide id="1" orient="horz" pos="777">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2297449019"/>
      </p:ext>
    </p:extLst>
  </p:cSld>
  <p:clrMapOvr>
    <a:masterClrMapping/>
  </p:clrMapOvr>
  <p:extLst>
    <p:ext uri="{DCECCB84-F9BA-43D5-87BE-67443E8EF086}">
      <p15:sldGuideLst xmlns:p15="http://schemas.microsoft.com/office/powerpoint/2012/main">
        <p15:guide id="1" orient="horz" pos="346">
          <p15:clr>
            <a:srgbClr val="FBAE40"/>
          </p15:clr>
        </p15:guide>
        <p15:guide id="2" pos="758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26265447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557196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28195954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15298487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2592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045254987"/>
      </p:ext>
    </p:extLst>
  </p:cSld>
  <p:clrMapOvr>
    <a:masterClrMapping/>
  </p:clrMapOvr>
  <p:extLst>
    <p:ext uri="{DCECCB84-F9BA-43D5-87BE-67443E8EF086}">
      <p15:sldGuideLst xmlns:p15="http://schemas.microsoft.com/office/powerpoint/2012/main">
        <p15:guide id="1" orient="horz" pos="411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15236182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59567143"/>
      </p:ext>
    </p:extLst>
  </p:cSld>
  <p:clrMapOvr>
    <a:masterClrMapping/>
  </p:clrMapOvr>
  <p:extLst>
    <p:ext uri="{DCECCB84-F9BA-43D5-87BE-67443E8EF086}">
      <p15:sldGuideLst xmlns:p15="http://schemas.microsoft.com/office/powerpoint/2012/main">
        <p15:guide id="1" orient="horz" pos="777">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2033917042"/>
      </p:ext>
    </p:extLst>
  </p:cSld>
  <p:clrMapOvr>
    <a:masterClrMapping/>
  </p:clrMapOvr>
  <p:extLst>
    <p:ext uri="{DCECCB84-F9BA-43D5-87BE-67443E8EF086}">
      <p15:sldGuideLst xmlns:p15="http://schemas.microsoft.com/office/powerpoint/2012/main">
        <p15:guide id="1" orient="horz" pos="346">
          <p15:clr>
            <a:srgbClr val="FBAE40"/>
          </p15:clr>
        </p15:guide>
        <p15:guide id="2" pos="758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9977686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40553861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360451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BA61EBA-4FFF-4673-9BA0-55E82F992597}"/>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66FDA1FA-15B4-46DB-8563-9D168899EC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D0E34FA4-860E-40B4-97AD-3CF9B2CE905E}"/>
              </a:ext>
            </a:extLst>
          </p:cNvPr>
          <p:cNvSpPr>
            <a:spLocks noGrp="1"/>
          </p:cNvSpPr>
          <p:nvPr>
            <p:ph type="dt" sz="half" idx="10"/>
          </p:nvPr>
        </p:nvSpPr>
        <p:spPr/>
        <p:txBody>
          <a:bodyPr/>
          <a:lstStyle/>
          <a:p>
            <a:fld id="{AA058D0A-07E9-4A68-88A0-7C25FDBBE4AC}" type="datetimeFigureOut">
              <a:rPr lang="cs-CZ" smtClean="0"/>
              <a:t>19.01.2022</a:t>
            </a:fld>
            <a:endParaRPr lang="cs-CZ"/>
          </a:p>
        </p:txBody>
      </p:sp>
      <p:sp>
        <p:nvSpPr>
          <p:cNvPr id="5" name="Zástupný symbol pro zápatí 4">
            <a:extLst>
              <a:ext uri="{FF2B5EF4-FFF2-40B4-BE49-F238E27FC236}">
                <a16:creationId xmlns:a16="http://schemas.microsoft.com/office/drawing/2014/main" id="{0DD889F8-1CC5-41C1-BAF5-5D6BD0F6F5B0}"/>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DA22AC9-06BD-4427-B62E-52F6A58CB135}"/>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12451909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0928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665895580"/>
      </p:ext>
    </p:extLst>
  </p:cSld>
  <p:clrMapOvr>
    <a:masterClrMapping/>
  </p:clrMapOvr>
  <p:extLst>
    <p:ext uri="{DCECCB84-F9BA-43D5-87BE-67443E8EF086}">
      <p15:sldGuideLst xmlns:p15="http://schemas.microsoft.com/office/powerpoint/2012/main">
        <p15:guide id="1" orient="horz" pos="411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cstate="hqprint">
              <a:extLst>
                <a:ext uri="{28A0092B-C50C-407E-A947-70E740481C1C}">
                  <a14:useLocalDpi xmlns:a14="http://schemas.microsoft.com/office/drawing/2010/main" val="0"/>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5720628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4696214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Tree>
    <p:extLst>
      <p:ext uri="{BB962C8B-B14F-4D97-AF65-F5344CB8AC3E}">
        <p14:creationId xmlns:p14="http://schemas.microsoft.com/office/powerpoint/2010/main" val="2950065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730E577-8B32-4569-AC3C-76D6F2F6BDD5}"/>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F410C648-E034-410B-B01B-87701C8351F5}"/>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05F7769-50EF-4D0F-97C4-6A5E9227B19E}"/>
              </a:ext>
            </a:extLst>
          </p:cNvPr>
          <p:cNvSpPr>
            <a:spLocks noGrp="1"/>
          </p:cNvSpPr>
          <p:nvPr>
            <p:ph type="dt" sz="half" idx="10"/>
          </p:nvPr>
        </p:nvSpPr>
        <p:spPr/>
        <p:txBody>
          <a:bodyPr/>
          <a:lstStyle/>
          <a:p>
            <a:fld id="{AA058D0A-07E9-4A68-88A0-7C25FDBBE4AC}" type="datetimeFigureOut">
              <a:rPr lang="cs-CZ" smtClean="0"/>
              <a:t>19.01.2022</a:t>
            </a:fld>
            <a:endParaRPr lang="cs-CZ"/>
          </a:p>
        </p:txBody>
      </p:sp>
      <p:sp>
        <p:nvSpPr>
          <p:cNvPr id="5" name="Zástupný symbol pro zápatí 4">
            <a:extLst>
              <a:ext uri="{FF2B5EF4-FFF2-40B4-BE49-F238E27FC236}">
                <a16:creationId xmlns:a16="http://schemas.microsoft.com/office/drawing/2014/main" id="{1B6DB6D5-8367-4F80-AF41-87D069C80375}"/>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ADF10414-C935-472D-B8FC-16EBD0EE0168}"/>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1789238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8BCBB21-C0F1-4B2B-8A1C-15DD2EBAB71F}"/>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A7818461-3C43-44FE-80B9-D048BFA8E55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D107805A-C211-4BDC-8A7C-50C017CDC074}"/>
              </a:ext>
            </a:extLst>
          </p:cNvPr>
          <p:cNvSpPr>
            <a:spLocks noGrp="1"/>
          </p:cNvSpPr>
          <p:nvPr>
            <p:ph type="dt" sz="half" idx="10"/>
          </p:nvPr>
        </p:nvSpPr>
        <p:spPr/>
        <p:txBody>
          <a:bodyPr/>
          <a:lstStyle/>
          <a:p>
            <a:fld id="{AA058D0A-07E9-4A68-88A0-7C25FDBBE4AC}" type="datetimeFigureOut">
              <a:rPr lang="cs-CZ" smtClean="0"/>
              <a:t>19.01.2022</a:t>
            </a:fld>
            <a:endParaRPr lang="cs-CZ"/>
          </a:p>
        </p:txBody>
      </p:sp>
      <p:sp>
        <p:nvSpPr>
          <p:cNvPr id="5" name="Zástupný symbol pro zápatí 4">
            <a:extLst>
              <a:ext uri="{FF2B5EF4-FFF2-40B4-BE49-F238E27FC236}">
                <a16:creationId xmlns:a16="http://schemas.microsoft.com/office/drawing/2014/main" id="{5CF91BA1-1C1F-4294-9B84-82D31143C10D}"/>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AB89D46F-E6FD-4433-AE57-F03CFCFF8815}"/>
              </a:ext>
            </a:extLst>
          </p:cNvPr>
          <p:cNvSpPr>
            <a:spLocks noGrp="1"/>
          </p:cNvSpPr>
          <p:nvPr>
            <p:ph type="sldNum" sz="quarter" idx="12"/>
          </p:nvPr>
        </p:nvSpPr>
        <p:spPr/>
        <p:txBody>
          <a:bodyPr/>
          <a:lstStyle/>
          <a:p>
            <a:fld id="{7CDE0407-92DD-4F09-B2AC-2A5171679737}" type="slidenum">
              <a:rPr lang="cs-CZ" smtClean="0"/>
              <a:t>‹#›</a:t>
            </a:fld>
            <a:endParaRPr lang="cs-CZ"/>
          </a:p>
        </p:txBody>
      </p:sp>
    </p:spTree>
    <p:extLst>
      <p:ext uri="{BB962C8B-B14F-4D97-AF65-F5344CB8AC3E}">
        <p14:creationId xmlns:p14="http://schemas.microsoft.com/office/powerpoint/2010/main" val="283910557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4.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5.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theme" Target="../theme/theme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3.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image" Target="../media/image12.pn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image" Target="../media/image4.svg"/><Relationship Id="rId5" Type="http://schemas.openxmlformats.org/officeDocument/2006/relationships/slideLayout" Target="../slideLayouts/slideLayout61.xml"/><Relationship Id="rId10" Type="http://schemas.openxmlformats.org/officeDocument/2006/relationships/image" Target="../media/image11.png"/><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7.sv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heme" Target="../theme/theme9.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8CCCD239-AA6C-468B-B245-CD5B8A25AB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BC3069-8C51-47E8-9C44-38C8AF77A8AC}" type="datetimeFigureOut">
              <a:rPr lang="cs-CZ" smtClean="0"/>
              <a:t>19.01.2022</a:t>
            </a:fld>
            <a:endParaRPr lang="cs-CZ"/>
          </a:p>
        </p:txBody>
      </p:sp>
      <p:sp>
        <p:nvSpPr>
          <p:cNvPr id="5" name="Zástupný symbol pro zápatí 4">
            <a:extLst>
              <a:ext uri="{FF2B5EF4-FFF2-40B4-BE49-F238E27FC236}">
                <a16:creationId xmlns:a16="http://schemas.microsoft.com/office/drawing/2014/main" id="{6DE7136D-3C88-4971-84B6-5D5DE228D7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DAB90520-7E94-4EFB-924D-7EC9C954CA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1DAE22-6391-4995-B91F-1C3568FD3113}" type="slidenum">
              <a:rPr lang="cs-CZ" smtClean="0"/>
              <a:t>‹#›</a:t>
            </a:fld>
            <a:endParaRPr lang="cs-CZ"/>
          </a:p>
        </p:txBody>
      </p:sp>
    </p:spTree>
    <p:extLst>
      <p:ext uri="{BB962C8B-B14F-4D97-AF65-F5344CB8AC3E}">
        <p14:creationId xmlns:p14="http://schemas.microsoft.com/office/powerpoint/2010/main" val="12485124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874"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258AF7D2-4ED1-4129-9DE6-4BC40E78BA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84C08E0B-8703-4F4B-A221-FA41C8EDAF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93CDA1AE-D051-4265-B739-BBADD05EDA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058D0A-07E9-4A68-88A0-7C25FDBBE4AC}" type="datetimeFigureOut">
              <a:rPr lang="cs-CZ" smtClean="0"/>
              <a:t>19.01.2022</a:t>
            </a:fld>
            <a:endParaRPr lang="cs-CZ"/>
          </a:p>
        </p:txBody>
      </p:sp>
      <p:sp>
        <p:nvSpPr>
          <p:cNvPr id="5" name="Zástupný symbol pro zápatí 4">
            <a:extLst>
              <a:ext uri="{FF2B5EF4-FFF2-40B4-BE49-F238E27FC236}">
                <a16:creationId xmlns:a16="http://schemas.microsoft.com/office/drawing/2014/main" id="{BAA14082-EF73-46FC-8343-A2A3582777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72998947-0E69-43B5-8B05-739CE4C1B8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DE0407-92DD-4F09-B2AC-2A5171679737}" type="slidenum">
              <a:rPr lang="cs-CZ" smtClean="0"/>
              <a:t>‹#›</a:t>
            </a:fld>
            <a:endParaRPr lang="cs-CZ"/>
          </a:p>
        </p:txBody>
      </p:sp>
    </p:spTree>
    <p:extLst>
      <p:ext uri="{BB962C8B-B14F-4D97-AF65-F5344CB8AC3E}">
        <p14:creationId xmlns:p14="http://schemas.microsoft.com/office/powerpoint/2010/main" val="1591825394"/>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242849877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9" r:id="rId7"/>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8CCCD239-AA6C-468B-B245-CD5B8A25AB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BC3069-8C51-47E8-9C44-38C8AF77A8AC}" type="datetimeFigureOut">
              <a:rPr lang="cs-CZ" smtClean="0"/>
              <a:t>19.01.2022</a:t>
            </a:fld>
            <a:endParaRPr lang="cs-CZ"/>
          </a:p>
        </p:txBody>
      </p:sp>
      <p:sp>
        <p:nvSpPr>
          <p:cNvPr id="5" name="Zástupný symbol pro zápatí 4">
            <a:extLst>
              <a:ext uri="{FF2B5EF4-FFF2-40B4-BE49-F238E27FC236}">
                <a16:creationId xmlns:a16="http://schemas.microsoft.com/office/drawing/2014/main" id="{6DE7136D-3C88-4971-84B6-5D5DE228D7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DAB90520-7E94-4EFB-924D-7EC9C954CA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1DAE22-6391-4995-B91F-1C3568FD3113}" type="slidenum">
              <a:rPr lang="cs-CZ" smtClean="0"/>
              <a:t>‹#›</a:t>
            </a:fld>
            <a:endParaRPr lang="cs-CZ"/>
          </a:p>
        </p:txBody>
      </p:sp>
    </p:spTree>
    <p:extLst>
      <p:ext uri="{BB962C8B-B14F-4D97-AF65-F5344CB8AC3E}">
        <p14:creationId xmlns:p14="http://schemas.microsoft.com/office/powerpoint/2010/main" val="3242928380"/>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4083"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ADBC079C-B4DA-40CF-A388-906CE99126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CD84CBAA-B983-4013-8B61-110ECD403D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0F2611F3-43BB-4F17-93A2-2EB2B6A6610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5F079A-B969-4D3B-9E26-A76BF6458036}" type="datetimeFigureOut">
              <a:rPr lang="cs-CZ" smtClean="0"/>
              <a:t>19.01.2022</a:t>
            </a:fld>
            <a:endParaRPr lang="cs-CZ"/>
          </a:p>
        </p:txBody>
      </p:sp>
      <p:sp>
        <p:nvSpPr>
          <p:cNvPr id="5" name="Zástupný symbol pro zápatí 4">
            <a:extLst>
              <a:ext uri="{FF2B5EF4-FFF2-40B4-BE49-F238E27FC236}">
                <a16:creationId xmlns:a16="http://schemas.microsoft.com/office/drawing/2014/main" id="{438CCD38-9444-4B91-9637-67BD43E8AAD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ECC1DF30-0952-45DB-971A-5E04E15845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C79ADA-515F-4E7E-84BD-B3429DED2682}" type="slidenum">
              <a:rPr lang="cs-CZ" smtClean="0"/>
              <a:t>‹#›</a:t>
            </a:fld>
            <a:endParaRPr lang="cs-CZ"/>
          </a:p>
        </p:txBody>
      </p:sp>
    </p:spTree>
    <p:extLst>
      <p:ext uri="{BB962C8B-B14F-4D97-AF65-F5344CB8AC3E}">
        <p14:creationId xmlns:p14="http://schemas.microsoft.com/office/powerpoint/2010/main" val="1997407406"/>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4115001920"/>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8CCCD239-AA6C-468B-B245-CD5B8A25AB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BC3069-8C51-47E8-9C44-38C8AF77A8AC}" type="datetimeFigureOut">
              <a:rPr lang="cs-CZ" smtClean="0"/>
              <a:t>19.01.2022</a:t>
            </a:fld>
            <a:endParaRPr lang="cs-CZ"/>
          </a:p>
        </p:txBody>
      </p:sp>
      <p:sp>
        <p:nvSpPr>
          <p:cNvPr id="5" name="Zástupný symbol pro zápatí 4">
            <a:extLst>
              <a:ext uri="{FF2B5EF4-FFF2-40B4-BE49-F238E27FC236}">
                <a16:creationId xmlns:a16="http://schemas.microsoft.com/office/drawing/2014/main" id="{6DE7136D-3C88-4971-84B6-5D5DE228D7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DAB90520-7E94-4EFB-924D-7EC9C954CA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1DAE22-6391-4995-B91F-1C3568FD3113}" type="slidenum">
              <a:rPr lang="cs-CZ" smtClean="0"/>
              <a:t>‹#›</a:t>
            </a:fld>
            <a:endParaRPr lang="cs-CZ"/>
          </a:p>
        </p:txBody>
      </p:sp>
    </p:spTree>
    <p:extLst>
      <p:ext uri="{BB962C8B-B14F-4D97-AF65-F5344CB8AC3E}">
        <p14:creationId xmlns:p14="http://schemas.microsoft.com/office/powerpoint/2010/main" val="3796788813"/>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BE882FD9-D878-4FCD-9C72-C60BD3C7D753}"/>
              </a:ext>
            </a:extLst>
          </p:cNvPr>
          <p:cNvSpPr/>
          <p:nvPr userDrawn="1"/>
        </p:nvSpPr>
        <p:spPr>
          <a:xfrm>
            <a:off x="1" y="1"/>
            <a:ext cx="12192000" cy="681036"/>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dirty="0">
              <a:solidFill>
                <a:schemeClr val="bg1"/>
              </a:solidFill>
              <a:latin typeface="Arial (Základní text)"/>
            </a:endParaRP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55986" y="1"/>
            <a:ext cx="8808993" cy="681036"/>
          </a:xfrm>
          <a:prstGeom prst="rect">
            <a:avLst/>
          </a:prstGeom>
        </p:spPr>
        <p:txBody>
          <a:bodyPr vert="horz" lIns="91440" tIns="45720" rIns="91440" bIns="45720" rtlCol="0" anchor="ctr">
            <a:normAutofit/>
          </a:bodyPr>
          <a:lstStyle/>
          <a:p>
            <a:r>
              <a:rPr lang="cs-CZ" dirty="0"/>
              <a:t>Kliknutím lze upravit styl.</a:t>
            </a:r>
          </a:p>
        </p:txBody>
      </p:sp>
      <p:grpSp>
        <p:nvGrpSpPr>
          <p:cNvPr id="11" name="Skupina 10">
            <a:extLst>
              <a:ext uri="{FF2B5EF4-FFF2-40B4-BE49-F238E27FC236}">
                <a16:creationId xmlns:a16="http://schemas.microsoft.com/office/drawing/2014/main" id="{677A8944-7C67-401C-A076-2F9A4BFDBF1A}"/>
              </a:ext>
            </a:extLst>
          </p:cNvPr>
          <p:cNvGrpSpPr/>
          <p:nvPr userDrawn="1"/>
        </p:nvGrpSpPr>
        <p:grpSpPr>
          <a:xfrm>
            <a:off x="9532058" y="94004"/>
            <a:ext cx="2587791" cy="308285"/>
            <a:chOff x="8214317" y="331276"/>
            <a:chExt cx="3881688" cy="450808"/>
          </a:xfrm>
        </p:grpSpPr>
        <p:pic>
          <p:nvPicPr>
            <p:cNvPr id="12" name="Grafický objekt 11">
              <a:extLst>
                <a:ext uri="{FF2B5EF4-FFF2-40B4-BE49-F238E27FC236}">
                  <a16:creationId xmlns:a16="http://schemas.microsoft.com/office/drawing/2014/main" id="{85265334-1A97-4E03-A335-0EFFE9BA9151}"/>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14317" y="471177"/>
              <a:ext cx="2963998" cy="252000"/>
            </a:xfrm>
            <a:prstGeom prst="rect">
              <a:avLst/>
            </a:prstGeom>
          </p:spPr>
        </p:pic>
        <p:pic>
          <p:nvPicPr>
            <p:cNvPr id="13" name="Obrázek 12" descr="Obsah obrázku kreslení&#10;&#10;Popis byl vytvořen automaticky">
              <a:extLst>
                <a:ext uri="{FF2B5EF4-FFF2-40B4-BE49-F238E27FC236}">
                  <a16:creationId xmlns:a16="http://schemas.microsoft.com/office/drawing/2014/main" id="{F366B753-F05F-414A-91C1-96175A86F108}"/>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14" name="Grafický objekt 13">
            <a:extLst>
              <a:ext uri="{FF2B5EF4-FFF2-40B4-BE49-F238E27FC236}">
                <a16:creationId xmlns:a16="http://schemas.microsoft.com/office/drawing/2014/main" id="{1E3E26BE-213E-4D1E-96AC-DD921E82501F}"/>
              </a:ext>
            </a:extLst>
          </p:cNvPr>
          <p:cNvPicPr>
            <a:picLocks noChangeAspect="1"/>
          </p:cNvPicPr>
          <p:nvPr userDrawn="1"/>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1015155546"/>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Lst>
  <p:hf hdr="0" dt="0"/>
  <p:txStyles>
    <p:titleStyle>
      <a:lvl1pPr algn="l" defTabSz="914400" rtl="0" eaLnBrk="1" latinLnBrk="0" hangingPunct="1">
        <a:lnSpc>
          <a:spcPct val="90000"/>
        </a:lnSpc>
        <a:spcBef>
          <a:spcPct val="0"/>
        </a:spcBef>
        <a:buNone/>
        <a:defRPr sz="3200" b="1" kern="1200">
          <a:solidFill>
            <a:schemeClr val="bg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BE882FD9-D878-4FCD-9C72-C60BD3C7D753}"/>
              </a:ext>
            </a:extLst>
          </p:cNvPr>
          <p:cNvSpPr/>
          <p:nvPr userDrawn="1"/>
        </p:nvSpPr>
        <p:spPr>
          <a:xfrm>
            <a:off x="1" y="1"/>
            <a:ext cx="12192000" cy="681036"/>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dirty="0">
              <a:solidFill>
                <a:schemeClr val="bg1"/>
              </a:solidFill>
              <a:latin typeface="Arial (Základní text)"/>
            </a:endParaRP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55986" y="1"/>
            <a:ext cx="8808993" cy="681036"/>
          </a:xfrm>
          <a:prstGeom prst="rect">
            <a:avLst/>
          </a:prstGeom>
        </p:spPr>
        <p:txBody>
          <a:bodyPr vert="horz" lIns="91440" tIns="45720" rIns="91440" bIns="45720" rtlCol="0" anchor="ctr">
            <a:normAutofit/>
          </a:bodyPr>
          <a:lstStyle/>
          <a:p>
            <a:r>
              <a:rPr lang="cs-CZ" dirty="0"/>
              <a:t>Kliknutím lze upravit styl.</a:t>
            </a:r>
          </a:p>
        </p:txBody>
      </p:sp>
    </p:spTree>
    <p:extLst>
      <p:ext uri="{BB962C8B-B14F-4D97-AF65-F5344CB8AC3E}">
        <p14:creationId xmlns:p14="http://schemas.microsoft.com/office/powerpoint/2010/main" val="1536957958"/>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Lst>
  <p:hf hdr="0" dt="0"/>
  <p:txStyles>
    <p:titleStyle>
      <a:lvl1pPr algn="l" defTabSz="914400" rtl="0" eaLnBrk="1" latinLnBrk="0" hangingPunct="1">
        <a:lnSpc>
          <a:spcPct val="90000"/>
        </a:lnSpc>
        <a:spcBef>
          <a:spcPct val="0"/>
        </a:spcBef>
        <a:buNone/>
        <a:defRPr sz="3200" b="1" kern="1200">
          <a:solidFill>
            <a:schemeClr val="bg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3.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chart" Target="../charts/chart12.xml"/><Relationship Id="rId3" Type="http://schemas.openxmlformats.org/officeDocument/2006/relationships/tags" Target="../tags/tag54.xml"/><Relationship Id="rId21" Type="http://schemas.openxmlformats.org/officeDocument/2006/relationships/tags" Target="../tags/tag72.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chart" Target="../charts/chart11.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tags" Target="../tags/tag71.xml"/><Relationship Id="rId29" Type="http://schemas.openxmlformats.org/officeDocument/2006/relationships/chart" Target="../charts/chart15.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notesSlide" Target="../notesSlides/notesSlide7.xml"/><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slideLayout" Target="../slideLayouts/slideLayout29.xml"/><Relationship Id="rId28" Type="http://schemas.openxmlformats.org/officeDocument/2006/relationships/chart" Target="../charts/chart14.xml"/><Relationship Id="rId10" Type="http://schemas.openxmlformats.org/officeDocument/2006/relationships/tags" Target="../tags/tag61.xml"/><Relationship Id="rId19" Type="http://schemas.openxmlformats.org/officeDocument/2006/relationships/tags" Target="../tags/tag70.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 Id="rId27" Type="http://schemas.openxmlformats.org/officeDocument/2006/relationships/chart" Target="../charts/chart13.xml"/><Relationship Id="rId30" Type="http://schemas.openxmlformats.org/officeDocument/2006/relationships/chart" Target="../charts/chart16.xml"/></Relationships>
</file>

<file path=ppt/slides/_rels/slide11.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chart" Target="../charts/chart17.xml"/><Relationship Id="rId5" Type="http://schemas.openxmlformats.org/officeDocument/2006/relationships/notesSlide" Target="../notesSlides/notesSlide8.xml"/><Relationship Id="rId4"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78.xml"/><Relationship Id="rId1" Type="http://schemas.openxmlformats.org/officeDocument/2006/relationships/tags" Target="../tags/tag7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80.xml"/><Relationship Id="rId1" Type="http://schemas.openxmlformats.org/officeDocument/2006/relationships/tags" Target="../tags/tag7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82.xml"/><Relationship Id="rId1" Type="http://schemas.openxmlformats.org/officeDocument/2006/relationships/tags" Target="../tags/tag81.xml"/><Relationship Id="rId4" Type="http://schemas.openxmlformats.org/officeDocument/2006/relationships/image" Target="../media/image24.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5.emf"/><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tags" Target="../tags/tag87.xml"/><Relationship Id="rId7" Type="http://schemas.openxmlformats.org/officeDocument/2006/relationships/notesSlide" Target="../notesSlides/notesSlide10.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slideLayout" Target="../slideLayouts/slideLayout41.xml"/><Relationship Id="rId5" Type="http://schemas.openxmlformats.org/officeDocument/2006/relationships/tags" Target="../tags/tag89.xml"/><Relationship Id="rId4" Type="http://schemas.openxmlformats.org/officeDocument/2006/relationships/tags" Target="../tags/tag8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1.xml"/><Relationship Id="rId1" Type="http://schemas.openxmlformats.org/officeDocument/2006/relationships/tags" Target="../tags/tag90.xml"/><Relationship Id="rId4" Type="http://schemas.openxmlformats.org/officeDocument/2006/relationships/image" Target="../media/image26.emf"/></Relationships>
</file>

<file path=ppt/slides/_rels/slide1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5.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93.xml"/><Relationship Id="rId1" Type="http://schemas.openxmlformats.org/officeDocument/2006/relationships/tags" Target="../tags/tag92.xml"/></Relationships>
</file>

<file path=ppt/slides/_rels/slide22.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slideLayout" Target="../slideLayouts/slideLayout5.xml"/><Relationship Id="rId5" Type="http://schemas.openxmlformats.org/officeDocument/2006/relationships/tags" Target="../tags/tag98.xml"/><Relationship Id="rId4" Type="http://schemas.openxmlformats.org/officeDocument/2006/relationships/tags" Target="../tags/tag97.xml"/></Relationships>
</file>

<file path=ppt/slides/_rels/slide23.xml.rels><?xml version="1.0" encoding="UTF-8" standalone="yes"?>
<Relationships xmlns="http://schemas.openxmlformats.org/package/2006/relationships"><Relationship Id="rId8" Type="http://schemas.openxmlformats.org/officeDocument/2006/relationships/tags" Target="../tags/tag106.xml"/><Relationship Id="rId3" Type="http://schemas.openxmlformats.org/officeDocument/2006/relationships/tags" Target="../tags/tag101.xml"/><Relationship Id="rId7" Type="http://schemas.openxmlformats.org/officeDocument/2006/relationships/tags" Target="../tags/tag105.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chart" Target="../charts/chart22.xml"/><Relationship Id="rId5" Type="http://schemas.openxmlformats.org/officeDocument/2006/relationships/tags" Target="../tags/tag103.xml"/><Relationship Id="rId10" Type="http://schemas.openxmlformats.org/officeDocument/2006/relationships/notesSlide" Target="../notesSlides/notesSlide14.xml"/><Relationship Id="rId4" Type="http://schemas.openxmlformats.org/officeDocument/2006/relationships/tags" Target="../tags/tag102.xml"/><Relationship Id="rId9"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notesSlide" Target="../notesSlides/notesSlide15.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slideLayout" Target="../slideLayouts/slideLayout22.xml"/><Relationship Id="rId5" Type="http://schemas.openxmlformats.org/officeDocument/2006/relationships/tags" Target="../tags/tag111.xml"/><Relationship Id="rId4" Type="http://schemas.openxmlformats.org/officeDocument/2006/relationships/tags" Target="../tags/tag110.xml"/></Relationships>
</file>

<file path=ppt/slides/_rels/slide25.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slideLayout" Target="../slideLayouts/slideLayout6.xml"/><Relationship Id="rId3" Type="http://schemas.openxmlformats.org/officeDocument/2006/relationships/tags" Target="../tags/tag114.xml"/><Relationship Id="rId21" Type="http://schemas.openxmlformats.org/officeDocument/2006/relationships/tags" Target="../tags/tag132.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2" Type="http://schemas.openxmlformats.org/officeDocument/2006/relationships/tags" Target="../tags/tag113.xml"/><Relationship Id="rId16" Type="http://schemas.openxmlformats.org/officeDocument/2006/relationships/tags" Target="../tags/tag127.xml"/><Relationship Id="rId20" Type="http://schemas.openxmlformats.org/officeDocument/2006/relationships/tags" Target="../tags/tag131.xml"/><Relationship Id="rId29" Type="http://schemas.openxmlformats.org/officeDocument/2006/relationships/image" Target="../media/image29.png"/><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tags" Target="../tags/tag122.xml"/><Relationship Id="rId24" Type="http://schemas.openxmlformats.org/officeDocument/2006/relationships/tags" Target="../tags/tag135.xml"/><Relationship Id="rId5" Type="http://schemas.openxmlformats.org/officeDocument/2006/relationships/tags" Target="../tags/tag116.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image" Target="../media/image28.png"/><Relationship Id="rId10" Type="http://schemas.openxmlformats.org/officeDocument/2006/relationships/tags" Target="../tags/tag121.xml"/><Relationship Id="rId19" Type="http://schemas.openxmlformats.org/officeDocument/2006/relationships/tags" Target="../tags/tag130.xml"/><Relationship Id="rId31" Type="http://schemas.openxmlformats.org/officeDocument/2006/relationships/image" Target="../media/image31.png"/><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image" Target="../media/image27.png"/><Relationship Id="rId30" Type="http://schemas.openxmlformats.org/officeDocument/2006/relationships/image" Target="../media/image30.png"/></Relationships>
</file>

<file path=ppt/slides/_rels/slide26.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 Type="http://schemas.openxmlformats.org/officeDocument/2006/relationships/tags" Target="../tags/tag139.xml"/><Relationship Id="rId21" Type="http://schemas.openxmlformats.org/officeDocument/2006/relationships/tags" Target="../tags/tag157.xml"/><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image" Target="../media/image33.png"/><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tags" Target="../tags/tag160.xml"/><Relationship Id="rId32" Type="http://schemas.openxmlformats.org/officeDocument/2006/relationships/image" Target="../media/image36.png"/><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image" Target="../media/image32.png"/><Relationship Id="rId10" Type="http://schemas.openxmlformats.org/officeDocument/2006/relationships/tags" Target="../tags/tag146.xml"/><Relationship Id="rId19" Type="http://schemas.openxmlformats.org/officeDocument/2006/relationships/tags" Target="../tags/tag155.xml"/><Relationship Id="rId31" Type="http://schemas.openxmlformats.org/officeDocument/2006/relationships/image" Target="../media/image35.png"/><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slideLayout" Target="../slideLayouts/slideLayout6.xml"/><Relationship Id="rId30"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tags" Target="../tags/tag163.xml"/><Relationship Id="rId5" Type="http://schemas.openxmlformats.org/officeDocument/2006/relationships/chart" Target="../charts/chart23.xml"/><Relationship Id="rId4"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chart" Target="../charts/chart24.xml"/><Relationship Id="rId4"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slideLayout" Target="../slideLayouts/slideLayout5.xml"/><Relationship Id="rId1" Type="http://schemas.openxmlformats.org/officeDocument/2006/relationships/tags" Target="../tags/tag16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7.xml"/><Relationship Id="rId1" Type="http://schemas.openxmlformats.org/officeDocument/2006/relationships/tags" Target="../tags/tag6.xml"/></Relationships>
</file>

<file path=ppt/slides/_rels/slide30.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slideLayout" Target="../slideLayouts/slideLayout5.xml"/><Relationship Id="rId1" Type="http://schemas.openxmlformats.org/officeDocument/2006/relationships/tags" Target="../tags/tag170.xml"/></Relationships>
</file>

<file path=ppt/slides/_rels/slide3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slideLayout" Target="../slideLayouts/slideLayout5.xml"/><Relationship Id="rId1" Type="http://schemas.openxmlformats.org/officeDocument/2006/relationships/tags" Target="../tags/tag17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73.xml"/><Relationship Id="rId1" Type="http://schemas.openxmlformats.org/officeDocument/2006/relationships/tags" Target="../tags/tag172.xml"/></Relationships>
</file>

<file path=ppt/slides/_rels/slide33.xml.rels><?xml version="1.0" encoding="UTF-8" standalone="yes"?>
<Relationships xmlns="http://schemas.openxmlformats.org/package/2006/relationships"><Relationship Id="rId8" Type="http://schemas.openxmlformats.org/officeDocument/2006/relationships/chart" Target="../charts/chart25.xml"/><Relationship Id="rId3" Type="http://schemas.openxmlformats.org/officeDocument/2006/relationships/tags" Target="../tags/tag176.xml"/><Relationship Id="rId7" Type="http://schemas.openxmlformats.org/officeDocument/2006/relationships/notesSlide" Target="../notesSlides/notesSlide16.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Layout" Target="../slideLayouts/slideLayout6.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chart" Target="../charts/chart2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slideLayout" Target="../slideLayouts/slideLayout5.xml"/><Relationship Id="rId4" Type="http://schemas.openxmlformats.org/officeDocument/2006/relationships/tags" Target="../tags/tag182.xml"/></Relationships>
</file>

<file path=ppt/slides/_rels/slide36.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tags" Target="../tags/tag183.xml"/><Relationship Id="rId4"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tags" Target="../tags/tag186.xml"/><Relationship Id="rId5" Type="http://schemas.openxmlformats.org/officeDocument/2006/relationships/chart" Target="../charts/chart27.xml"/><Relationship Id="rId4"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chart" Target="../charts/chart28.xml"/><Relationship Id="rId4"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chart" Target="../charts/chart2.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chart" Target="../charts/char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notesSlide" Target="../notesSlides/notesSlide1.xml"/><Relationship Id="rId5" Type="http://schemas.openxmlformats.org/officeDocument/2006/relationships/tags" Target="../tags/tag12.xml"/><Relationship Id="rId10" Type="http://schemas.openxmlformats.org/officeDocument/2006/relationships/slideLayout" Target="../slideLayouts/slideLayout69.xml"/><Relationship Id="rId4" Type="http://schemas.openxmlformats.org/officeDocument/2006/relationships/tags" Target="../tags/tag11.xml"/><Relationship Id="rId9" Type="http://schemas.openxmlformats.org/officeDocument/2006/relationships/tags" Target="../tags/tag1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2.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tags" Target="../tags/tag194.xml"/><Relationship Id="rId7" Type="http://schemas.openxmlformats.org/officeDocument/2006/relationships/notesSlide" Target="../notesSlides/notesSlide17.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slideLayout" Target="../slideLayouts/slideLayout8.xml"/><Relationship Id="rId5" Type="http://schemas.openxmlformats.org/officeDocument/2006/relationships/tags" Target="../tags/tag196.xml"/><Relationship Id="rId4" Type="http://schemas.openxmlformats.org/officeDocument/2006/relationships/tags" Target="../tags/tag195.xml"/></Relationships>
</file>

<file path=ppt/slides/_rels/slide43.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chart" Target="../charts/chart30.xml"/><Relationship Id="rId5" Type="http://schemas.openxmlformats.org/officeDocument/2006/relationships/notesSlide" Target="../notesSlides/notesSlide18.xml"/><Relationship Id="rId4"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3" Type="http://schemas.openxmlformats.org/officeDocument/2006/relationships/tags" Target="../tags/tag202.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notesSlide" Target="../notesSlides/notesSlide19.xml"/><Relationship Id="rId5" Type="http://schemas.openxmlformats.org/officeDocument/2006/relationships/slideLayout" Target="../slideLayouts/slideLayout8.xml"/><Relationship Id="rId4" Type="http://schemas.openxmlformats.org/officeDocument/2006/relationships/tags" Target="../tags/tag20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205.xml"/><Relationship Id="rId1" Type="http://schemas.openxmlformats.org/officeDocument/2006/relationships/tags" Target="../tags/tag204.xml"/></Relationships>
</file>

<file path=ppt/slides/_rels/slide46.xml.rels><?xml version="1.0" encoding="UTF-8" standalone="yes"?>
<Relationships xmlns="http://schemas.openxmlformats.org/package/2006/relationships"><Relationship Id="rId8" Type="http://schemas.openxmlformats.org/officeDocument/2006/relationships/tags" Target="../tags/tag213.xml"/><Relationship Id="rId13" Type="http://schemas.openxmlformats.org/officeDocument/2006/relationships/chart" Target="../charts/chart31.xml"/><Relationship Id="rId3" Type="http://schemas.openxmlformats.org/officeDocument/2006/relationships/tags" Target="../tags/tag208.xml"/><Relationship Id="rId7" Type="http://schemas.openxmlformats.org/officeDocument/2006/relationships/tags" Target="../tags/tag212.xml"/><Relationship Id="rId12" Type="http://schemas.openxmlformats.org/officeDocument/2006/relationships/slideLayout" Target="../slideLayouts/slideLayout29.xml"/><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11.xml"/><Relationship Id="rId11" Type="http://schemas.openxmlformats.org/officeDocument/2006/relationships/tags" Target="../tags/tag216.xml"/><Relationship Id="rId5" Type="http://schemas.openxmlformats.org/officeDocument/2006/relationships/tags" Target="../tags/tag210.xml"/><Relationship Id="rId10" Type="http://schemas.openxmlformats.org/officeDocument/2006/relationships/tags" Target="../tags/tag215.xml"/><Relationship Id="rId4" Type="http://schemas.openxmlformats.org/officeDocument/2006/relationships/tags" Target="../tags/tag209.xml"/><Relationship Id="rId9" Type="http://schemas.openxmlformats.org/officeDocument/2006/relationships/tags" Target="../tags/tag214.xml"/></Relationships>
</file>

<file path=ppt/slides/_rels/slide47.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slideLayout" Target="../slideLayouts/slideLayout29.xml"/><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tags" Target="../tags/tag228.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tags" Target="../tags/tag227.xml"/><Relationship Id="rId5" Type="http://schemas.openxmlformats.org/officeDocument/2006/relationships/tags" Target="../tags/tag221.xml"/><Relationship Id="rId10" Type="http://schemas.openxmlformats.org/officeDocument/2006/relationships/tags" Target="../tags/tag226.xml"/><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chart" Target="../charts/chart32.xml"/></Relationships>
</file>

<file path=ppt/slides/_rels/slide48.xml.rels><?xml version="1.0" encoding="UTF-8" standalone="yes"?>
<Relationships xmlns="http://schemas.openxmlformats.org/package/2006/relationships"><Relationship Id="rId8" Type="http://schemas.openxmlformats.org/officeDocument/2006/relationships/tags" Target="../tags/tag236.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chart" Target="../charts/chart33.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slideLayout" Target="../slideLayouts/slideLayout29.xml"/><Relationship Id="rId5" Type="http://schemas.openxmlformats.org/officeDocument/2006/relationships/tags" Target="../tags/tag233.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240.xml"/><Relationship Id="rId1" Type="http://schemas.openxmlformats.org/officeDocument/2006/relationships/tags" Target="../tags/tag239.xml"/><Relationship Id="rId5" Type="http://schemas.openxmlformats.org/officeDocument/2006/relationships/chart" Target="../charts/chart34.xml"/><Relationship Id="rId4" Type="http://schemas.openxmlformats.org/officeDocument/2006/relationships/notesSlide" Target="../notesSlides/notesSlide2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notesSlide" Target="../notesSlides/notesSlide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242.xml"/><Relationship Id="rId1" Type="http://schemas.openxmlformats.org/officeDocument/2006/relationships/tags" Target="../tags/tag241.xml"/><Relationship Id="rId5" Type="http://schemas.openxmlformats.org/officeDocument/2006/relationships/chart" Target="../charts/chart35.xml"/><Relationship Id="rId4" Type="http://schemas.openxmlformats.org/officeDocument/2006/relationships/notesSlide" Target="../notesSlides/notesSlide21.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244.xml"/><Relationship Id="rId1" Type="http://schemas.openxmlformats.org/officeDocument/2006/relationships/tags" Target="../tags/tag243.xml"/><Relationship Id="rId5" Type="http://schemas.openxmlformats.org/officeDocument/2006/relationships/chart" Target="../charts/chart36.xml"/><Relationship Id="rId4" Type="http://schemas.openxmlformats.org/officeDocument/2006/relationships/notesSlide" Target="../notesSlides/notesSlide22.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246.xml"/><Relationship Id="rId1" Type="http://schemas.openxmlformats.org/officeDocument/2006/relationships/tags" Target="../tags/tag245.xml"/><Relationship Id="rId5" Type="http://schemas.openxmlformats.org/officeDocument/2006/relationships/chart" Target="../charts/chart37.xml"/><Relationship Id="rId4" Type="http://schemas.openxmlformats.org/officeDocument/2006/relationships/notesSlide" Target="../notesSlides/notesSlide23.xml"/></Relationships>
</file>

<file path=ppt/slides/_rels/slide53.xml.rels><?xml version="1.0" encoding="UTF-8" standalone="yes"?>
<Relationships xmlns="http://schemas.openxmlformats.org/package/2006/relationships"><Relationship Id="rId3" Type="http://schemas.openxmlformats.org/officeDocument/2006/relationships/tags" Target="../tags/tag249.xml"/><Relationship Id="rId7" Type="http://schemas.openxmlformats.org/officeDocument/2006/relationships/chart" Target="../charts/chart39.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chart" Target="../charts/chart38.xml"/><Relationship Id="rId5" Type="http://schemas.openxmlformats.org/officeDocument/2006/relationships/slideLayout" Target="../slideLayouts/slideLayout46.xml"/><Relationship Id="rId4" Type="http://schemas.openxmlformats.org/officeDocument/2006/relationships/tags" Target="../tags/tag250.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ags" Target="../tags/tag25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3.emf"/><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chart" Target="../charts/chart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notesSlide" Target="../notesSlides/notesSlide4.xml"/><Relationship Id="rId5" Type="http://schemas.openxmlformats.org/officeDocument/2006/relationships/slideLayout" Target="../slideLayouts/slideLayout29.xml"/><Relationship Id="rId4" Type="http://schemas.openxmlformats.org/officeDocument/2006/relationships/tags" Target="../tags/tag24.xml"/></Relationships>
</file>

<file path=ppt/slides/_rels/slide8.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27.xml"/><Relationship Id="rId7" Type="http://schemas.openxmlformats.org/officeDocument/2006/relationships/notesSlide" Target="../notesSlides/notesSlide5.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Layout" Target="../slideLayouts/slideLayout29.xml"/><Relationship Id="rId5" Type="http://schemas.openxmlformats.org/officeDocument/2006/relationships/tags" Target="../tags/tag29.xml"/><Relationship Id="rId4" Type="http://schemas.openxmlformats.org/officeDocument/2006/relationships/tags" Target="../tags/tag28.xml"/></Relationships>
</file>

<file path=ppt/slides/_rels/slide9.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chart" Target="../charts/chart6.xml"/><Relationship Id="rId3" Type="http://schemas.openxmlformats.org/officeDocument/2006/relationships/tags" Target="../tags/tag32.xml"/><Relationship Id="rId21" Type="http://schemas.openxmlformats.org/officeDocument/2006/relationships/tags" Target="../tags/tag50.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chart" Target="../charts/chart5.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29" Type="http://schemas.openxmlformats.org/officeDocument/2006/relationships/chart" Target="../charts/chart9.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notesSlide" Target="../notesSlides/notesSlide6.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slideLayout" Target="../slideLayouts/slideLayout29.xml"/><Relationship Id="rId28" Type="http://schemas.openxmlformats.org/officeDocument/2006/relationships/chart" Target="../charts/chart8.xml"/><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chart" Target="../charts/chart7.xml"/><Relationship Id="rId30"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custDataLst>
              <p:tags r:id="rId1"/>
            </p:custDataLst>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custDataLst>
              <p:tags r:id="rId2"/>
            </p:custDataLst>
          </p:nvPr>
        </p:nvSpPr>
        <p:spPr>
          <a:xfrm>
            <a:off x="143346" y="3693109"/>
            <a:ext cx="11905307" cy="2317166"/>
          </a:xfrm>
        </p:spPr>
        <p:txBody>
          <a:bodyPr>
            <a:normAutofit/>
          </a:bodyPr>
          <a:lstStyle/>
          <a:p>
            <a:r>
              <a:rPr lang="cs-CZ" sz="4800" b="1" dirty="0"/>
              <a:t>Stav epidemie k 18. 1. 2022</a:t>
            </a:r>
          </a:p>
          <a:p>
            <a:r>
              <a:rPr lang="cs-CZ" sz="4800" b="1" dirty="0"/>
              <a:t>Souhrnný přehled aktuálních dat a trendů</a:t>
            </a:r>
            <a:endParaRPr lang="cs-CZ" sz="4600" i="1" dirty="0"/>
          </a:p>
        </p:txBody>
      </p:sp>
    </p:spTree>
    <p:extLst>
      <p:ext uri="{BB962C8B-B14F-4D97-AF65-F5344CB8AC3E}">
        <p14:creationId xmlns:p14="http://schemas.microsoft.com/office/powerpoint/2010/main" val="19964062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Graf 16">
            <a:extLst>
              <a:ext uri="{FF2B5EF4-FFF2-40B4-BE49-F238E27FC236}">
                <a16:creationId xmlns:a16="http://schemas.microsoft.com/office/drawing/2014/main" id="{A77BA51C-41FB-4E30-BB03-DC5C96D9A043}"/>
              </a:ext>
            </a:extLst>
          </p:cNvPr>
          <p:cNvGraphicFramePr/>
          <p:nvPr>
            <p:custDataLst>
              <p:tags r:id="rId1"/>
            </p:custDataLst>
          </p:nvPr>
        </p:nvGraphicFramePr>
        <p:xfrm>
          <a:off x="1515748" y="3974011"/>
          <a:ext cx="3248580" cy="2703838"/>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28" name="Graf 16">
            <a:extLst>
              <a:ext uri="{FF2B5EF4-FFF2-40B4-BE49-F238E27FC236}">
                <a16:creationId xmlns:a16="http://schemas.microsoft.com/office/drawing/2014/main" id="{5376CAB2-9F8D-4C3F-BCE7-D0AD679ED038}"/>
              </a:ext>
            </a:extLst>
          </p:cNvPr>
          <p:cNvGraphicFramePr/>
          <p:nvPr>
            <p:custDataLst>
              <p:tags r:id="rId2"/>
            </p:custDataLst>
            <p:extLst>
              <p:ext uri="{D42A27DB-BD31-4B8C-83A1-F6EECF244321}">
                <p14:modId xmlns:p14="http://schemas.microsoft.com/office/powerpoint/2010/main" val="2431765819"/>
              </p:ext>
            </p:extLst>
          </p:nvPr>
        </p:nvGraphicFramePr>
        <p:xfrm>
          <a:off x="5062894" y="4061021"/>
          <a:ext cx="3185498" cy="2760878"/>
        </p:xfrm>
        <a:graphic>
          <a:graphicData uri="http://schemas.openxmlformats.org/drawingml/2006/chart">
            <c:chart xmlns:c="http://schemas.openxmlformats.org/drawingml/2006/chart" xmlns:r="http://schemas.openxmlformats.org/officeDocument/2006/relationships" r:id="rId26"/>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3"/>
            </p:custDataLst>
          </p:nvPr>
        </p:nvSpPr>
        <p:spPr>
          <a:xfrm>
            <a:off x="381739" y="2"/>
            <a:ext cx="8180978" cy="576000"/>
          </a:xfrm>
        </p:spPr>
        <p:txBody>
          <a:bodyPr/>
          <a:lstStyle/>
          <a:p>
            <a:r>
              <a:rPr lang="cs-CZ" dirty="0"/>
              <a:t>Relativní pozitivita testů u dospělých</a:t>
            </a:r>
          </a:p>
        </p:txBody>
      </p:sp>
      <p:sp>
        <p:nvSpPr>
          <p:cNvPr id="5" name="Obdélník 4">
            <a:extLst>
              <a:ext uri="{FF2B5EF4-FFF2-40B4-BE49-F238E27FC236}">
                <a16:creationId xmlns:a16="http://schemas.microsoft.com/office/drawing/2014/main" id="{F110567F-ED9A-4B75-8A99-2C76347C8E2F}"/>
              </a:ext>
            </a:extLst>
          </p:cNvPr>
          <p:cNvSpPr/>
          <p:nvPr>
            <p:custDataLst>
              <p:tags r:id="rId4"/>
            </p:custDataLst>
          </p:nvPr>
        </p:nvSpPr>
        <p:spPr>
          <a:xfrm>
            <a:off x="1837713" y="3814800"/>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29</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Obdélník 18">
            <a:extLst>
              <a:ext uri="{FF2B5EF4-FFF2-40B4-BE49-F238E27FC236}">
                <a16:creationId xmlns:a16="http://schemas.microsoft.com/office/drawing/2014/main" id="{96DFE862-337B-42DF-9CE0-613BB419EE5E}"/>
              </a:ext>
            </a:extLst>
          </p:cNvPr>
          <p:cNvSpPr/>
          <p:nvPr>
            <p:custDataLst>
              <p:tags r:id="rId5"/>
            </p:custDataLst>
          </p:nvPr>
        </p:nvSpPr>
        <p:spPr>
          <a:xfrm>
            <a:off x="5515144" y="3850901"/>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59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Obdélník 19">
            <a:extLst>
              <a:ext uri="{FF2B5EF4-FFF2-40B4-BE49-F238E27FC236}">
                <a16:creationId xmlns:a16="http://schemas.microsoft.com/office/drawing/2014/main" id="{6268F6CC-8AED-4B18-94E5-6D17E31A331E}"/>
              </a:ext>
            </a:extLst>
          </p:cNvPr>
          <p:cNvSpPr/>
          <p:nvPr>
            <p:custDataLst>
              <p:tags r:id="rId6"/>
            </p:custDataLst>
          </p:nvPr>
        </p:nvSpPr>
        <p:spPr>
          <a:xfrm>
            <a:off x="9096907" y="3850901"/>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Obdélník 4">
            <a:extLst>
              <a:ext uri="{FF2B5EF4-FFF2-40B4-BE49-F238E27FC236}">
                <a16:creationId xmlns:a16="http://schemas.microsoft.com/office/drawing/2014/main" id="{201F6F44-1A1F-4938-A91E-85733E1BBD42}"/>
              </a:ext>
            </a:extLst>
          </p:cNvPr>
          <p:cNvSpPr/>
          <p:nvPr>
            <p:custDataLst>
              <p:tags r:id="rId7"/>
            </p:custDataLst>
          </p:nvPr>
        </p:nvSpPr>
        <p:spPr>
          <a:xfrm>
            <a:off x="1885942"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29</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 name="Obdélník 18">
            <a:extLst>
              <a:ext uri="{FF2B5EF4-FFF2-40B4-BE49-F238E27FC236}">
                <a16:creationId xmlns:a16="http://schemas.microsoft.com/office/drawing/2014/main" id="{09378E26-1A0F-49EA-84B8-0F2F31134957}"/>
              </a:ext>
            </a:extLst>
          </p:cNvPr>
          <p:cNvSpPr/>
          <p:nvPr>
            <p:custDataLst>
              <p:tags r:id="rId8"/>
            </p:custDataLst>
          </p:nvPr>
        </p:nvSpPr>
        <p:spPr>
          <a:xfrm>
            <a:off x="5448847"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59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Obdélník 19">
            <a:extLst>
              <a:ext uri="{FF2B5EF4-FFF2-40B4-BE49-F238E27FC236}">
                <a16:creationId xmlns:a16="http://schemas.microsoft.com/office/drawing/2014/main" id="{357A4323-961E-4F3F-952E-33FADA0EFC40}"/>
              </a:ext>
            </a:extLst>
          </p:cNvPr>
          <p:cNvSpPr/>
          <p:nvPr>
            <p:custDataLst>
              <p:tags r:id="rId9"/>
            </p:custDataLst>
          </p:nvPr>
        </p:nvSpPr>
        <p:spPr>
          <a:xfrm>
            <a:off x="9030610"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6" name="Graf 16">
            <a:extLst>
              <a:ext uri="{FF2B5EF4-FFF2-40B4-BE49-F238E27FC236}">
                <a16:creationId xmlns:a16="http://schemas.microsoft.com/office/drawing/2014/main" id="{5344641D-2322-48FA-B46D-EBF942D0F408}"/>
              </a:ext>
            </a:extLst>
          </p:cNvPr>
          <p:cNvGraphicFramePr/>
          <p:nvPr>
            <p:custDataLst>
              <p:tags r:id="rId10"/>
            </p:custDataLst>
            <p:extLst>
              <p:ext uri="{D42A27DB-BD31-4B8C-83A1-F6EECF244321}">
                <p14:modId xmlns:p14="http://schemas.microsoft.com/office/powerpoint/2010/main" val="1091600220"/>
              </p:ext>
            </p:extLst>
          </p:nvPr>
        </p:nvGraphicFramePr>
        <p:xfrm>
          <a:off x="1515748" y="960159"/>
          <a:ext cx="3248580" cy="2703838"/>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32" name="Graf 16">
            <a:extLst>
              <a:ext uri="{FF2B5EF4-FFF2-40B4-BE49-F238E27FC236}">
                <a16:creationId xmlns:a16="http://schemas.microsoft.com/office/drawing/2014/main" id="{0D0112F6-E60E-4310-AF92-E2A52E7E4780}"/>
              </a:ext>
            </a:extLst>
          </p:cNvPr>
          <p:cNvGraphicFramePr/>
          <p:nvPr>
            <p:custDataLst>
              <p:tags r:id="rId11"/>
            </p:custDataLst>
            <p:extLst>
              <p:ext uri="{D42A27DB-BD31-4B8C-83A1-F6EECF244321}">
                <p14:modId xmlns:p14="http://schemas.microsoft.com/office/powerpoint/2010/main" val="2362987500"/>
              </p:ext>
            </p:extLst>
          </p:nvPr>
        </p:nvGraphicFramePr>
        <p:xfrm>
          <a:off x="8562717" y="997797"/>
          <a:ext cx="3248580" cy="2703838"/>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37" name="Graf 16">
            <a:extLst>
              <a:ext uri="{FF2B5EF4-FFF2-40B4-BE49-F238E27FC236}">
                <a16:creationId xmlns:a16="http://schemas.microsoft.com/office/drawing/2014/main" id="{3AB67F15-6F38-430D-A4EB-52989DEB4CB6}"/>
              </a:ext>
            </a:extLst>
          </p:cNvPr>
          <p:cNvGraphicFramePr/>
          <p:nvPr>
            <p:custDataLst>
              <p:tags r:id="rId12"/>
            </p:custDataLst>
          </p:nvPr>
        </p:nvGraphicFramePr>
        <p:xfrm>
          <a:off x="8625799" y="4097122"/>
          <a:ext cx="3185498" cy="2760878"/>
        </p:xfrm>
        <a:graphic>
          <a:graphicData uri="http://schemas.openxmlformats.org/drawingml/2006/chart">
            <c:chart xmlns:c="http://schemas.openxmlformats.org/drawingml/2006/chart" xmlns:r="http://schemas.openxmlformats.org/officeDocument/2006/relationships" r:id="rId29"/>
          </a:graphicData>
        </a:graphic>
      </p:graphicFrame>
      <p:sp>
        <p:nvSpPr>
          <p:cNvPr id="30" name="Obdélník 11">
            <a:extLst>
              <a:ext uri="{FF2B5EF4-FFF2-40B4-BE49-F238E27FC236}">
                <a16:creationId xmlns:a16="http://schemas.microsoft.com/office/drawing/2014/main" id="{F2791115-767B-49CC-9447-EF63B7164EC7}"/>
              </a:ext>
            </a:extLst>
          </p:cNvPr>
          <p:cNvSpPr/>
          <p:nvPr>
            <p:custDataLst>
              <p:tags r:id="rId13"/>
            </p:custDataLst>
          </p:nvPr>
        </p:nvSpPr>
        <p:spPr>
          <a:xfrm rot="16200000">
            <a:off x="-128361" y="4681509"/>
            <a:ext cx="2610368" cy="646331"/>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esty s epidemiologickou indikací </a:t>
            </a:r>
          </a:p>
        </p:txBody>
      </p:sp>
      <p:sp>
        <p:nvSpPr>
          <p:cNvPr id="31" name="Obdélník 11">
            <a:extLst>
              <a:ext uri="{FF2B5EF4-FFF2-40B4-BE49-F238E27FC236}">
                <a16:creationId xmlns:a16="http://schemas.microsoft.com/office/drawing/2014/main" id="{1D89C329-75F4-4B21-9699-DBED3E583FE2}"/>
              </a:ext>
            </a:extLst>
          </p:cNvPr>
          <p:cNvSpPr/>
          <p:nvPr>
            <p:custDataLst>
              <p:tags r:id="rId14"/>
            </p:custDataLst>
          </p:nvPr>
        </p:nvSpPr>
        <p:spPr>
          <a:xfrm rot="16200000">
            <a:off x="-46432" y="1724028"/>
            <a:ext cx="2345015" cy="646331"/>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a:t>
            </a:r>
            <a:r>
              <a:rPr kumimoji="0" lang="en-US" sz="1800" b="1" i="1"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esty</a:t>
            </a: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s diagnostickou nebo klinickou indikací</a:t>
            </a:r>
          </a:p>
        </p:txBody>
      </p:sp>
      <p:sp>
        <p:nvSpPr>
          <p:cNvPr id="24" name="TextovéPole 23">
            <a:extLst>
              <a:ext uri="{FF2B5EF4-FFF2-40B4-BE49-F238E27FC236}">
                <a16:creationId xmlns:a16="http://schemas.microsoft.com/office/drawing/2014/main" id="{3765CE34-BA7B-4D0A-BDD0-7754F6E059CC}"/>
              </a:ext>
            </a:extLst>
          </p:cNvPr>
          <p:cNvSpPr txBox="1"/>
          <p:nvPr>
            <p:custDataLst>
              <p:tags r:id="rId15"/>
            </p:custDataLst>
          </p:nvPr>
        </p:nvSpPr>
        <p:spPr>
          <a:xfrm>
            <a:off x="3590353" y="5557073"/>
            <a:ext cx="86914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17 853</a:t>
            </a:r>
          </a:p>
        </p:txBody>
      </p:sp>
      <p:sp>
        <p:nvSpPr>
          <p:cNvPr id="26" name="TextovéPole 25">
            <a:extLst>
              <a:ext uri="{FF2B5EF4-FFF2-40B4-BE49-F238E27FC236}">
                <a16:creationId xmlns:a16="http://schemas.microsoft.com/office/drawing/2014/main" id="{395EB96D-4360-4A5F-BBA6-DD6970FBD8AF}"/>
              </a:ext>
            </a:extLst>
          </p:cNvPr>
          <p:cNvSpPr txBox="1"/>
          <p:nvPr>
            <p:custDataLst>
              <p:tags r:id="rId16"/>
            </p:custDataLst>
          </p:nvPr>
        </p:nvSpPr>
        <p:spPr>
          <a:xfrm>
            <a:off x="3597817" y="2616583"/>
            <a:ext cx="85285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12 522</a:t>
            </a:r>
          </a:p>
        </p:txBody>
      </p:sp>
      <p:sp>
        <p:nvSpPr>
          <p:cNvPr id="35" name="TextovéPole 34">
            <a:extLst>
              <a:ext uri="{FF2B5EF4-FFF2-40B4-BE49-F238E27FC236}">
                <a16:creationId xmlns:a16="http://schemas.microsoft.com/office/drawing/2014/main" id="{CB50F700-BD9B-4F07-9F57-5ACB46BC8E81}"/>
              </a:ext>
            </a:extLst>
          </p:cNvPr>
          <p:cNvSpPr txBox="1"/>
          <p:nvPr>
            <p:custDataLst>
              <p:tags r:id="rId17"/>
            </p:custDataLst>
          </p:nvPr>
        </p:nvSpPr>
        <p:spPr>
          <a:xfrm>
            <a:off x="10734246" y="2630375"/>
            <a:ext cx="84099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14 941</a:t>
            </a:r>
          </a:p>
        </p:txBody>
      </p:sp>
      <p:sp>
        <p:nvSpPr>
          <p:cNvPr id="38" name="TextovéPole 37">
            <a:extLst>
              <a:ext uri="{FF2B5EF4-FFF2-40B4-BE49-F238E27FC236}">
                <a16:creationId xmlns:a16="http://schemas.microsoft.com/office/drawing/2014/main" id="{2A38787E-9710-4D2A-A711-372AE644843A}"/>
              </a:ext>
            </a:extLst>
          </p:cNvPr>
          <p:cNvSpPr txBox="1"/>
          <p:nvPr>
            <p:custDataLst>
              <p:tags r:id="rId18"/>
            </p:custDataLst>
          </p:nvPr>
        </p:nvSpPr>
        <p:spPr>
          <a:xfrm>
            <a:off x="10780477" y="5745093"/>
            <a:ext cx="125746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8 545</a:t>
            </a:r>
          </a:p>
        </p:txBody>
      </p:sp>
      <p:sp>
        <p:nvSpPr>
          <p:cNvPr id="39" name="TextovéPole 38">
            <a:extLst>
              <a:ext uri="{FF2B5EF4-FFF2-40B4-BE49-F238E27FC236}">
                <a16:creationId xmlns:a16="http://schemas.microsoft.com/office/drawing/2014/main" id="{4A9C1513-F4A3-42A4-BC61-9C1BE01CB4D7}"/>
              </a:ext>
            </a:extLst>
          </p:cNvPr>
          <p:cNvSpPr txBox="1"/>
          <p:nvPr>
            <p:custDataLst>
              <p:tags r:id="rId19"/>
            </p:custDataLst>
          </p:nvPr>
        </p:nvSpPr>
        <p:spPr>
          <a:xfrm>
            <a:off x="7155082" y="5608714"/>
            <a:ext cx="100244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77 819</a:t>
            </a:r>
          </a:p>
        </p:txBody>
      </p:sp>
      <p:graphicFrame>
        <p:nvGraphicFramePr>
          <p:cNvPr id="33" name="Graf 16">
            <a:extLst>
              <a:ext uri="{FF2B5EF4-FFF2-40B4-BE49-F238E27FC236}">
                <a16:creationId xmlns:a16="http://schemas.microsoft.com/office/drawing/2014/main" id="{FF7478D0-4F14-453D-98E4-880C29392C22}"/>
              </a:ext>
            </a:extLst>
          </p:cNvPr>
          <p:cNvGraphicFramePr/>
          <p:nvPr>
            <p:custDataLst>
              <p:tags r:id="rId20"/>
            </p:custDataLst>
            <p:extLst>
              <p:ext uri="{D42A27DB-BD31-4B8C-83A1-F6EECF244321}">
                <p14:modId xmlns:p14="http://schemas.microsoft.com/office/powerpoint/2010/main" val="2796288049"/>
              </p:ext>
            </p:extLst>
          </p:nvPr>
        </p:nvGraphicFramePr>
        <p:xfrm>
          <a:off x="4991399" y="982720"/>
          <a:ext cx="3248580" cy="2703838"/>
        </p:xfrm>
        <a:graphic>
          <a:graphicData uri="http://schemas.openxmlformats.org/drawingml/2006/chart">
            <c:chart xmlns:c="http://schemas.openxmlformats.org/drawingml/2006/chart" xmlns:r="http://schemas.openxmlformats.org/officeDocument/2006/relationships" r:id="rId30"/>
          </a:graphicData>
        </a:graphic>
      </p:graphicFrame>
      <p:sp>
        <p:nvSpPr>
          <p:cNvPr id="36" name="TextovéPole 35">
            <a:extLst>
              <a:ext uri="{FF2B5EF4-FFF2-40B4-BE49-F238E27FC236}">
                <a16:creationId xmlns:a16="http://schemas.microsoft.com/office/drawing/2014/main" id="{1F5D9FF1-3F0D-4810-A20D-A66491732671}"/>
              </a:ext>
            </a:extLst>
          </p:cNvPr>
          <p:cNvSpPr txBox="1"/>
          <p:nvPr>
            <p:custDataLst>
              <p:tags r:id="rId21"/>
            </p:custDataLst>
          </p:nvPr>
        </p:nvSpPr>
        <p:spPr>
          <a:xfrm>
            <a:off x="7155082" y="2616583"/>
            <a:ext cx="85285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40 816</a:t>
            </a:r>
          </a:p>
        </p:txBody>
      </p:sp>
      <p:sp>
        <p:nvSpPr>
          <p:cNvPr id="25" name="Obdélník 24">
            <a:extLst>
              <a:ext uri="{FF2B5EF4-FFF2-40B4-BE49-F238E27FC236}">
                <a16:creationId xmlns:a16="http://schemas.microsoft.com/office/drawing/2014/main" id="{F2974107-24EC-461D-A43E-2DB14B5D4C87}"/>
              </a:ext>
            </a:extLst>
          </p:cNvPr>
          <p:cNvSpPr/>
          <p:nvPr>
            <p:custDataLst>
              <p:tags r:id="rId22"/>
            </p:custDataLst>
          </p:nvPr>
        </p:nvSpPr>
        <p:spPr>
          <a:xfrm rot="16200000">
            <a:off x="-2822385" y="3547834"/>
            <a:ext cx="6312997" cy="369332"/>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lativní pozitivita indikovaných testů  za daný časový úsek </a:t>
            </a:r>
          </a:p>
        </p:txBody>
      </p:sp>
    </p:spTree>
    <p:extLst>
      <p:ext uri="{BB962C8B-B14F-4D97-AF65-F5344CB8AC3E}">
        <p14:creationId xmlns:p14="http://schemas.microsoft.com/office/powerpoint/2010/main" val="12216066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381738" y="2"/>
            <a:ext cx="11640216" cy="576000"/>
          </a:xfrm>
        </p:spPr>
        <p:txBody>
          <a:bodyPr/>
          <a:lstStyle/>
          <a:p>
            <a:r>
              <a:rPr lang="cs-CZ" dirty="0"/>
              <a:t>Časový vývoj vybraných ukazatelů: 7denní počet symptomatických případů na 100 000 obyv.</a:t>
            </a:r>
          </a:p>
        </p:txBody>
      </p:sp>
      <p:graphicFrame>
        <p:nvGraphicFramePr>
          <p:cNvPr id="5" name="Graf 4">
            <a:extLst>
              <a:ext uri="{FF2B5EF4-FFF2-40B4-BE49-F238E27FC236}">
                <a16:creationId xmlns:a16="http://schemas.microsoft.com/office/drawing/2014/main" id="{2B0C2A3B-15AA-4DC0-941F-58EA49FB78DC}"/>
              </a:ext>
            </a:extLst>
          </p:cNvPr>
          <p:cNvGraphicFramePr>
            <a:graphicFrameLocks/>
          </p:cNvGraphicFramePr>
          <p:nvPr>
            <p:custDataLst>
              <p:tags r:id="rId2"/>
            </p:custDataLst>
          </p:nvPr>
        </p:nvGraphicFramePr>
        <p:xfrm>
          <a:off x="209986" y="785513"/>
          <a:ext cx="11887625" cy="5741121"/>
        </p:xfrm>
        <a:graphic>
          <a:graphicData uri="http://schemas.openxmlformats.org/drawingml/2006/chart">
            <c:chart xmlns:c="http://schemas.openxmlformats.org/drawingml/2006/chart" xmlns:r="http://schemas.openxmlformats.org/officeDocument/2006/relationships" r:id="rId6"/>
          </a:graphicData>
        </a:graphic>
      </p:graphicFrame>
      <p:sp>
        <p:nvSpPr>
          <p:cNvPr id="3" name="Šipka: nahoru 2">
            <a:extLst>
              <a:ext uri="{FF2B5EF4-FFF2-40B4-BE49-F238E27FC236}">
                <a16:creationId xmlns:a16="http://schemas.microsoft.com/office/drawing/2014/main" id="{90B0FE80-96E0-40D7-A53B-25A8BBCC179D}"/>
              </a:ext>
            </a:extLst>
          </p:cNvPr>
          <p:cNvSpPr/>
          <p:nvPr>
            <p:custDataLst>
              <p:tags r:id="rId3"/>
            </p:custDataLst>
          </p:nvPr>
        </p:nvSpPr>
        <p:spPr>
          <a:xfrm>
            <a:off x="1108042" y="1150073"/>
            <a:ext cx="449451" cy="495945"/>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30403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custDataLst>
              <p:tags r:id="rId1"/>
            </p:custDataLst>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custDataLst>
              <p:tags r:id="rId2"/>
            </p:custDataLst>
          </p:nvPr>
        </p:nvSpPr>
        <p:spPr>
          <a:xfrm>
            <a:off x="143346" y="3693109"/>
            <a:ext cx="11905307" cy="2317166"/>
          </a:xfrm>
        </p:spPr>
        <p:txBody>
          <a:bodyPr>
            <a:normAutofit/>
          </a:bodyPr>
          <a:lstStyle/>
          <a:p>
            <a:r>
              <a:rPr lang="cs-CZ" sz="4800" b="1" dirty="0"/>
              <a:t>Stručný souhrn a popis situace </a:t>
            </a:r>
          </a:p>
          <a:p>
            <a:r>
              <a:rPr lang="cs-CZ" sz="4800" b="1" dirty="0"/>
              <a:t>s ohledem na šíření varianty Omikron </a:t>
            </a:r>
            <a:endParaRPr lang="cs-CZ" sz="4600" i="1" dirty="0"/>
          </a:p>
        </p:txBody>
      </p:sp>
    </p:spTree>
    <p:extLst>
      <p:ext uri="{BB962C8B-B14F-4D97-AF65-F5344CB8AC3E}">
        <p14:creationId xmlns:p14="http://schemas.microsoft.com/office/powerpoint/2010/main" val="14861883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4289347" y="2733988"/>
            <a:ext cx="7902653" cy="378565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400" b="1" i="0" u="none" strike="noStrike" kern="1200" cap="none" spc="0" normalizeH="0" baseline="0" noProof="0" dirty="0">
                <a:ln>
                  <a:noFill/>
                </a:ln>
                <a:solidFill>
                  <a:srgbClr val="FF0000"/>
                </a:solidFill>
                <a:effectLst/>
                <a:uLnTx/>
                <a:uFillTx/>
                <a:latin typeface="Calibri" panose="020F0502020204030204"/>
                <a:ea typeface="+mn-ea"/>
                <a:cs typeface="+mn-cs"/>
              </a:rPr>
              <a:t>Denní počty nových případů </a:t>
            </a: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se v maximech pracovních dnů pohybují nad </a:t>
            </a:r>
            <a:r>
              <a:rPr lang="cs-CZ" sz="2400" b="1" dirty="0">
                <a:solidFill>
                  <a:prstClr val="black"/>
                </a:solidFill>
                <a:latin typeface="Calibri" panose="020F0502020204030204"/>
              </a:rPr>
              <a:t>28</a:t>
            </a: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 000, </a:t>
            </a:r>
            <a:r>
              <a:rPr kumimoji="0" lang="cs-CZ" sz="2400" b="1" i="0" u="none" strike="noStrike" kern="1200" cap="none" spc="0" normalizeH="0" baseline="0" noProof="0" dirty="0">
                <a:ln>
                  <a:noFill/>
                </a:ln>
                <a:solidFill>
                  <a:srgbClr val="FF0000"/>
                </a:solidFill>
                <a:effectLst/>
                <a:uLnTx/>
                <a:uFillTx/>
                <a:latin typeface="Calibri" panose="020F0502020204030204"/>
                <a:ea typeface="+mn-ea"/>
                <a:cs typeface="+mn-cs"/>
              </a:rPr>
              <a:t>z toho jsou stovky potenciálně zranitelných pacientů</a:t>
            </a: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 u kterých stále hrozí riziko těžkého průběhu nemoci</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Populační </a:t>
            </a:r>
            <a:r>
              <a:rPr kumimoji="0" lang="cs-CZ" sz="2400" b="1" i="0" u="none" strike="noStrike" kern="1200" cap="none" spc="0" normalizeH="0" baseline="0" noProof="0" dirty="0">
                <a:ln>
                  <a:noFill/>
                </a:ln>
                <a:solidFill>
                  <a:srgbClr val="FF0000"/>
                </a:solidFill>
                <a:effectLst/>
                <a:uLnTx/>
                <a:uFillTx/>
                <a:latin typeface="Calibri" panose="020F0502020204030204"/>
                <a:ea typeface="+mn-ea"/>
                <a:cs typeface="+mn-cs"/>
              </a:rPr>
              <a:t>relativní pozitivita u klinicky indikovaných testů </a:t>
            </a: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opět narůstá, v nejvíce zatížených krajích dosahuje hranice 30%.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1" i="0" u="none" strike="noStrike" kern="1200" cap="none" spc="0" normalizeH="0" baseline="0" noProof="0" dirty="0" err="1">
                <a:ln>
                  <a:noFill/>
                </a:ln>
                <a:effectLst/>
                <a:uLnTx/>
                <a:uFillTx/>
                <a:latin typeface="Calibri" panose="020F0502020204030204"/>
                <a:ea typeface="+mn-ea"/>
                <a:cs typeface="+mn-cs"/>
              </a:rPr>
              <a:t>Nad</a:t>
            </a:r>
            <a:r>
              <a:rPr kumimoji="0" lang="cs-CZ" sz="2400" b="1" i="0" u="none" strike="noStrike" kern="1200" cap="none" spc="0" normalizeH="0" baseline="0" noProof="0" dirty="0">
                <a:ln>
                  <a:noFill/>
                </a:ln>
                <a:effectLst/>
                <a:uLnTx/>
                <a:uFillTx/>
                <a:latin typeface="Calibri" panose="020F0502020204030204"/>
                <a:ea typeface="+mn-ea"/>
                <a:cs typeface="+mn-cs"/>
              </a:rPr>
              <a:t>á</a:t>
            </a:r>
            <a:r>
              <a:rPr kumimoji="0" lang="en-US" sz="2400" b="1" i="0" u="none" strike="noStrike" kern="1200" cap="none" spc="0" normalizeH="0" baseline="0" noProof="0" dirty="0">
                <a:ln>
                  <a:noFill/>
                </a:ln>
                <a:effectLst/>
                <a:uLnTx/>
                <a:uFillTx/>
                <a:latin typeface="Calibri" panose="020F0502020204030204"/>
                <a:ea typeface="+mn-ea"/>
                <a:cs typeface="+mn-cs"/>
              </a:rPr>
              <a:t>le je </a:t>
            </a:r>
            <a:r>
              <a:rPr kumimoji="0" lang="cs-CZ" sz="2400" b="1" i="0" u="none" strike="noStrike" kern="1200" cap="none" spc="0" normalizeH="0" baseline="0" noProof="0" dirty="0">
                <a:ln>
                  <a:noFill/>
                </a:ln>
                <a:solidFill>
                  <a:srgbClr val="FF0000"/>
                </a:solidFill>
                <a:effectLst/>
                <a:uLnTx/>
                <a:uFillTx/>
                <a:latin typeface="Calibri" panose="020F0502020204030204"/>
                <a:ea typeface="+mn-ea"/>
                <a:cs typeface="+mn-cs"/>
              </a:rPr>
              <a:t>vysoký počet denně nakažených potenciálně zranitelných osob</a:t>
            </a:r>
            <a:r>
              <a:rPr kumimoji="0" lang="cs-CZ" sz="2400" b="1" i="0" u="none" strike="noStrike" kern="1200" cap="none" spc="0" normalizeH="0" baseline="0" noProof="0" dirty="0">
                <a:ln>
                  <a:noFill/>
                </a:ln>
                <a:effectLst/>
                <a:uLnTx/>
                <a:uFillTx/>
                <a:latin typeface="Calibri" panose="020F0502020204030204"/>
                <a:ea typeface="+mn-ea"/>
                <a:cs typeface="+mn-cs"/>
              </a:rPr>
              <a:t>, který se promítá do pomalého poklesu zátěže nemocnic.</a:t>
            </a:r>
          </a:p>
        </p:txBody>
      </p:sp>
      <p:sp>
        <p:nvSpPr>
          <p:cNvPr id="6" name="Šipka dolů 5"/>
          <p:cNvSpPr/>
          <p:nvPr/>
        </p:nvSpPr>
        <p:spPr>
          <a:xfrm>
            <a:off x="5248374" y="2088070"/>
            <a:ext cx="1695252" cy="46900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0" y="42704"/>
            <a:ext cx="12075736" cy="149445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cs-CZ" sz="3400" b="1" dirty="0">
                <a:solidFill>
                  <a:prstClr val="black"/>
                </a:solidFill>
                <a:latin typeface="Calibri" panose="020F0502020204030204"/>
              </a:rPr>
              <a:t>Po 10. lednu začala epidemie významně zesilovat a většina indikátorů populační zátěže ukazuje na významný růst prevalence nákaz. Avšak zdravotní dopady jsou zatím relativně malé,                   zátěž nemocnic klesá. </a:t>
            </a:r>
            <a:endPar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10E3CC22-D179-4233-825B-B1D2923D220B}"/>
              </a:ext>
            </a:extLst>
          </p:cNvPr>
          <p:cNvSpPr txBox="1"/>
          <p:nvPr/>
        </p:nvSpPr>
        <p:spPr>
          <a:xfrm>
            <a:off x="56326" y="2275437"/>
            <a:ext cx="372310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effectLst/>
                <a:uLnTx/>
                <a:uFillTx/>
                <a:latin typeface="Calibri" panose="020F0502020204030204"/>
                <a:ea typeface="+mn-ea"/>
                <a:cs typeface="+mn-cs"/>
              </a:rPr>
              <a:t>Populační hodnoty klíčových indikátorů šíření nákazy, včetně ukazatelů zdravotního dopadu, jsou ale stále rizikové</a:t>
            </a:r>
            <a:r>
              <a:rPr lang="cs-CZ" sz="2800" b="1" dirty="0">
                <a:latin typeface="Calibri" panose="020F0502020204030204"/>
              </a:rPr>
              <a:t>. Z toho důvodu dosud nelze vyloučit riziko zvýšené nemocnosti včetně zátěže nemocnic. </a:t>
            </a:r>
            <a:endParaRPr kumimoji="0" lang="en-US" sz="2800" b="1" i="0" u="none" strike="noStrike" kern="1200" cap="none" spc="0" normalizeH="0" baseline="0" noProof="0" dirty="0">
              <a:ln>
                <a:noFill/>
              </a:ln>
              <a:effectLst/>
              <a:uLnTx/>
              <a:uFillTx/>
              <a:latin typeface="Calibri" panose="020F0502020204030204"/>
              <a:ea typeface="+mn-ea"/>
              <a:cs typeface="+mn-cs"/>
            </a:endParaRPr>
          </a:p>
        </p:txBody>
      </p:sp>
      <p:cxnSp>
        <p:nvCxnSpPr>
          <p:cNvPr id="4" name="Přímá spojnice 3">
            <a:extLst>
              <a:ext uri="{FF2B5EF4-FFF2-40B4-BE49-F238E27FC236}">
                <a16:creationId xmlns:a16="http://schemas.microsoft.com/office/drawing/2014/main" id="{BD9828FE-5BC8-41C4-9617-EE71E549D751}"/>
              </a:ext>
            </a:extLst>
          </p:cNvPr>
          <p:cNvCxnSpPr>
            <a:cxnSpLocks/>
          </p:cNvCxnSpPr>
          <p:nvPr/>
        </p:nvCxnSpPr>
        <p:spPr>
          <a:xfrm flipV="1">
            <a:off x="3610466" y="3054286"/>
            <a:ext cx="691138" cy="14688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47CAF1A4-71A0-47AB-9AF8-8E178F7E2F68}"/>
              </a:ext>
            </a:extLst>
          </p:cNvPr>
          <p:cNvCxnSpPr>
            <a:cxnSpLocks/>
          </p:cNvCxnSpPr>
          <p:nvPr/>
        </p:nvCxnSpPr>
        <p:spPr>
          <a:xfrm>
            <a:off x="3634650" y="4871752"/>
            <a:ext cx="843082" cy="143478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65469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285750" y="216637"/>
            <a:ext cx="11375356" cy="5453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Predikce rizika: ECDC, 15.12. 2021</a:t>
            </a:r>
          </a:p>
        </p:txBody>
      </p:sp>
      <p:pic>
        <p:nvPicPr>
          <p:cNvPr id="3" name="Obrázek 2">
            <a:extLst>
              <a:ext uri="{FF2B5EF4-FFF2-40B4-BE49-F238E27FC236}">
                <a16:creationId xmlns:a16="http://schemas.microsoft.com/office/drawing/2014/main" id="{9E53559E-B8AC-45F2-A61C-C715A599FE96}"/>
              </a:ext>
            </a:extLst>
          </p:cNvPr>
          <p:cNvPicPr>
            <a:picLocks noChangeAspect="1"/>
          </p:cNvPicPr>
          <p:nvPr/>
        </p:nvPicPr>
        <p:blipFill>
          <a:blip r:embed="rId4"/>
          <a:stretch>
            <a:fillRect/>
          </a:stretch>
        </p:blipFill>
        <p:spPr>
          <a:xfrm>
            <a:off x="285750" y="944193"/>
            <a:ext cx="8611330" cy="5378378"/>
          </a:xfrm>
          <a:prstGeom prst="rect">
            <a:avLst/>
          </a:prstGeom>
        </p:spPr>
      </p:pic>
      <p:sp>
        <p:nvSpPr>
          <p:cNvPr id="8" name="Podnadpis 2">
            <a:extLst>
              <a:ext uri="{FF2B5EF4-FFF2-40B4-BE49-F238E27FC236}">
                <a16:creationId xmlns:a16="http://schemas.microsoft.com/office/drawing/2014/main" id="{72F4B1F6-3562-4027-8B05-304F9A7C2D35}"/>
              </a:ext>
            </a:extLst>
          </p:cNvPr>
          <p:cNvSpPr txBox="1">
            <a:spLocks/>
          </p:cNvSpPr>
          <p:nvPr>
            <p:custDataLst>
              <p:tags r:id="rId2"/>
            </p:custDataLst>
          </p:nvPr>
        </p:nvSpPr>
        <p:spPr>
          <a:xfrm>
            <a:off x="8620633" y="1504540"/>
            <a:ext cx="3467100" cy="40588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Omikron převážil v evropské populaci již v prvních týdnech roku 2022.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V ČR se Omikron šíří komunitně. Nejvyšší riziko nese Praha a s ní související okresy STČ.  </a:t>
            </a:r>
          </a:p>
        </p:txBody>
      </p:sp>
      <p:cxnSp>
        <p:nvCxnSpPr>
          <p:cNvPr id="4" name="Přímá spojnice se šipkou 3">
            <a:extLst>
              <a:ext uri="{FF2B5EF4-FFF2-40B4-BE49-F238E27FC236}">
                <a16:creationId xmlns:a16="http://schemas.microsoft.com/office/drawing/2014/main" id="{AD404C75-457F-4753-A935-DEF808E78033}"/>
              </a:ext>
            </a:extLst>
          </p:cNvPr>
          <p:cNvCxnSpPr>
            <a:cxnSpLocks/>
          </p:cNvCxnSpPr>
          <p:nvPr/>
        </p:nvCxnSpPr>
        <p:spPr>
          <a:xfrm flipV="1">
            <a:off x="4595332" y="2354038"/>
            <a:ext cx="1" cy="3559769"/>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3378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ázek 6">
            <a:extLst>
              <a:ext uri="{FF2B5EF4-FFF2-40B4-BE49-F238E27FC236}">
                <a16:creationId xmlns:a16="http://schemas.microsoft.com/office/drawing/2014/main" id="{92CD3891-B226-47E0-AF61-0022E2D88103}"/>
              </a:ext>
            </a:extLst>
          </p:cNvPr>
          <p:cNvPicPr>
            <a:picLocks noChangeAspect="1"/>
          </p:cNvPicPr>
          <p:nvPr>
            <p:custDataLst>
              <p:tags r:id="rId1"/>
            </p:custDataLst>
          </p:nvPr>
        </p:nvPicPr>
        <p:blipFill>
          <a:blip r:embed="rId5"/>
          <a:stretch>
            <a:fillRect/>
          </a:stretch>
        </p:blipFill>
        <p:spPr>
          <a:xfrm>
            <a:off x="371475" y="1859040"/>
            <a:ext cx="7920000" cy="4784560"/>
          </a:xfrm>
          <a:prstGeom prst="rect">
            <a:avLst/>
          </a:prstGeom>
        </p:spPr>
      </p:pic>
      <p:sp>
        <p:nvSpPr>
          <p:cNvPr id="6" name="Zaoblený obdélník 5">
            <a:extLst>
              <a:ext uri="{FF2B5EF4-FFF2-40B4-BE49-F238E27FC236}">
                <a16:creationId xmlns:a16="http://schemas.microsoft.com/office/drawing/2014/main" id="{A85A7D49-36D3-4266-8802-2A2C7A4F0D5C}"/>
              </a:ext>
            </a:extLst>
          </p:cNvPr>
          <p:cNvSpPr/>
          <p:nvPr/>
        </p:nvSpPr>
        <p:spPr>
          <a:xfrm>
            <a:off x="8394971" y="2048960"/>
            <a:ext cx="3556238" cy="357209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Výstup model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Od dosažení 10% zastoupení může nová varianta dosáhnout přibližně 50 % zastoupení v populaci během 17 dnů (souhrnné reprodukční číslo 1,2). Během dalších 16 dnů dosáhne 90 % zastoupení (souhrnné reprodukční číslo 1,5).</a:t>
            </a:r>
          </a:p>
        </p:txBody>
      </p:sp>
      <p:sp>
        <p:nvSpPr>
          <p:cNvPr id="8" name="TextovéPole 7">
            <a:extLst>
              <a:ext uri="{FF2B5EF4-FFF2-40B4-BE49-F238E27FC236}">
                <a16:creationId xmlns:a16="http://schemas.microsoft.com/office/drawing/2014/main" id="{FB24C33C-ABC4-4656-830F-F233FBF6A8CB}"/>
              </a:ext>
            </a:extLst>
          </p:cNvPr>
          <p:cNvSpPr txBox="1"/>
          <p:nvPr/>
        </p:nvSpPr>
        <p:spPr>
          <a:xfrm>
            <a:off x="195836" y="6532961"/>
            <a:ext cx="1136599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jednodušený model, předpoklad sériového intervalu 5 dní, reprodukční číslo 1,6 vs. 0,80, na počátku 10% zastoupení nové varianty</a:t>
            </a:r>
          </a:p>
        </p:txBody>
      </p:sp>
      <p:sp>
        <p:nvSpPr>
          <p:cNvPr id="3" name="Nadpis 2">
            <a:extLst>
              <a:ext uri="{FF2B5EF4-FFF2-40B4-BE49-F238E27FC236}">
                <a16:creationId xmlns:a16="http://schemas.microsoft.com/office/drawing/2014/main" id="{676DEE4B-6C9D-4EEC-A274-65B0D543421D}"/>
              </a:ext>
            </a:extLst>
          </p:cNvPr>
          <p:cNvSpPr>
            <a:spLocks noGrp="1"/>
          </p:cNvSpPr>
          <p:nvPr>
            <p:ph type="title"/>
          </p:nvPr>
        </p:nvSpPr>
        <p:spPr>
          <a:xfrm>
            <a:off x="91440" y="19456"/>
            <a:ext cx="8303530" cy="576000"/>
          </a:xfrm>
        </p:spPr>
        <p:txBody>
          <a:bodyPr/>
          <a:lstStyle/>
          <a:p>
            <a:r>
              <a:rPr lang="cs-CZ" sz="1800" dirty="0">
                <a:latin typeface="+mj-lt"/>
              </a:rPr>
              <a:t>Zastoupení původní a nové varianty mezi novými případy: model pro ČR</a:t>
            </a:r>
            <a:br>
              <a:rPr lang="cs-CZ" sz="1800" dirty="0">
                <a:latin typeface="+mj-lt"/>
              </a:rPr>
            </a:br>
            <a:r>
              <a:rPr lang="cs-CZ" sz="1800" dirty="0">
                <a:latin typeface="+mj-lt"/>
              </a:rPr>
              <a:t>(</a:t>
            </a:r>
            <a:r>
              <a:rPr lang="cs-CZ" sz="1800" u="sng" dirty="0">
                <a:latin typeface="+mj-lt"/>
              </a:rPr>
              <a:t>předpoklad 2násobného zvýšení reprodukčního čísla</a:t>
            </a:r>
            <a:r>
              <a:rPr lang="cs-CZ" sz="1800" dirty="0">
                <a:latin typeface="+mj-lt"/>
              </a:rPr>
              <a:t>)</a:t>
            </a:r>
          </a:p>
        </p:txBody>
      </p:sp>
      <p:sp>
        <p:nvSpPr>
          <p:cNvPr id="15" name="TextovéPole 14">
            <a:extLst>
              <a:ext uri="{FF2B5EF4-FFF2-40B4-BE49-F238E27FC236}">
                <a16:creationId xmlns:a16="http://schemas.microsoft.com/office/drawing/2014/main" id="{5D476999-5156-4A13-AE54-27EE3F461A16}"/>
              </a:ext>
            </a:extLst>
          </p:cNvPr>
          <p:cNvSpPr txBox="1"/>
          <p:nvPr/>
        </p:nvSpPr>
        <p:spPr>
          <a:xfrm>
            <a:off x="195836" y="1253069"/>
            <a:ext cx="1136599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Modelový scénář: 1000 nových případů v prvním dni pozorování</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srgbClr val="000000"/>
                </a:solidFill>
                <a:effectLst/>
                <a:uLnTx/>
                <a:uFillTx/>
                <a:latin typeface="Arial" panose="020B0604020202020204"/>
                <a:ea typeface="+mn-ea"/>
                <a:cs typeface="+mn-cs"/>
              </a:rPr>
              <a:t>modelov</a:t>
            </a: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ě předpoklad 20.12. 2021. </a:t>
            </a:r>
          </a:p>
          <a:p>
            <a:pPr marL="0" marR="0" lvl="0" indent="0" algn="l" defTabSz="914400" rtl="0" eaLnBrk="1" fontAlgn="auto" latinLnBrk="0" hangingPunct="1">
              <a:lnSpc>
                <a:spcPct val="100000"/>
              </a:lnSpc>
              <a:spcBef>
                <a:spcPts val="0"/>
              </a:spcBef>
              <a:spcAft>
                <a:spcPts val="0"/>
              </a:spcAft>
              <a:buClrTx/>
              <a:buSzTx/>
              <a:buFontTx/>
              <a:buNone/>
              <a:tabLst/>
              <a:defRPr/>
            </a:pPr>
            <a:r>
              <a:rPr lang="cs-CZ" sz="1400" b="1" dirty="0">
                <a:solidFill>
                  <a:srgbClr val="000000"/>
                </a:solidFill>
                <a:latin typeface="Arial" panose="020B0604020202020204"/>
              </a:rPr>
              <a:t>Aktuální populační data (k 16.1. 2022) ukazují až na &gt; 80% zastoupení Omikronu, při populační hodnotě R &gt; 1,4</a:t>
            </a:r>
            <a:endPar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TextovéPole 8">
            <a:extLst>
              <a:ext uri="{FF2B5EF4-FFF2-40B4-BE49-F238E27FC236}">
                <a16:creationId xmlns:a16="http://schemas.microsoft.com/office/drawing/2014/main" id="{327E5C8D-5723-4B6D-BFC0-82CCF8CC692E}"/>
              </a:ext>
            </a:extLst>
          </p:cNvPr>
          <p:cNvSpPr txBox="1"/>
          <p:nvPr/>
        </p:nvSpPr>
        <p:spPr>
          <a:xfrm>
            <a:off x="8505501" y="5711546"/>
            <a:ext cx="355624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Poznámka: jde o výstup z modelu - ve skutečné populaci dojde ke tlumení přenosu dalšími faktory</a:t>
            </a:r>
          </a:p>
        </p:txBody>
      </p:sp>
      <p:sp>
        <p:nvSpPr>
          <p:cNvPr id="10" name="Podnadpis 2">
            <a:extLst>
              <a:ext uri="{FF2B5EF4-FFF2-40B4-BE49-F238E27FC236}">
                <a16:creationId xmlns:a16="http://schemas.microsoft.com/office/drawing/2014/main" id="{C88AB849-4513-47BD-9742-568C4F29D706}"/>
              </a:ext>
            </a:extLst>
          </p:cNvPr>
          <p:cNvSpPr txBox="1">
            <a:spLocks/>
          </p:cNvSpPr>
          <p:nvPr>
            <p:custDataLst>
              <p:tags r:id="rId2"/>
            </p:custDataLst>
          </p:nvPr>
        </p:nvSpPr>
        <p:spPr>
          <a:xfrm>
            <a:off x="195836" y="803395"/>
            <a:ext cx="10107035" cy="3077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Šíření </a:t>
            </a:r>
            <a:r>
              <a:rPr kumimoji="0" lang="cs-CZ" sz="2000" b="1" i="0" u="none" strike="noStrike" kern="1200" cap="none" spc="0" normalizeH="0" baseline="0" noProof="0" dirty="0" err="1">
                <a:ln>
                  <a:noFill/>
                </a:ln>
                <a:solidFill>
                  <a:srgbClr val="0000FF"/>
                </a:solidFill>
                <a:effectLst/>
                <a:uLnTx/>
                <a:uFillTx/>
                <a:latin typeface="Calibri" panose="020F0502020204030204"/>
                <a:ea typeface="+mn-ea"/>
                <a:cs typeface="+mn-cs"/>
              </a:rPr>
              <a:t>Omikromu</a:t>
            </a: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 v ČR bude velmi rychlé, jak ukazují i modelové odhady </a:t>
            </a:r>
          </a:p>
        </p:txBody>
      </p:sp>
      <p:cxnSp>
        <p:nvCxnSpPr>
          <p:cNvPr id="4" name="Přímá spojnice se šipkou 3">
            <a:extLst>
              <a:ext uri="{FF2B5EF4-FFF2-40B4-BE49-F238E27FC236}">
                <a16:creationId xmlns:a16="http://schemas.microsoft.com/office/drawing/2014/main" id="{F71D576C-36E6-4920-9725-D26908AB6D28}"/>
              </a:ext>
            </a:extLst>
          </p:cNvPr>
          <p:cNvCxnSpPr/>
          <p:nvPr/>
        </p:nvCxnSpPr>
        <p:spPr>
          <a:xfrm>
            <a:off x="1410346" y="4788976"/>
            <a:ext cx="3595607"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Přímá spojnice se šipkou 10">
            <a:extLst>
              <a:ext uri="{FF2B5EF4-FFF2-40B4-BE49-F238E27FC236}">
                <a16:creationId xmlns:a16="http://schemas.microsoft.com/office/drawing/2014/main" id="{74B809D7-3FF3-4EEF-A109-AA1F343FCB7C}"/>
              </a:ext>
            </a:extLst>
          </p:cNvPr>
          <p:cNvCxnSpPr>
            <a:cxnSpLocks/>
          </p:cNvCxnSpPr>
          <p:nvPr/>
        </p:nvCxnSpPr>
        <p:spPr>
          <a:xfrm flipV="1">
            <a:off x="5005953" y="2789696"/>
            <a:ext cx="0" cy="196828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Přímá spojnice se šipkou 13">
            <a:extLst>
              <a:ext uri="{FF2B5EF4-FFF2-40B4-BE49-F238E27FC236}">
                <a16:creationId xmlns:a16="http://schemas.microsoft.com/office/drawing/2014/main" id="{9CAD08FE-9695-40A9-88A6-EEE07C3536F9}"/>
              </a:ext>
            </a:extLst>
          </p:cNvPr>
          <p:cNvCxnSpPr>
            <a:cxnSpLocks/>
          </p:cNvCxnSpPr>
          <p:nvPr/>
        </p:nvCxnSpPr>
        <p:spPr>
          <a:xfrm>
            <a:off x="5005953" y="2748319"/>
            <a:ext cx="2387099" cy="1"/>
          </a:xfrm>
          <a:prstGeom prst="straightConnector1">
            <a:avLst/>
          </a:prstGeom>
          <a:ln w="571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 name="Přímá spojnice se šipkou 11">
            <a:extLst>
              <a:ext uri="{FF2B5EF4-FFF2-40B4-BE49-F238E27FC236}">
                <a16:creationId xmlns:a16="http://schemas.microsoft.com/office/drawing/2014/main" id="{10AFF43F-BC27-4D52-85C4-1EDAF6910190}"/>
              </a:ext>
            </a:extLst>
          </p:cNvPr>
          <p:cNvCxnSpPr>
            <a:cxnSpLocks/>
          </p:cNvCxnSpPr>
          <p:nvPr/>
        </p:nvCxnSpPr>
        <p:spPr>
          <a:xfrm>
            <a:off x="5018871" y="2234290"/>
            <a:ext cx="2387099" cy="1"/>
          </a:xfrm>
          <a:prstGeom prst="straightConnector1">
            <a:avLst/>
          </a:prstGeom>
          <a:ln w="571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59155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Nadpis 1">
            <a:extLst>
              <a:ext uri="{FF2B5EF4-FFF2-40B4-BE49-F238E27FC236}">
                <a16:creationId xmlns:a16="http://schemas.microsoft.com/office/drawing/2014/main" id="{D66B775A-1A5B-40BE-964F-0C83476D3D0C}"/>
              </a:ext>
            </a:extLst>
          </p:cNvPr>
          <p:cNvSpPr>
            <a:spLocks noGrp="1"/>
          </p:cNvSpPr>
          <p:nvPr>
            <p:ph type="title"/>
            <p:custDataLst>
              <p:tags r:id="rId1"/>
            </p:custDataLst>
          </p:nvPr>
        </p:nvSpPr>
        <p:spPr>
          <a:xfrm>
            <a:off x="146848" y="-11586"/>
            <a:ext cx="7858240" cy="576000"/>
          </a:xfrm>
        </p:spPr>
        <p:txBody>
          <a:bodyPr/>
          <a:lstStyle/>
          <a:p>
            <a:r>
              <a:rPr lang="cs-CZ" dirty="0"/>
              <a:t> Výskyt varianty OMICRON v ČR v období 9.1.2022 - 15.1.2022</a:t>
            </a:r>
          </a:p>
        </p:txBody>
      </p:sp>
      <p:graphicFrame>
        <p:nvGraphicFramePr>
          <p:cNvPr id="8" name="Graf 7">
            <a:extLst>
              <a:ext uri="{FF2B5EF4-FFF2-40B4-BE49-F238E27FC236}">
                <a16:creationId xmlns:a16="http://schemas.microsoft.com/office/drawing/2014/main" id="{B2CCE49E-6FE7-471B-AACD-0DE5AC0B388C}"/>
              </a:ext>
            </a:extLst>
          </p:cNvPr>
          <p:cNvGraphicFramePr>
            <a:graphicFrameLocks/>
          </p:cNvGraphicFramePr>
          <p:nvPr>
            <p:custDataLst>
              <p:tags r:id="rId2"/>
            </p:custDataLst>
            <p:extLst>
              <p:ext uri="{D42A27DB-BD31-4B8C-83A1-F6EECF244321}">
                <p14:modId xmlns:p14="http://schemas.microsoft.com/office/powerpoint/2010/main" val="911423517"/>
              </p:ext>
            </p:extLst>
          </p:nvPr>
        </p:nvGraphicFramePr>
        <p:xfrm>
          <a:off x="7179733" y="1286932"/>
          <a:ext cx="4572000" cy="516100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Tabulka 9">
            <a:extLst>
              <a:ext uri="{FF2B5EF4-FFF2-40B4-BE49-F238E27FC236}">
                <a16:creationId xmlns:a16="http://schemas.microsoft.com/office/drawing/2014/main" id="{12B938B8-1FD8-4F64-B790-55286E3DB901}"/>
              </a:ext>
            </a:extLst>
          </p:cNvPr>
          <p:cNvGraphicFramePr>
            <a:graphicFrameLocks noGrp="1"/>
          </p:cNvGraphicFramePr>
          <p:nvPr>
            <p:custDataLst>
              <p:tags r:id="rId3"/>
            </p:custDataLst>
            <p:extLst>
              <p:ext uri="{D42A27DB-BD31-4B8C-83A1-F6EECF244321}">
                <p14:modId xmlns:p14="http://schemas.microsoft.com/office/powerpoint/2010/main" val="1869088765"/>
              </p:ext>
            </p:extLst>
          </p:nvPr>
        </p:nvGraphicFramePr>
        <p:xfrm>
          <a:off x="294058" y="1332148"/>
          <a:ext cx="6453251" cy="4113990"/>
        </p:xfrm>
        <a:graphic>
          <a:graphicData uri="http://schemas.openxmlformats.org/drawingml/2006/table">
            <a:tbl>
              <a:tblPr firstRow="1" lastRow="1" bandRow="1"/>
              <a:tblGrid>
                <a:gridCol w="1791027">
                  <a:extLst>
                    <a:ext uri="{9D8B030D-6E8A-4147-A177-3AD203B41FA5}">
                      <a16:colId xmlns:a16="http://schemas.microsoft.com/office/drawing/2014/main" val="4193484375"/>
                    </a:ext>
                  </a:extLst>
                </a:gridCol>
                <a:gridCol w="1132929">
                  <a:extLst>
                    <a:ext uri="{9D8B030D-6E8A-4147-A177-3AD203B41FA5}">
                      <a16:colId xmlns:a16="http://schemas.microsoft.com/office/drawing/2014/main" val="620211498"/>
                    </a:ext>
                  </a:extLst>
                </a:gridCol>
                <a:gridCol w="855250">
                  <a:extLst>
                    <a:ext uri="{9D8B030D-6E8A-4147-A177-3AD203B41FA5}">
                      <a16:colId xmlns:a16="http://schemas.microsoft.com/office/drawing/2014/main" val="542204082"/>
                    </a:ext>
                  </a:extLst>
                </a:gridCol>
                <a:gridCol w="858027">
                  <a:extLst>
                    <a:ext uri="{9D8B030D-6E8A-4147-A177-3AD203B41FA5}">
                      <a16:colId xmlns:a16="http://schemas.microsoft.com/office/drawing/2014/main" val="2062066677"/>
                    </a:ext>
                  </a:extLst>
                </a:gridCol>
                <a:gridCol w="858027">
                  <a:extLst>
                    <a:ext uri="{9D8B030D-6E8A-4147-A177-3AD203B41FA5}">
                      <a16:colId xmlns:a16="http://schemas.microsoft.com/office/drawing/2014/main" val="3259656184"/>
                    </a:ext>
                  </a:extLst>
                </a:gridCol>
                <a:gridCol w="957991">
                  <a:extLst>
                    <a:ext uri="{9D8B030D-6E8A-4147-A177-3AD203B41FA5}">
                      <a16:colId xmlns:a16="http://schemas.microsoft.com/office/drawing/2014/main" val="1167708600"/>
                    </a:ext>
                  </a:extLst>
                </a:gridCol>
              </a:tblGrid>
              <a:tr h="371842">
                <a:tc rowSpan="2">
                  <a:txBody>
                    <a:bodyPr/>
                    <a:lstStyle/>
                    <a:p>
                      <a:pPr algn="ctr" rtl="0" fontAlgn="ctr"/>
                      <a:r>
                        <a:rPr lang="cs-CZ" sz="1300" b="1" i="0" u="none" strike="noStrike" dirty="0">
                          <a:solidFill>
                            <a:srgbClr val="FFFFFF"/>
                          </a:solidFill>
                          <a:effectLst/>
                          <a:latin typeface="Calibri" panose="020F0502020204030204" pitchFamily="34" charset="0"/>
                        </a:rPr>
                        <a:t>Kraje bydliště v ČR</a:t>
                      </a:r>
                    </a:p>
                  </a:txBody>
                  <a:tcPr marL="7912" marR="7912" marT="79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rowSpan="2">
                  <a:txBody>
                    <a:bodyPr/>
                    <a:lstStyle/>
                    <a:p>
                      <a:pPr algn="ctr" rtl="0" fontAlgn="ctr"/>
                      <a:r>
                        <a:rPr lang="cs-CZ" sz="1100" b="1" i="0" u="none" strike="noStrike" dirty="0">
                          <a:solidFill>
                            <a:srgbClr val="FFFFFF"/>
                          </a:solidFill>
                          <a:effectLst/>
                          <a:latin typeface="Calibri" panose="020F0502020204030204" pitchFamily="34" charset="0"/>
                        </a:rPr>
                        <a:t>Počet provedených diskriminačních PCR celkem</a:t>
                      </a:r>
                    </a:p>
                  </a:txBody>
                  <a:tcPr marL="7912" marR="7912" marT="79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gridSpan="3">
                  <a:txBody>
                    <a:bodyPr/>
                    <a:lstStyle/>
                    <a:p>
                      <a:pPr algn="ctr" rtl="0" fontAlgn="ctr"/>
                      <a:r>
                        <a:rPr lang="cs-CZ" sz="1100" b="1" i="0" u="none" strike="noStrike" dirty="0">
                          <a:solidFill>
                            <a:srgbClr val="FFFFFF"/>
                          </a:solidFill>
                          <a:effectLst/>
                          <a:latin typeface="Calibri" panose="020F0502020204030204" pitchFamily="34" charset="0"/>
                        </a:rPr>
                        <a:t>Z toho diagnostikován suspektní OMICRON</a:t>
                      </a:r>
                    </a:p>
                  </a:txBody>
                  <a:tcPr marL="7912" marR="7912" marT="79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hMerge="1">
                  <a:txBody>
                    <a:bodyPr/>
                    <a:lstStyle/>
                    <a:p>
                      <a:endParaRPr lang="cs-CZ"/>
                    </a:p>
                  </a:txBody>
                  <a:tcPr/>
                </a:tc>
                <a:tc hMerge="1">
                  <a:txBody>
                    <a:bodyPr/>
                    <a:lstStyle/>
                    <a:p>
                      <a:endParaRPr lang="cs-CZ"/>
                    </a:p>
                  </a:txBody>
                  <a:tcPr/>
                </a:tc>
                <a:tc rowSpan="2">
                  <a:txBody>
                    <a:bodyPr/>
                    <a:lstStyle/>
                    <a:p>
                      <a:pPr algn="ctr" rtl="0" fontAlgn="ctr"/>
                      <a:r>
                        <a:rPr lang="pl-PL" sz="1100" b="1" i="0" u="none" strike="noStrike" dirty="0">
                          <a:solidFill>
                            <a:srgbClr val="FFFFFF"/>
                          </a:solidFill>
                          <a:effectLst/>
                          <a:latin typeface="Calibri" panose="020F0502020204030204" pitchFamily="34" charset="0"/>
                        </a:rPr>
                        <a:t>Podíl varianty OMICRON </a:t>
                      </a:r>
                      <a:br>
                        <a:rPr lang="pl-PL" sz="1100" b="1" i="0" u="none" strike="noStrike" dirty="0">
                          <a:solidFill>
                            <a:srgbClr val="FFFFFF"/>
                          </a:solidFill>
                          <a:effectLst/>
                          <a:latin typeface="Calibri" panose="020F0502020204030204" pitchFamily="34" charset="0"/>
                        </a:rPr>
                      </a:br>
                      <a:r>
                        <a:rPr lang="pl-PL" sz="1100" b="1" i="0" u="none" strike="noStrike" dirty="0">
                          <a:solidFill>
                            <a:srgbClr val="FFFFFF"/>
                          </a:solidFill>
                          <a:effectLst/>
                          <a:latin typeface="Calibri" panose="020F0502020204030204" pitchFamily="34" charset="0"/>
                        </a:rPr>
                        <a:t>v kraji</a:t>
                      </a:r>
                    </a:p>
                  </a:txBody>
                  <a:tcPr marL="7912" marR="7912" marT="79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extLst>
                  <a:ext uri="{0D108BD9-81ED-4DB2-BD59-A6C34878D82A}">
                    <a16:rowId xmlns:a16="http://schemas.microsoft.com/office/drawing/2014/main" val="868867545"/>
                  </a:ext>
                </a:extLst>
              </a:tr>
              <a:tr h="292726">
                <a:tc vMerge="1">
                  <a:txBody>
                    <a:bodyPr/>
                    <a:lstStyle/>
                    <a:p>
                      <a:endParaRPr lang="cs-CZ"/>
                    </a:p>
                  </a:txBody>
                  <a:tcPr/>
                </a:tc>
                <a:tc vMerge="1">
                  <a:txBody>
                    <a:bodyPr/>
                    <a:lstStyle/>
                    <a:p>
                      <a:endParaRPr lang="cs-CZ"/>
                    </a:p>
                  </a:txBody>
                  <a:tcPr/>
                </a:tc>
                <a:tc>
                  <a:txBody>
                    <a:bodyPr/>
                    <a:lstStyle/>
                    <a:p>
                      <a:pPr algn="ctr" rtl="0" fontAlgn="ctr"/>
                      <a:r>
                        <a:rPr lang="cs-CZ" sz="1100" b="1" i="0" u="none" strike="noStrike" dirty="0">
                          <a:solidFill>
                            <a:srgbClr val="FFFFFF"/>
                          </a:solidFill>
                          <a:effectLst/>
                          <a:latin typeface="Calibri" panose="020F0502020204030204" pitchFamily="34" charset="0"/>
                        </a:rPr>
                        <a:t>poprvé</a:t>
                      </a:r>
                    </a:p>
                  </a:txBody>
                  <a:tcPr marL="7912" marR="7912" marT="79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dirty="0">
                          <a:solidFill>
                            <a:srgbClr val="FFFFFF"/>
                          </a:solidFill>
                          <a:effectLst/>
                          <a:latin typeface="Calibri" panose="020F0502020204030204" pitchFamily="34" charset="0"/>
                        </a:rPr>
                        <a:t>opakovaně</a:t>
                      </a:r>
                    </a:p>
                  </a:txBody>
                  <a:tcPr marL="7912" marR="7912" marT="79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dirty="0">
                          <a:solidFill>
                            <a:srgbClr val="FFFFFF"/>
                          </a:solidFill>
                          <a:effectLst/>
                          <a:latin typeface="Calibri" panose="020F0502020204030204" pitchFamily="34" charset="0"/>
                        </a:rPr>
                        <a:t>celkem</a:t>
                      </a:r>
                    </a:p>
                  </a:txBody>
                  <a:tcPr marL="7912" marR="7912" marT="791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vMerge="1">
                  <a:txBody>
                    <a:bodyPr/>
                    <a:lstStyle/>
                    <a:p>
                      <a:endParaRPr lang="cs-CZ"/>
                    </a:p>
                  </a:txBody>
                  <a:tcPr/>
                </a:tc>
                <a:extLst>
                  <a:ext uri="{0D108BD9-81ED-4DB2-BD59-A6C34878D82A}">
                    <a16:rowId xmlns:a16="http://schemas.microsoft.com/office/drawing/2014/main" val="1199274538"/>
                  </a:ext>
                </a:extLst>
              </a:tr>
              <a:tr h="229434">
                <a:tc>
                  <a:txBody>
                    <a:bodyPr/>
                    <a:lstStyle/>
                    <a:p>
                      <a:pPr algn="l" rtl="0" fontAlgn="b"/>
                      <a:r>
                        <a:rPr lang="cs-CZ" sz="1300" b="0" i="0" u="none" strike="noStrike" dirty="0">
                          <a:solidFill>
                            <a:srgbClr val="000000"/>
                          </a:solidFill>
                          <a:effectLst/>
                          <a:latin typeface="Calibri" panose="020F0502020204030204" pitchFamily="34" charset="0"/>
                        </a:rPr>
                        <a:t>Hlavní město Praha</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39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315</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339</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8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8696B"/>
                    </a:solidFill>
                  </a:tcPr>
                </a:tc>
                <a:extLst>
                  <a:ext uri="{0D108BD9-81ED-4DB2-BD59-A6C34878D82A}">
                    <a16:rowId xmlns:a16="http://schemas.microsoft.com/office/drawing/2014/main" val="328297930"/>
                  </a:ext>
                </a:extLst>
              </a:tr>
              <a:tr h="229434">
                <a:tc>
                  <a:txBody>
                    <a:bodyPr/>
                    <a:lstStyle/>
                    <a:p>
                      <a:pPr algn="l" rtl="0" fontAlgn="b"/>
                      <a:r>
                        <a:rPr lang="cs-CZ" sz="1300" b="0" i="0" u="none" strike="noStrike">
                          <a:solidFill>
                            <a:srgbClr val="000000"/>
                          </a:solidFill>
                          <a:effectLst/>
                          <a:latin typeface="Calibri" panose="020F0502020204030204" pitchFamily="34" charset="0"/>
                        </a:rPr>
                        <a:t>Středočes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1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87</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00</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9898B"/>
                    </a:solidFill>
                  </a:tcPr>
                </a:tc>
                <a:extLst>
                  <a:ext uri="{0D108BD9-81ED-4DB2-BD59-A6C34878D82A}">
                    <a16:rowId xmlns:a16="http://schemas.microsoft.com/office/drawing/2014/main" val="174158678"/>
                  </a:ext>
                </a:extLst>
              </a:tr>
              <a:tr h="229434">
                <a:tc>
                  <a:txBody>
                    <a:bodyPr/>
                    <a:lstStyle/>
                    <a:p>
                      <a:pPr algn="l" rtl="0" fontAlgn="b"/>
                      <a:r>
                        <a:rPr lang="cs-CZ" sz="1300" b="0" i="0" u="none" strike="noStrike">
                          <a:solidFill>
                            <a:srgbClr val="000000"/>
                          </a:solidFill>
                          <a:effectLst/>
                          <a:latin typeface="Calibri" panose="020F0502020204030204" pitchFamily="34" charset="0"/>
                        </a:rPr>
                        <a:t>Jihočes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8</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8</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dirty="0">
                          <a:solidFill>
                            <a:srgbClr val="000000"/>
                          </a:solidFill>
                          <a:effectLst/>
                          <a:latin typeface="Calibri" panose="020F050202020403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CFCFF"/>
                    </a:solidFill>
                  </a:tcPr>
                </a:tc>
                <a:extLst>
                  <a:ext uri="{0D108BD9-81ED-4DB2-BD59-A6C34878D82A}">
                    <a16:rowId xmlns:a16="http://schemas.microsoft.com/office/drawing/2014/main" val="37375825"/>
                  </a:ext>
                </a:extLst>
              </a:tr>
              <a:tr h="229434">
                <a:tc>
                  <a:txBody>
                    <a:bodyPr/>
                    <a:lstStyle/>
                    <a:p>
                      <a:pPr algn="l" rtl="0" fontAlgn="b"/>
                      <a:r>
                        <a:rPr lang="cs-CZ" sz="1300" b="0" i="0" u="none" strike="noStrike">
                          <a:solidFill>
                            <a:srgbClr val="000000"/>
                          </a:solidFill>
                          <a:effectLst/>
                          <a:latin typeface="Calibri" panose="020F0502020204030204" pitchFamily="34" charset="0"/>
                        </a:rPr>
                        <a:t>Plzeňs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8</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21</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8"/>
                    </a:solidFill>
                  </a:tcPr>
                </a:tc>
                <a:extLst>
                  <a:ext uri="{0D108BD9-81ED-4DB2-BD59-A6C34878D82A}">
                    <a16:rowId xmlns:a16="http://schemas.microsoft.com/office/drawing/2014/main" val="2289329158"/>
                  </a:ext>
                </a:extLst>
              </a:tr>
              <a:tr h="229434">
                <a:tc>
                  <a:txBody>
                    <a:bodyPr/>
                    <a:lstStyle/>
                    <a:p>
                      <a:pPr algn="l" rtl="0" fontAlgn="b"/>
                      <a:r>
                        <a:rPr lang="cs-CZ" sz="1300" b="0" i="0" u="none" strike="noStrike">
                          <a:solidFill>
                            <a:srgbClr val="000000"/>
                          </a:solidFill>
                          <a:effectLst/>
                          <a:latin typeface="Calibri" panose="020F0502020204030204" pitchFamily="34" charset="0"/>
                        </a:rPr>
                        <a:t>Karlovars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1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7</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8</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AA6A8"/>
                    </a:solidFill>
                  </a:tcPr>
                </a:tc>
                <a:extLst>
                  <a:ext uri="{0D108BD9-81ED-4DB2-BD59-A6C34878D82A}">
                    <a16:rowId xmlns:a16="http://schemas.microsoft.com/office/drawing/2014/main" val="1635871132"/>
                  </a:ext>
                </a:extLst>
              </a:tr>
              <a:tr h="229434">
                <a:tc>
                  <a:txBody>
                    <a:bodyPr/>
                    <a:lstStyle/>
                    <a:p>
                      <a:pPr algn="l" rtl="0" fontAlgn="b"/>
                      <a:r>
                        <a:rPr lang="cs-CZ" sz="1300" b="0" i="0" u="none" strike="noStrike">
                          <a:solidFill>
                            <a:srgbClr val="000000"/>
                          </a:solidFill>
                          <a:effectLst/>
                          <a:latin typeface="Calibri" panose="020F0502020204030204" pitchFamily="34" charset="0"/>
                        </a:rPr>
                        <a:t>Ústec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CECEF"/>
                    </a:solidFill>
                  </a:tcPr>
                </a:tc>
                <a:extLst>
                  <a:ext uri="{0D108BD9-81ED-4DB2-BD59-A6C34878D82A}">
                    <a16:rowId xmlns:a16="http://schemas.microsoft.com/office/drawing/2014/main" val="384624472"/>
                  </a:ext>
                </a:extLst>
              </a:tr>
              <a:tr h="229434">
                <a:tc>
                  <a:txBody>
                    <a:bodyPr/>
                    <a:lstStyle/>
                    <a:p>
                      <a:pPr algn="l" rtl="0" fontAlgn="b"/>
                      <a:r>
                        <a:rPr lang="cs-CZ" sz="1300" b="0" i="0" u="none" strike="noStrike">
                          <a:solidFill>
                            <a:srgbClr val="000000"/>
                          </a:solidFill>
                          <a:effectLst/>
                          <a:latin typeface="Calibri" panose="020F0502020204030204" pitchFamily="34" charset="0"/>
                        </a:rPr>
                        <a:t>Liberec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3</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4</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8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3F2"/>
                    </a:solidFill>
                  </a:tcPr>
                </a:tc>
                <a:extLst>
                  <a:ext uri="{0D108BD9-81ED-4DB2-BD59-A6C34878D82A}">
                    <a16:rowId xmlns:a16="http://schemas.microsoft.com/office/drawing/2014/main" val="482529486"/>
                  </a:ext>
                </a:extLst>
              </a:tr>
              <a:tr h="229434">
                <a:tc>
                  <a:txBody>
                    <a:bodyPr/>
                    <a:lstStyle/>
                    <a:p>
                      <a:pPr algn="l" rtl="0" fontAlgn="b"/>
                      <a:r>
                        <a:rPr lang="cs-CZ" sz="1300" b="0" i="0" u="none" strike="noStrike">
                          <a:solidFill>
                            <a:srgbClr val="000000"/>
                          </a:solidFill>
                          <a:effectLst/>
                          <a:latin typeface="Calibri" panose="020F0502020204030204" pitchFamily="34" charset="0"/>
                        </a:rPr>
                        <a:t>Královéhradec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7</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20</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CFCFF"/>
                    </a:solidFill>
                  </a:tcPr>
                </a:tc>
                <a:extLst>
                  <a:ext uri="{0D108BD9-81ED-4DB2-BD59-A6C34878D82A}">
                    <a16:rowId xmlns:a16="http://schemas.microsoft.com/office/drawing/2014/main" val="844705352"/>
                  </a:ext>
                </a:extLst>
              </a:tr>
              <a:tr h="229434">
                <a:tc>
                  <a:txBody>
                    <a:bodyPr/>
                    <a:lstStyle/>
                    <a:p>
                      <a:pPr algn="l" rtl="0" fontAlgn="b"/>
                      <a:r>
                        <a:rPr lang="cs-CZ" sz="1300" b="0" i="0" u="none" strike="noStrike">
                          <a:solidFill>
                            <a:srgbClr val="000000"/>
                          </a:solidFill>
                          <a:effectLst/>
                          <a:latin typeface="Calibri" panose="020F0502020204030204" pitchFamily="34" charset="0"/>
                        </a:rPr>
                        <a:t>Pardubic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9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15</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17</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5EBF6"/>
                    </a:solidFill>
                  </a:tcPr>
                </a:tc>
                <a:extLst>
                  <a:ext uri="{0D108BD9-81ED-4DB2-BD59-A6C34878D82A}">
                    <a16:rowId xmlns:a16="http://schemas.microsoft.com/office/drawing/2014/main" val="2122657772"/>
                  </a:ext>
                </a:extLst>
              </a:tr>
              <a:tr h="229434">
                <a:tc>
                  <a:txBody>
                    <a:bodyPr/>
                    <a:lstStyle/>
                    <a:p>
                      <a:pPr algn="l" rtl="0" fontAlgn="b"/>
                      <a:r>
                        <a:rPr lang="cs-CZ" sz="1300" b="0" i="0" u="none" strike="noStrike">
                          <a:solidFill>
                            <a:srgbClr val="000000"/>
                          </a:solidFill>
                          <a:effectLst/>
                          <a:latin typeface="Calibri" panose="020F0502020204030204" pitchFamily="34" charset="0"/>
                        </a:rPr>
                        <a:t>Kraj Vysočina</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7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43</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55</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CE5F3"/>
                    </a:solidFill>
                  </a:tcPr>
                </a:tc>
                <a:extLst>
                  <a:ext uri="{0D108BD9-81ED-4DB2-BD59-A6C34878D82A}">
                    <a16:rowId xmlns:a16="http://schemas.microsoft.com/office/drawing/2014/main" val="2573926341"/>
                  </a:ext>
                </a:extLst>
              </a:tr>
              <a:tr h="229434">
                <a:tc>
                  <a:txBody>
                    <a:bodyPr/>
                    <a:lstStyle/>
                    <a:p>
                      <a:pPr algn="l" rtl="0" fontAlgn="b"/>
                      <a:r>
                        <a:rPr lang="cs-CZ" sz="1300" b="0" i="0" u="none" strike="noStrike">
                          <a:solidFill>
                            <a:srgbClr val="000000"/>
                          </a:solidFill>
                          <a:effectLst/>
                          <a:latin typeface="Calibri" panose="020F0502020204030204" pitchFamily="34" charset="0"/>
                        </a:rPr>
                        <a:t>Jihomoravs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39</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44</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CEBEE"/>
                    </a:solidFill>
                  </a:tcPr>
                </a:tc>
                <a:extLst>
                  <a:ext uri="{0D108BD9-81ED-4DB2-BD59-A6C34878D82A}">
                    <a16:rowId xmlns:a16="http://schemas.microsoft.com/office/drawing/2014/main" val="2076115609"/>
                  </a:ext>
                </a:extLst>
              </a:tr>
              <a:tr h="229434">
                <a:tc>
                  <a:txBody>
                    <a:bodyPr/>
                    <a:lstStyle/>
                    <a:p>
                      <a:pPr algn="l" rtl="0" fontAlgn="b"/>
                      <a:r>
                        <a:rPr lang="cs-CZ" sz="1300" b="0" i="0" u="none" strike="noStrike">
                          <a:solidFill>
                            <a:srgbClr val="000000"/>
                          </a:solidFill>
                          <a:effectLst/>
                          <a:latin typeface="Calibri" panose="020F0502020204030204" pitchFamily="34" charset="0"/>
                        </a:rPr>
                        <a:t>Olomouc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8</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4</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5B4DB"/>
                    </a:solidFill>
                  </a:tcPr>
                </a:tc>
                <a:extLst>
                  <a:ext uri="{0D108BD9-81ED-4DB2-BD59-A6C34878D82A}">
                    <a16:rowId xmlns:a16="http://schemas.microsoft.com/office/drawing/2014/main" val="1862275270"/>
                  </a:ext>
                </a:extLst>
              </a:tr>
              <a:tr h="229434">
                <a:tc>
                  <a:txBody>
                    <a:bodyPr/>
                    <a:lstStyle/>
                    <a:p>
                      <a:pPr algn="l" rtl="0" fontAlgn="b"/>
                      <a:r>
                        <a:rPr lang="cs-CZ" sz="1300" b="0" i="0" u="none" strike="noStrike">
                          <a:solidFill>
                            <a:srgbClr val="000000"/>
                          </a:solidFill>
                          <a:effectLst/>
                          <a:latin typeface="Calibri" panose="020F0502020204030204" pitchFamily="34" charset="0"/>
                        </a:rPr>
                        <a:t>Zlíns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12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89</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2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110</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gn="ctr" rtl="0" fontAlgn="ctr"/>
                      <a:r>
                        <a:rPr lang="cs-CZ" sz="1300" b="0" i="0" u="none" strike="noStrike">
                          <a:solidFill>
                            <a:srgbClr val="000000"/>
                          </a:solidFill>
                          <a:effectLst/>
                          <a:latin typeface="Calibri" panose="020F0502020204030204" pitchFamily="34" charset="0"/>
                        </a:rPr>
                        <a:t>8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B8BB"/>
                    </a:solidFill>
                  </a:tcPr>
                </a:tc>
                <a:extLst>
                  <a:ext uri="{0D108BD9-81ED-4DB2-BD59-A6C34878D82A}">
                    <a16:rowId xmlns:a16="http://schemas.microsoft.com/office/drawing/2014/main" val="4245484853"/>
                  </a:ext>
                </a:extLst>
              </a:tr>
              <a:tr h="229434">
                <a:tc>
                  <a:txBody>
                    <a:bodyPr/>
                    <a:lstStyle/>
                    <a:p>
                      <a:pPr algn="l" rtl="0" fontAlgn="b"/>
                      <a:r>
                        <a:rPr lang="cs-CZ" sz="1300" b="0" i="0" u="none" strike="noStrike">
                          <a:solidFill>
                            <a:srgbClr val="000000"/>
                          </a:solidFill>
                          <a:effectLst/>
                          <a:latin typeface="Calibri" panose="020F0502020204030204" pitchFamily="34" charset="0"/>
                        </a:rPr>
                        <a:t>Moravskoslezský kraj</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5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93</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118</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algn="ctr" rtl="0" fontAlgn="ctr"/>
                      <a:r>
                        <a:rPr lang="cs-CZ" sz="1300" b="0" i="0" u="none" strike="noStrike">
                          <a:solidFill>
                            <a:srgbClr val="000000"/>
                          </a:solidFill>
                          <a:effectLst/>
                          <a:latin typeface="Calibri" panose="020F050202020403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C0E1"/>
                    </a:solidFill>
                  </a:tcPr>
                </a:tc>
                <a:extLst>
                  <a:ext uri="{0D108BD9-81ED-4DB2-BD59-A6C34878D82A}">
                    <a16:rowId xmlns:a16="http://schemas.microsoft.com/office/drawing/2014/main" val="2544787336"/>
                  </a:ext>
                </a:extLst>
              </a:tr>
              <a:tr h="237346">
                <a:tc>
                  <a:txBody>
                    <a:bodyPr/>
                    <a:lstStyle/>
                    <a:p>
                      <a:pPr algn="l" rtl="0" fontAlgn="ctr"/>
                      <a:r>
                        <a:rPr lang="cs-CZ" sz="1300" b="1" i="0" u="none" strike="noStrike">
                          <a:solidFill>
                            <a:srgbClr val="FFFFFF"/>
                          </a:solidFill>
                          <a:effectLst/>
                          <a:latin typeface="Arial" panose="020B0604020202020204" pitchFamily="34" charset="0"/>
                        </a:rPr>
                        <a:t>ČR</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300" b="1" i="0" u="none" strike="noStrike">
                          <a:solidFill>
                            <a:srgbClr val="FFFFFF"/>
                          </a:solidFill>
                          <a:effectLst/>
                          <a:latin typeface="Calibri" panose="020F0502020204030204" pitchFamily="34" charset="0"/>
                        </a:rPr>
                        <a:t>1 1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300" b="1" i="0" u="none" strike="noStrike">
                          <a:solidFill>
                            <a:srgbClr val="FFFFFF"/>
                          </a:solidFill>
                          <a:effectLst/>
                          <a:latin typeface="Calibri" panose="020F0502020204030204" pitchFamily="34" charset="0"/>
                        </a:rPr>
                        <a:t>743</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300" b="1" i="0" u="none" strike="noStrike">
                          <a:solidFill>
                            <a:srgbClr val="FFFFFF"/>
                          </a:solidFill>
                          <a:effectLst/>
                          <a:latin typeface="Calibri" panose="020F0502020204030204" pitchFamily="34" charset="0"/>
                        </a:rPr>
                        <a:t>1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300" b="1" i="0" u="none" strike="noStrike">
                          <a:solidFill>
                            <a:srgbClr val="FFFFFF"/>
                          </a:solidFill>
                          <a:effectLst/>
                          <a:latin typeface="Calibri" panose="020F0502020204030204" pitchFamily="34" charset="0"/>
                        </a:rPr>
                        <a:t>859</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300" b="1" i="0" u="none" strike="noStrike" dirty="0">
                          <a:solidFill>
                            <a:srgbClr val="FFFFFF"/>
                          </a:solidFill>
                          <a:effectLst/>
                          <a:latin typeface="Calibri" panose="020F0502020204030204" pitchFamily="34" charset="0"/>
                        </a:rPr>
                        <a:t>7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extLst>
                  <a:ext uri="{0D108BD9-81ED-4DB2-BD59-A6C34878D82A}">
                    <a16:rowId xmlns:a16="http://schemas.microsoft.com/office/drawing/2014/main" val="1580460885"/>
                  </a:ext>
                </a:extLst>
              </a:tr>
            </a:tbl>
          </a:graphicData>
        </a:graphic>
      </p:graphicFrame>
      <p:sp>
        <p:nvSpPr>
          <p:cNvPr id="3" name="Obdélník 2">
            <a:extLst>
              <a:ext uri="{FF2B5EF4-FFF2-40B4-BE49-F238E27FC236}">
                <a16:creationId xmlns:a16="http://schemas.microsoft.com/office/drawing/2014/main" id="{86BB86BE-555D-4EC8-A908-804CD394E36A}"/>
              </a:ext>
            </a:extLst>
          </p:cNvPr>
          <p:cNvSpPr/>
          <p:nvPr>
            <p:custDataLst>
              <p:tags r:id="rId4"/>
            </p:custDataLst>
          </p:nvPr>
        </p:nvSpPr>
        <p:spPr>
          <a:xfrm>
            <a:off x="7588565" y="756148"/>
            <a:ext cx="4095435"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chemeClr val="tx1"/>
                </a:solidFill>
                <a:effectLst/>
                <a:uLnTx/>
                <a:uFillTx/>
                <a:latin typeface="Calibri" panose="020F0502020204030204"/>
                <a:ea typeface="+mn-ea"/>
                <a:cs typeface="+mn-cs"/>
              </a:rPr>
              <a:t>7denní vývoj podílu varianty OMICRON na diskriminačních PCR v ČR</a:t>
            </a:r>
          </a:p>
        </p:txBody>
      </p:sp>
      <p:sp>
        <p:nvSpPr>
          <p:cNvPr id="2" name="TextovéPole 1">
            <a:extLst>
              <a:ext uri="{FF2B5EF4-FFF2-40B4-BE49-F238E27FC236}">
                <a16:creationId xmlns:a16="http://schemas.microsoft.com/office/drawing/2014/main" id="{39D14E7C-55FB-40B2-9A6D-B0CA2E3355B4}"/>
              </a:ext>
            </a:extLst>
          </p:cNvPr>
          <p:cNvSpPr txBox="1"/>
          <p:nvPr>
            <p:custDataLst>
              <p:tags r:id="rId5"/>
            </p:custDataLst>
          </p:nvPr>
        </p:nvSpPr>
        <p:spPr>
          <a:xfrm>
            <a:off x="274209" y="654088"/>
            <a:ext cx="7098144" cy="646331"/>
          </a:xfrm>
          <a:prstGeom prst="rect">
            <a:avLst/>
          </a:prstGeom>
          <a:noFill/>
        </p:spPr>
        <p:txBody>
          <a:bodyPr wrap="square" rtlCol="0">
            <a:spAutoFit/>
          </a:bodyPr>
          <a:lstStyle/>
          <a:p>
            <a:r>
              <a:rPr lang="cs-CZ" b="1" dirty="0"/>
              <a:t>Zprávy Státního zdravotního ústavu (SZÚ), </a:t>
            </a:r>
          </a:p>
          <a:p>
            <a:r>
              <a:rPr lang="cs-CZ" b="1" dirty="0"/>
              <a:t>stav k uzavřenému datu 15.1. 2022</a:t>
            </a:r>
            <a:endParaRPr lang="en-US" b="1" dirty="0"/>
          </a:p>
        </p:txBody>
      </p:sp>
    </p:spTree>
    <p:extLst>
      <p:ext uri="{BB962C8B-B14F-4D97-AF65-F5344CB8AC3E}">
        <p14:creationId xmlns:p14="http://schemas.microsoft.com/office/powerpoint/2010/main" val="2645912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odnadpis 2">
            <a:extLst>
              <a:ext uri="{FF2B5EF4-FFF2-40B4-BE49-F238E27FC236}">
                <a16:creationId xmlns:a16="http://schemas.microsoft.com/office/drawing/2014/main" id="{3DC956FD-6669-4C82-B852-E3CE5A476C50}"/>
              </a:ext>
            </a:extLst>
          </p:cNvPr>
          <p:cNvSpPr txBox="1">
            <a:spLocks/>
          </p:cNvSpPr>
          <p:nvPr>
            <p:custDataLst>
              <p:tags r:id="rId1"/>
            </p:custDataLst>
          </p:nvPr>
        </p:nvSpPr>
        <p:spPr>
          <a:xfrm>
            <a:off x="6290343" y="159666"/>
            <a:ext cx="4640040" cy="52372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Záchyty </a:t>
            </a:r>
            <a:r>
              <a:rPr kumimoji="0" lang="cs-CZ" sz="2800" b="1" i="0" u="none" strike="noStrike" kern="1200" cap="none" spc="0" normalizeH="0" baseline="0" noProof="0" dirty="0" err="1">
                <a:ln>
                  <a:noFill/>
                </a:ln>
                <a:solidFill>
                  <a:prstClr val="black"/>
                </a:solidFill>
                <a:effectLst/>
                <a:uLnTx/>
                <a:uFillTx/>
                <a:latin typeface="Calibri" panose="020F0502020204030204"/>
                <a:ea typeface="+mn-ea"/>
                <a:cs typeface="+mn-cs"/>
              </a:rPr>
              <a:t>Omicronu</a:t>
            </a: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 v ČR: zaměstnání nakažených </a:t>
            </a:r>
          </a:p>
        </p:txBody>
      </p:sp>
      <p:sp>
        <p:nvSpPr>
          <p:cNvPr id="5" name="Podnadpis 2">
            <a:extLst>
              <a:ext uri="{FF2B5EF4-FFF2-40B4-BE49-F238E27FC236}">
                <a16:creationId xmlns:a16="http://schemas.microsoft.com/office/drawing/2014/main" id="{CB9E5415-0F80-439E-AB9F-39DCE904928C}"/>
              </a:ext>
            </a:extLst>
          </p:cNvPr>
          <p:cNvSpPr txBox="1">
            <a:spLocks/>
          </p:cNvSpPr>
          <p:nvPr>
            <p:custDataLst>
              <p:tags r:id="rId2"/>
            </p:custDataLst>
          </p:nvPr>
        </p:nvSpPr>
        <p:spPr>
          <a:xfrm>
            <a:off x="6726332" y="1313106"/>
            <a:ext cx="5460955" cy="4710621"/>
          </a:xfrm>
          <a:prstGeom prst="rect">
            <a:avLst/>
          </a:prstGeom>
          <a:solidFill>
            <a:schemeClr val="bg1"/>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800" b="0" i="1" u="none" strike="noStrike" kern="1200" cap="none" spc="0" normalizeH="0" baseline="0" noProof="0" dirty="0">
                <a:ln>
                  <a:noFill/>
                </a:ln>
                <a:solidFill>
                  <a:prstClr val="black"/>
                </a:solidFill>
                <a:effectLst/>
                <a:uLnTx/>
                <a:uFillTx/>
                <a:latin typeface="Calibri" panose="020F0502020204030204"/>
                <a:ea typeface="+mn-ea"/>
                <a:cs typeface="+mn-cs"/>
              </a:rPr>
              <a:t>Pro sledování zátěže variantou </a:t>
            </a:r>
            <a:r>
              <a:rPr kumimoji="0" lang="cs-CZ" sz="1800" b="0" i="1" u="none" strike="noStrike" kern="1200" cap="none" spc="0" normalizeH="0" baseline="0" noProof="0" dirty="0" err="1">
                <a:ln>
                  <a:noFill/>
                </a:ln>
                <a:solidFill>
                  <a:prstClr val="black"/>
                </a:solidFill>
                <a:effectLst/>
                <a:uLnTx/>
                <a:uFillTx/>
                <a:latin typeface="Calibri" panose="020F0502020204030204"/>
                <a:ea typeface="+mn-ea"/>
                <a:cs typeface="+mn-cs"/>
              </a:rPr>
              <a:t>Omicron</a:t>
            </a:r>
            <a:r>
              <a:rPr kumimoji="0" lang="cs-CZ" sz="1800" b="0" i="1" u="none" strike="noStrike" kern="1200" cap="none" spc="0" normalizeH="0" baseline="0" noProof="0" dirty="0">
                <a:ln>
                  <a:noFill/>
                </a:ln>
                <a:solidFill>
                  <a:prstClr val="black"/>
                </a:solidFill>
                <a:effectLst/>
                <a:uLnTx/>
                <a:uFillTx/>
                <a:latin typeface="Calibri" panose="020F0502020204030204"/>
                <a:ea typeface="+mn-ea"/>
                <a:cs typeface="+mn-cs"/>
              </a:rPr>
              <a:t> je aktivován detailní přehled všech potřebných parametrů, včetně zdravotního dopadu.</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800" b="0" i="1" u="none" strike="noStrike" kern="1200" cap="none" spc="0" normalizeH="0" baseline="0" noProof="0" dirty="0">
                <a:ln>
                  <a:noFill/>
                </a:ln>
                <a:solidFill>
                  <a:prstClr val="black"/>
                </a:solidFill>
                <a:effectLst/>
                <a:uLnTx/>
                <a:uFillTx/>
                <a:latin typeface="Calibri" panose="020F0502020204030204"/>
                <a:ea typeface="+mn-ea"/>
                <a:cs typeface="+mn-cs"/>
              </a:rPr>
              <a:t>Takto je sledováno i zaměstnání nakažených a zejména potenciální zásah zaměstnanců kritické infrastruktury, aktuálně zejména zdravotnických pracovníků a pracovníků v sociálních službách.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800" b="0" i="1" u="none" strike="noStrike" kern="1200" cap="none" spc="0" normalizeH="0" baseline="0" noProof="0" dirty="0">
                <a:ln>
                  <a:noFill/>
                </a:ln>
                <a:solidFill>
                  <a:prstClr val="black"/>
                </a:solidFill>
                <a:effectLst/>
                <a:uLnTx/>
                <a:uFillTx/>
                <a:latin typeface="Calibri" panose="020F0502020204030204"/>
                <a:ea typeface="+mn-ea"/>
                <a:cs typeface="+mn-cs"/>
              </a:rPr>
              <a:t>Mezi nakaženými variantou Omikron převažují administrativní pracovníci a dle očekávání žáci škol a studenti (učni) – což odpovídá doloženému prioritnímu šíření nákazy v populaci mladých lidí, typicky ve věku 16 – 30 le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800" b="1" i="1" u="none" strike="noStrike" kern="1200" cap="none" spc="0" normalizeH="0" baseline="0" noProof="0" dirty="0">
                <a:ln>
                  <a:noFill/>
                </a:ln>
                <a:solidFill>
                  <a:srgbClr val="FF0000"/>
                </a:solidFill>
                <a:effectLst/>
                <a:uLnTx/>
                <a:uFillTx/>
                <a:latin typeface="Calibri" panose="020F0502020204030204"/>
                <a:ea typeface="+mn-ea"/>
                <a:cs typeface="+mn-cs"/>
              </a:rPr>
              <a:t>Dostupná data zatím neukazují na eskalaci nákaz v žádné složce kritické infrastruktury, počet nákaz zdravotnických pracovníků a pracovníků sociálních služeb přestal klesat, aktuálně ale rizikově neroste (viz následující data).   </a:t>
            </a:r>
          </a:p>
        </p:txBody>
      </p:sp>
      <p:sp>
        <p:nvSpPr>
          <p:cNvPr id="2" name="Šipka: dolů 1">
            <a:extLst>
              <a:ext uri="{FF2B5EF4-FFF2-40B4-BE49-F238E27FC236}">
                <a16:creationId xmlns:a16="http://schemas.microsoft.com/office/drawing/2014/main" id="{E7E1195F-7251-4238-93DE-48D1BEADACB9}"/>
              </a:ext>
            </a:extLst>
          </p:cNvPr>
          <p:cNvSpPr/>
          <p:nvPr/>
        </p:nvSpPr>
        <p:spPr>
          <a:xfrm>
            <a:off x="9557986" y="5775158"/>
            <a:ext cx="962526" cy="66414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Obrázek 2">
            <a:extLst>
              <a:ext uri="{FF2B5EF4-FFF2-40B4-BE49-F238E27FC236}">
                <a16:creationId xmlns:a16="http://schemas.microsoft.com/office/drawing/2014/main" id="{DD788A11-39C0-4FF2-8EE6-A80EDFA226C4}"/>
              </a:ext>
            </a:extLst>
          </p:cNvPr>
          <p:cNvPicPr>
            <a:picLocks noChangeAspect="1"/>
          </p:cNvPicPr>
          <p:nvPr/>
        </p:nvPicPr>
        <p:blipFill rotWithShape="1">
          <a:blip r:embed="rId4"/>
          <a:srcRect b="4513"/>
          <a:stretch/>
        </p:blipFill>
        <p:spPr>
          <a:xfrm>
            <a:off x="382909" y="37708"/>
            <a:ext cx="5907434" cy="6778167"/>
          </a:xfrm>
          <a:prstGeom prst="rect">
            <a:avLst/>
          </a:prstGeom>
        </p:spPr>
      </p:pic>
    </p:spTree>
    <p:extLst>
      <p:ext uri="{BB962C8B-B14F-4D97-AF65-F5344CB8AC3E}">
        <p14:creationId xmlns:p14="http://schemas.microsoft.com/office/powerpoint/2010/main" val="21360632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délník 4">
            <a:extLst>
              <a:ext uri="{FF2B5EF4-FFF2-40B4-BE49-F238E27FC236}">
                <a16:creationId xmlns:a16="http://schemas.microsoft.com/office/drawing/2014/main" id="{CD96D264-7DB7-4540-BD2A-BEA7AA3CDEDF}"/>
              </a:ext>
            </a:extLst>
          </p:cNvPr>
          <p:cNvSpPr/>
          <p:nvPr/>
        </p:nvSpPr>
        <p:spPr>
          <a:xfrm>
            <a:off x="609693" y="647811"/>
            <a:ext cx="10971018" cy="400110"/>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nově COVID-19 pozitivních (incidence),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stav k 18. 1. 2022</a:t>
            </a:r>
            <a:endPar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5" name="TextovéPole 8">
            <a:extLst>
              <a:ext uri="{FF2B5EF4-FFF2-40B4-BE49-F238E27FC236}">
                <a16:creationId xmlns:a16="http://schemas.microsoft.com/office/drawing/2014/main" id="{647DDAC2-3C77-4F03-9BD2-24C7C1216857}"/>
              </a:ext>
            </a:extLst>
          </p:cNvPr>
          <p:cNvSpPr txBox="1"/>
          <p:nvPr/>
        </p:nvSpPr>
        <p:spPr>
          <a:xfrm>
            <a:off x="2990850" y="6567385"/>
            <a:ext cx="63627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Zdroj: ISIN – Informační systém infekční nemocí</a:t>
            </a:r>
          </a:p>
        </p:txBody>
      </p:sp>
      <p:sp>
        <p:nvSpPr>
          <p:cNvPr id="2" name="Nadpis 1">
            <a:extLst>
              <a:ext uri="{FF2B5EF4-FFF2-40B4-BE49-F238E27FC236}">
                <a16:creationId xmlns:a16="http://schemas.microsoft.com/office/drawing/2014/main" id="{9FAB93A6-2228-45F5-872E-1F511F38CC6C}"/>
              </a:ext>
            </a:extLst>
          </p:cNvPr>
          <p:cNvSpPr>
            <a:spLocks noGrp="1"/>
          </p:cNvSpPr>
          <p:nvPr>
            <p:ph type="title"/>
          </p:nvPr>
        </p:nvSpPr>
        <p:spPr>
          <a:xfrm>
            <a:off x="339010" y="2"/>
            <a:ext cx="7864952" cy="576000"/>
          </a:xfrm>
        </p:spPr>
        <p:txBody>
          <a:bodyPr/>
          <a:lstStyle/>
          <a:p>
            <a:r>
              <a:rPr lang="cs-CZ" dirty="0"/>
              <a:t>Počty pracovníků ve zdravotnictví s nákazou COVID-19</a:t>
            </a:r>
          </a:p>
        </p:txBody>
      </p:sp>
      <p:graphicFrame>
        <p:nvGraphicFramePr>
          <p:cNvPr id="8" name="Graf 7">
            <a:extLst>
              <a:ext uri="{FF2B5EF4-FFF2-40B4-BE49-F238E27FC236}">
                <a16:creationId xmlns:a16="http://schemas.microsoft.com/office/drawing/2014/main" id="{43448D1D-2E05-45CA-A866-143DDBF5BA0C}"/>
              </a:ext>
            </a:extLst>
          </p:cNvPr>
          <p:cNvGraphicFramePr/>
          <p:nvPr>
            <p:extLst>
              <p:ext uri="{D42A27DB-BD31-4B8C-83A1-F6EECF244321}">
                <p14:modId xmlns:p14="http://schemas.microsoft.com/office/powerpoint/2010/main" val="1007123471"/>
              </p:ext>
            </p:extLst>
          </p:nvPr>
        </p:nvGraphicFramePr>
        <p:xfrm>
          <a:off x="142875" y="1119730"/>
          <a:ext cx="7153275" cy="54476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ulka 8">
            <a:extLst>
              <a:ext uri="{FF2B5EF4-FFF2-40B4-BE49-F238E27FC236}">
                <a16:creationId xmlns:a16="http://schemas.microsoft.com/office/drawing/2014/main" id="{7C1367ED-B273-4E58-BBB3-AD1B81F63A12}"/>
              </a:ext>
            </a:extLst>
          </p:cNvPr>
          <p:cNvGraphicFramePr>
            <a:graphicFrameLocks noGrp="1"/>
          </p:cNvGraphicFramePr>
          <p:nvPr/>
        </p:nvGraphicFramePr>
        <p:xfrm>
          <a:off x="7296150" y="1209675"/>
          <a:ext cx="4661411" cy="5209594"/>
        </p:xfrm>
        <a:graphic>
          <a:graphicData uri="http://schemas.openxmlformats.org/drawingml/2006/table">
            <a:tbl>
              <a:tblPr/>
              <a:tblGrid>
                <a:gridCol w="1453112">
                  <a:extLst>
                    <a:ext uri="{9D8B030D-6E8A-4147-A177-3AD203B41FA5}">
                      <a16:colId xmlns:a16="http://schemas.microsoft.com/office/drawing/2014/main" val="413071720"/>
                    </a:ext>
                  </a:extLst>
                </a:gridCol>
                <a:gridCol w="782840">
                  <a:extLst>
                    <a:ext uri="{9D8B030D-6E8A-4147-A177-3AD203B41FA5}">
                      <a16:colId xmlns:a16="http://schemas.microsoft.com/office/drawing/2014/main" val="3345832007"/>
                    </a:ext>
                  </a:extLst>
                </a:gridCol>
                <a:gridCol w="782840">
                  <a:extLst>
                    <a:ext uri="{9D8B030D-6E8A-4147-A177-3AD203B41FA5}">
                      <a16:colId xmlns:a16="http://schemas.microsoft.com/office/drawing/2014/main" val="3216505177"/>
                    </a:ext>
                  </a:extLst>
                </a:gridCol>
                <a:gridCol w="840544">
                  <a:extLst>
                    <a:ext uri="{9D8B030D-6E8A-4147-A177-3AD203B41FA5}">
                      <a16:colId xmlns:a16="http://schemas.microsoft.com/office/drawing/2014/main" val="1240375351"/>
                    </a:ext>
                  </a:extLst>
                </a:gridCol>
                <a:gridCol w="802075">
                  <a:extLst>
                    <a:ext uri="{9D8B030D-6E8A-4147-A177-3AD203B41FA5}">
                      <a16:colId xmlns:a16="http://schemas.microsoft.com/office/drawing/2014/main" val="1696405920"/>
                    </a:ext>
                  </a:extLst>
                </a:gridCol>
              </a:tblGrid>
              <a:tr h="87280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dirty="0">
                          <a:latin typeface="Calibri" panose="020F0502020204030204" pitchFamily="34" charset="0"/>
                          <a:cs typeface="Calibri" panose="020F0502020204030204" pitchFamily="34" charset="0"/>
                        </a:rPr>
                        <a:t>7 denní klouzavý průměr </a:t>
                      </a:r>
                    </a:p>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dirty="0">
                          <a:latin typeface="Calibri" panose="020F0502020204030204" pitchFamily="34" charset="0"/>
                          <a:cs typeface="Calibri" panose="020F0502020204030204" pitchFamily="34" charset="0"/>
                        </a:rPr>
                        <a:t>(poslední den)</a:t>
                      </a:r>
                      <a:endParaRPr lang="cs-CZ" sz="1200" b="1" i="0" u="none" strike="noStrike" dirty="0">
                        <a:solidFill>
                          <a:schemeClr val="tx1"/>
                        </a:solidFill>
                        <a:effectLst/>
                        <a:latin typeface="Calibri" panose="020F0502020204030204" pitchFamily="34" charset="0"/>
                      </a:endParaRP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4472C4"/>
                          </a:solidFill>
                          <a:effectLst/>
                          <a:latin typeface="Calibri" panose="020F0502020204030204" pitchFamily="34" charset="0"/>
                        </a:rPr>
                        <a:t>Lékaři</a:t>
                      </a:r>
                      <a:endParaRPr lang="cs-CZ" sz="1200" b="0" i="0" u="none" strike="noStrike" dirty="0">
                        <a:solidFill>
                          <a:srgbClr val="4472C4"/>
                        </a:solidFill>
                        <a:effectLst/>
                        <a:latin typeface="Calibri" panose="020F0502020204030204" pitchFamily="34" charset="0"/>
                      </a:endParaRP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ED7D31"/>
                          </a:solidFill>
                          <a:effectLst/>
                          <a:latin typeface="Calibri" panose="020F0502020204030204" pitchFamily="34" charset="0"/>
                        </a:rPr>
                        <a:t>Sesterská povolání </a:t>
                      </a:r>
                      <a:endParaRPr lang="cs-CZ" sz="1200" b="0" i="0" u="none" strike="noStrike" dirty="0">
                        <a:solidFill>
                          <a:srgbClr val="ED7D31"/>
                        </a:solidFill>
                        <a:effectLst/>
                        <a:latin typeface="Calibri" panose="020F0502020204030204" pitchFamily="34" charset="0"/>
                      </a:endParaRP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chemeClr val="bg1">
                              <a:lumMod val="50000"/>
                            </a:schemeClr>
                          </a:solidFill>
                          <a:effectLst/>
                          <a:latin typeface="Calibri" panose="020F0502020204030204" pitchFamily="34" charset="0"/>
                        </a:rPr>
                        <a:t>Ostatní zdravotničtí pracovníci</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CELKEM</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31832207"/>
                  </a:ext>
                </a:extLst>
              </a:tr>
              <a:tr h="289119">
                <a:tc>
                  <a:txBody>
                    <a:bodyPr/>
                    <a:lstStyle/>
                    <a:p>
                      <a:pPr algn="l" fontAlgn="ctr"/>
                      <a:r>
                        <a:rPr lang="cs-CZ" sz="1200" b="1" i="0" u="none" strike="noStrike" dirty="0">
                          <a:solidFill>
                            <a:schemeClr val="tx1"/>
                          </a:solidFill>
                          <a:effectLst/>
                          <a:latin typeface="Calibri" panose="020F0502020204030204" pitchFamily="34" charset="0"/>
                        </a:rPr>
                        <a:t>Hlavní město Praha</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23 (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31 (6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30 (5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4 (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6640817"/>
                  </a:ext>
                </a:extLst>
              </a:tr>
              <a:tr h="289119">
                <a:tc>
                  <a:txBody>
                    <a:bodyPr/>
                    <a:lstStyle/>
                    <a:p>
                      <a:pPr algn="l" fontAlgn="ctr"/>
                      <a:r>
                        <a:rPr lang="cs-CZ" sz="1200" b="1" i="0" u="none" strike="noStrike" dirty="0">
                          <a:solidFill>
                            <a:schemeClr val="tx1"/>
                          </a:solidFill>
                          <a:effectLst/>
                          <a:latin typeface="Calibri" panose="020F0502020204030204" pitchFamily="34" charset="0"/>
                        </a:rPr>
                        <a:t>Středočes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5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10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9 (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4 (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4809383"/>
                  </a:ext>
                </a:extLst>
              </a:tr>
              <a:tr h="289119">
                <a:tc>
                  <a:txBody>
                    <a:bodyPr/>
                    <a:lstStyle/>
                    <a:p>
                      <a:pPr algn="l" fontAlgn="ctr"/>
                      <a:r>
                        <a:rPr lang="cs-CZ" sz="1200" b="1" i="0" u="none" strike="noStrike" dirty="0">
                          <a:solidFill>
                            <a:schemeClr val="tx1"/>
                          </a:solidFill>
                          <a:effectLst/>
                          <a:latin typeface="Calibri" panose="020F0502020204030204" pitchFamily="34" charset="0"/>
                        </a:rPr>
                        <a:t>Jihočes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2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6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4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2 (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0249884"/>
                  </a:ext>
                </a:extLst>
              </a:tr>
              <a:tr h="289119">
                <a:tc>
                  <a:txBody>
                    <a:bodyPr/>
                    <a:lstStyle/>
                    <a:p>
                      <a:pPr algn="l" fontAlgn="ctr"/>
                      <a:r>
                        <a:rPr lang="cs-CZ" sz="1200" b="1" i="0" u="none" strike="noStrike" dirty="0">
                          <a:solidFill>
                            <a:schemeClr val="tx1"/>
                          </a:solidFill>
                          <a:effectLst/>
                          <a:latin typeface="Calibri" panose="020F0502020204030204" pitchFamily="34" charset="0"/>
                        </a:rPr>
                        <a:t>Plzeňs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4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5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 (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0390105"/>
                  </a:ext>
                </a:extLst>
              </a:tr>
              <a:tr h="289119">
                <a:tc>
                  <a:txBody>
                    <a:bodyPr/>
                    <a:lstStyle/>
                    <a:p>
                      <a:pPr algn="l" fontAlgn="ctr"/>
                      <a:r>
                        <a:rPr lang="cs-CZ" sz="1200" b="1" i="0" u="none" strike="noStrike" dirty="0">
                          <a:solidFill>
                            <a:schemeClr val="tx1"/>
                          </a:solidFill>
                          <a:effectLst/>
                          <a:latin typeface="Calibri" panose="020F0502020204030204" pitchFamily="34" charset="0"/>
                        </a:rPr>
                        <a:t>Karlovars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515625"/>
                  </a:ext>
                </a:extLst>
              </a:tr>
              <a:tr h="289119">
                <a:tc>
                  <a:txBody>
                    <a:bodyPr/>
                    <a:lstStyle/>
                    <a:p>
                      <a:pPr algn="l" fontAlgn="ctr"/>
                      <a:r>
                        <a:rPr lang="cs-CZ" sz="1200" b="1" i="0" u="none" strike="noStrike" dirty="0">
                          <a:solidFill>
                            <a:schemeClr val="tx1"/>
                          </a:solidFill>
                          <a:effectLst/>
                          <a:latin typeface="Calibri" panose="020F0502020204030204" pitchFamily="34" charset="0"/>
                        </a:rPr>
                        <a:t>Ústec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7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6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3285489"/>
                  </a:ext>
                </a:extLst>
              </a:tr>
              <a:tr h="289119">
                <a:tc>
                  <a:txBody>
                    <a:bodyPr/>
                    <a:lstStyle/>
                    <a:p>
                      <a:pPr algn="l" fontAlgn="ctr"/>
                      <a:r>
                        <a:rPr lang="cs-CZ" sz="1200" b="1" i="0" u="none" strike="noStrike">
                          <a:solidFill>
                            <a:schemeClr val="tx1"/>
                          </a:solidFill>
                          <a:effectLst/>
                          <a:latin typeface="Calibri" panose="020F0502020204030204" pitchFamily="34" charset="0"/>
                        </a:rPr>
                        <a:t>Liberec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3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3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4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928224"/>
                  </a:ext>
                </a:extLst>
              </a:tr>
              <a:tr h="289119">
                <a:tc>
                  <a:txBody>
                    <a:bodyPr/>
                    <a:lstStyle/>
                    <a:p>
                      <a:pPr algn="l" fontAlgn="ctr"/>
                      <a:r>
                        <a:rPr lang="cs-CZ" sz="1200" b="1" i="0" u="none" strike="noStrike">
                          <a:solidFill>
                            <a:schemeClr val="tx1"/>
                          </a:solidFill>
                          <a:effectLst/>
                          <a:latin typeface="Calibri" panose="020F0502020204030204" pitchFamily="34" charset="0"/>
                        </a:rPr>
                        <a:t>Královéhradec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4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2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3425417"/>
                  </a:ext>
                </a:extLst>
              </a:tr>
              <a:tr h="289119">
                <a:tc>
                  <a:txBody>
                    <a:bodyPr/>
                    <a:lstStyle/>
                    <a:p>
                      <a:pPr algn="l" fontAlgn="ctr"/>
                      <a:r>
                        <a:rPr lang="cs-CZ" sz="1200" b="1" i="0" u="none" strike="noStrike" dirty="0">
                          <a:solidFill>
                            <a:schemeClr val="tx1"/>
                          </a:solidFill>
                          <a:effectLst/>
                          <a:latin typeface="Calibri" panose="020F0502020204030204" pitchFamily="34" charset="0"/>
                        </a:rPr>
                        <a:t>Pardubic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5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4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 (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319143"/>
                  </a:ext>
                </a:extLst>
              </a:tr>
              <a:tr h="289119">
                <a:tc>
                  <a:txBody>
                    <a:bodyPr/>
                    <a:lstStyle/>
                    <a:p>
                      <a:pPr algn="l" fontAlgn="ctr"/>
                      <a:r>
                        <a:rPr lang="cs-CZ" sz="1200" b="1" i="0" u="none" strike="noStrike">
                          <a:solidFill>
                            <a:schemeClr val="tx1"/>
                          </a:solidFill>
                          <a:effectLst/>
                          <a:latin typeface="Calibri" panose="020F0502020204030204" pitchFamily="34" charset="0"/>
                        </a:rPr>
                        <a:t>Kraj Vysočina</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2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061"/>
                  </a:ext>
                </a:extLst>
              </a:tr>
              <a:tr h="289119">
                <a:tc>
                  <a:txBody>
                    <a:bodyPr/>
                    <a:lstStyle/>
                    <a:p>
                      <a:pPr algn="l" fontAlgn="ctr"/>
                      <a:r>
                        <a:rPr lang="cs-CZ" sz="1200" b="1" i="0" u="none" strike="noStrike" dirty="0">
                          <a:solidFill>
                            <a:schemeClr val="tx1"/>
                          </a:solidFill>
                          <a:effectLst/>
                          <a:latin typeface="Calibri" panose="020F0502020204030204" pitchFamily="34" charset="0"/>
                        </a:rPr>
                        <a:t>Jihomoravs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6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11 (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10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6 (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745060"/>
                  </a:ext>
                </a:extLst>
              </a:tr>
              <a:tr h="289119">
                <a:tc>
                  <a:txBody>
                    <a:bodyPr/>
                    <a:lstStyle/>
                    <a:p>
                      <a:pPr algn="l" fontAlgn="ctr"/>
                      <a:r>
                        <a:rPr lang="cs-CZ" sz="1200" b="1" i="0" u="none" strike="noStrike">
                          <a:solidFill>
                            <a:schemeClr val="tx1"/>
                          </a:solidFill>
                          <a:effectLst/>
                          <a:latin typeface="Calibri" panose="020F0502020204030204" pitchFamily="34" charset="0"/>
                        </a:rPr>
                        <a:t>Olomouc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3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5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3 (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59134"/>
                  </a:ext>
                </a:extLst>
              </a:tr>
              <a:tr h="289119">
                <a:tc>
                  <a:txBody>
                    <a:bodyPr/>
                    <a:lstStyle/>
                    <a:p>
                      <a:pPr algn="l" fontAlgn="ctr"/>
                      <a:r>
                        <a:rPr lang="cs-CZ" sz="1200" b="1" i="0" u="none" strike="noStrike">
                          <a:solidFill>
                            <a:schemeClr val="tx1"/>
                          </a:solidFill>
                          <a:effectLst/>
                          <a:latin typeface="Calibri" panose="020F0502020204030204" pitchFamily="34" charset="0"/>
                        </a:rPr>
                        <a:t>Zlíns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5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5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2 (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124751"/>
                  </a:ext>
                </a:extLst>
              </a:tr>
              <a:tr h="289119">
                <a:tc>
                  <a:txBody>
                    <a:bodyPr/>
                    <a:lstStyle/>
                    <a:p>
                      <a:pPr algn="l" fontAlgn="ctr"/>
                      <a:r>
                        <a:rPr lang="cs-CZ" sz="1200" b="1" i="0" u="none" strike="noStrike" dirty="0">
                          <a:solidFill>
                            <a:schemeClr val="tx1"/>
                          </a:solidFill>
                          <a:effectLst/>
                          <a:latin typeface="Calibri" panose="020F0502020204030204" pitchFamily="34" charset="0"/>
                        </a:rPr>
                        <a:t>Moravskoslezský kraj</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4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6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10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0 (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8326513"/>
                  </a:ext>
                </a:extLst>
              </a:tr>
              <a:tr h="289119">
                <a:tc>
                  <a:txBody>
                    <a:bodyPr/>
                    <a:lstStyle/>
                    <a:p>
                      <a:pPr algn="l" fontAlgn="ctr"/>
                      <a:r>
                        <a:rPr lang="cs-CZ" sz="1200" b="1" i="0" u="none" strike="noStrike" dirty="0">
                          <a:solidFill>
                            <a:schemeClr val="tx1"/>
                          </a:solidFill>
                          <a:effectLst/>
                          <a:latin typeface="Calibri" panose="020F0502020204030204" pitchFamily="34" charset="0"/>
                        </a:rPr>
                        <a:t>CELKEM</a:t>
                      </a:r>
                    </a:p>
                  </a:txBody>
                  <a:tcPr marL="36000" marR="36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4472C4"/>
                          </a:solidFill>
                          <a:effectLst/>
                          <a:latin typeface="Calibri" panose="020F0502020204030204" pitchFamily="34" charset="0"/>
                        </a:rPr>
                        <a:t>60 (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ED7D31"/>
                          </a:solidFill>
                          <a:effectLst/>
                          <a:latin typeface="Calibri" panose="020F0502020204030204" pitchFamily="34" charset="0"/>
                        </a:rPr>
                        <a:t>103 (1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808080"/>
                          </a:solidFill>
                          <a:effectLst/>
                          <a:latin typeface="Calibri" panose="020F0502020204030204" pitchFamily="34" charset="0"/>
                        </a:rPr>
                        <a:t>102 (1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64 (4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1328876"/>
                  </a:ext>
                </a:extLst>
              </a:tr>
            </a:tbl>
          </a:graphicData>
        </a:graphic>
      </p:graphicFrame>
      <p:cxnSp>
        <p:nvCxnSpPr>
          <p:cNvPr id="14" name="Straight Connector 4">
            <a:extLst>
              <a:ext uri="{FF2B5EF4-FFF2-40B4-BE49-F238E27FC236}">
                <a16:creationId xmlns:a16="http://schemas.microsoft.com/office/drawing/2014/main" id="{F5F70D9E-87A2-4BFA-BE04-CC7F4241D0B4}"/>
              </a:ext>
            </a:extLst>
          </p:cNvPr>
          <p:cNvCxnSpPr/>
          <p:nvPr/>
        </p:nvCxnSpPr>
        <p:spPr>
          <a:xfrm>
            <a:off x="5606765" y="1702345"/>
            <a:ext cx="216000" cy="0"/>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6" name="TextBox 5">
            <a:extLst>
              <a:ext uri="{FF2B5EF4-FFF2-40B4-BE49-F238E27FC236}">
                <a16:creationId xmlns:a16="http://schemas.microsoft.com/office/drawing/2014/main" id="{39CA3BBA-412B-4A3C-ADC1-DAF4B494D04F}"/>
              </a:ext>
            </a:extLst>
          </p:cNvPr>
          <p:cNvSpPr txBox="1"/>
          <p:nvPr/>
        </p:nvSpPr>
        <p:spPr>
          <a:xfrm>
            <a:off x="5789707" y="1533071"/>
            <a:ext cx="1341224" cy="597856"/>
          </a:xfrm>
          <a:prstGeom prst="rect">
            <a:avLst/>
          </a:prstGeom>
          <a:noFill/>
        </p:spPr>
        <p:txBody>
          <a:bodyPr wrap="square" rtlCol="0">
            <a:spAutoFit/>
          </a:bodyPr>
          <a:lstStyle/>
          <a:p>
            <a:pPr marL="0" marR="0" lvl="0" indent="0" algn="l" defTabSz="914400" rtl="0" eaLnBrk="1" fontAlgn="auto" latinLnBrk="0" hangingPunct="1">
              <a:lnSpc>
                <a:spcPts val="1100"/>
              </a:lnSpc>
              <a:spcBef>
                <a:spcPts val="60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7 denní klouzavý průměr</a:t>
            </a:r>
          </a:p>
          <a:p>
            <a:pPr marL="0" marR="0" lvl="0" indent="0" algn="l" defTabSz="914400" rtl="0" eaLnBrk="1" fontAlgn="auto" latinLnBrk="0" hangingPunct="1">
              <a:lnSpc>
                <a:spcPts val="1100"/>
              </a:lnSpc>
              <a:spcBef>
                <a:spcPts val="60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enní hodnoty</a:t>
            </a:r>
          </a:p>
        </p:txBody>
      </p:sp>
      <p:cxnSp>
        <p:nvCxnSpPr>
          <p:cNvPr id="17" name="Straight Connector 4">
            <a:extLst>
              <a:ext uri="{FF2B5EF4-FFF2-40B4-BE49-F238E27FC236}">
                <a16:creationId xmlns:a16="http://schemas.microsoft.com/office/drawing/2014/main" id="{49368D80-8513-4AF4-B12A-04F7F7E5994A}"/>
              </a:ext>
            </a:extLst>
          </p:cNvPr>
          <p:cNvCxnSpPr/>
          <p:nvPr/>
        </p:nvCxnSpPr>
        <p:spPr>
          <a:xfrm>
            <a:off x="5606765" y="1997620"/>
            <a:ext cx="216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8" name="TextBox 5">
            <a:extLst>
              <a:ext uri="{FF2B5EF4-FFF2-40B4-BE49-F238E27FC236}">
                <a16:creationId xmlns:a16="http://schemas.microsoft.com/office/drawing/2014/main" id="{5F83CAAA-A3F3-4137-A444-807362C84989}"/>
              </a:ext>
            </a:extLst>
          </p:cNvPr>
          <p:cNvSpPr txBox="1"/>
          <p:nvPr/>
        </p:nvSpPr>
        <p:spPr>
          <a:xfrm>
            <a:off x="5492063" y="2335871"/>
            <a:ext cx="13412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oslední den:</a:t>
            </a:r>
          </a:p>
        </p:txBody>
      </p:sp>
    </p:spTree>
    <p:extLst>
      <p:ext uri="{BB962C8B-B14F-4D97-AF65-F5344CB8AC3E}">
        <p14:creationId xmlns:p14="http://schemas.microsoft.com/office/powerpoint/2010/main" val="37860037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af 6">
            <a:extLst>
              <a:ext uri="{FF2B5EF4-FFF2-40B4-BE49-F238E27FC236}">
                <a16:creationId xmlns:a16="http://schemas.microsoft.com/office/drawing/2014/main" id="{4E2462CD-2C28-4222-9D6A-55BCDDF9CD02}"/>
              </a:ext>
            </a:extLst>
          </p:cNvPr>
          <p:cNvGraphicFramePr/>
          <p:nvPr/>
        </p:nvGraphicFramePr>
        <p:xfrm>
          <a:off x="142875" y="1083825"/>
          <a:ext cx="7153275" cy="5447655"/>
        </p:xfrm>
        <a:graphic>
          <a:graphicData uri="http://schemas.openxmlformats.org/drawingml/2006/chart">
            <c:chart xmlns:c="http://schemas.openxmlformats.org/drawingml/2006/chart" xmlns:r="http://schemas.openxmlformats.org/officeDocument/2006/relationships" r:id="rId3"/>
          </a:graphicData>
        </a:graphic>
      </p:graphicFrame>
      <p:sp>
        <p:nvSpPr>
          <p:cNvPr id="11" name="Obdélník 4">
            <a:extLst>
              <a:ext uri="{FF2B5EF4-FFF2-40B4-BE49-F238E27FC236}">
                <a16:creationId xmlns:a16="http://schemas.microsoft.com/office/drawing/2014/main" id="{CD96D264-7DB7-4540-BD2A-BEA7AA3CDEDF}"/>
              </a:ext>
            </a:extLst>
          </p:cNvPr>
          <p:cNvSpPr/>
          <p:nvPr/>
        </p:nvSpPr>
        <p:spPr>
          <a:xfrm>
            <a:off x="609693" y="647811"/>
            <a:ext cx="10971018" cy="400110"/>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ktuální počet COVID-19 pozitivních (prevalence)*,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stav k 18. 1. 2022</a:t>
            </a:r>
            <a:endPar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5" name="TextovéPole 8">
            <a:extLst>
              <a:ext uri="{FF2B5EF4-FFF2-40B4-BE49-F238E27FC236}">
                <a16:creationId xmlns:a16="http://schemas.microsoft.com/office/drawing/2014/main" id="{647DDAC2-3C77-4F03-9BD2-24C7C1216857}"/>
              </a:ext>
            </a:extLst>
          </p:cNvPr>
          <p:cNvSpPr txBox="1"/>
          <p:nvPr/>
        </p:nvSpPr>
        <p:spPr>
          <a:xfrm>
            <a:off x="723900" y="6567385"/>
            <a:ext cx="493395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Zdroj: ISIN – Informační systém infekční nemocí</a:t>
            </a:r>
          </a:p>
        </p:txBody>
      </p:sp>
      <p:sp>
        <p:nvSpPr>
          <p:cNvPr id="2" name="Nadpis 1">
            <a:extLst>
              <a:ext uri="{FF2B5EF4-FFF2-40B4-BE49-F238E27FC236}">
                <a16:creationId xmlns:a16="http://schemas.microsoft.com/office/drawing/2014/main" id="{9FAB93A6-2228-45F5-872E-1F511F38CC6C}"/>
              </a:ext>
            </a:extLst>
          </p:cNvPr>
          <p:cNvSpPr>
            <a:spLocks noGrp="1"/>
          </p:cNvSpPr>
          <p:nvPr>
            <p:ph type="title"/>
          </p:nvPr>
        </p:nvSpPr>
        <p:spPr>
          <a:xfrm>
            <a:off x="339010" y="2"/>
            <a:ext cx="7864952" cy="576000"/>
          </a:xfrm>
        </p:spPr>
        <p:txBody>
          <a:bodyPr/>
          <a:lstStyle/>
          <a:p>
            <a:r>
              <a:rPr lang="cs-CZ" dirty="0"/>
              <a:t>Počty pracovníků ve zdravotnictví s nákazou COVID-19</a:t>
            </a:r>
          </a:p>
        </p:txBody>
      </p:sp>
      <p:graphicFrame>
        <p:nvGraphicFramePr>
          <p:cNvPr id="9" name="Tabulka 8">
            <a:extLst>
              <a:ext uri="{FF2B5EF4-FFF2-40B4-BE49-F238E27FC236}">
                <a16:creationId xmlns:a16="http://schemas.microsoft.com/office/drawing/2014/main" id="{7C1367ED-B273-4E58-BBB3-AD1B81F63A12}"/>
              </a:ext>
            </a:extLst>
          </p:cNvPr>
          <p:cNvGraphicFramePr>
            <a:graphicFrameLocks noGrp="1"/>
          </p:cNvGraphicFramePr>
          <p:nvPr/>
        </p:nvGraphicFramePr>
        <p:xfrm>
          <a:off x="7296150" y="1256231"/>
          <a:ext cx="4752977" cy="4745385"/>
        </p:xfrm>
        <a:graphic>
          <a:graphicData uri="http://schemas.openxmlformats.org/drawingml/2006/table">
            <a:tbl>
              <a:tblPr/>
              <a:tblGrid>
                <a:gridCol w="1456505">
                  <a:extLst>
                    <a:ext uri="{9D8B030D-6E8A-4147-A177-3AD203B41FA5}">
                      <a16:colId xmlns:a16="http://schemas.microsoft.com/office/drawing/2014/main" val="413071720"/>
                    </a:ext>
                  </a:extLst>
                </a:gridCol>
                <a:gridCol w="824118">
                  <a:extLst>
                    <a:ext uri="{9D8B030D-6E8A-4147-A177-3AD203B41FA5}">
                      <a16:colId xmlns:a16="http://schemas.microsoft.com/office/drawing/2014/main" val="3345832007"/>
                    </a:ext>
                  </a:extLst>
                </a:gridCol>
                <a:gridCol w="824118">
                  <a:extLst>
                    <a:ext uri="{9D8B030D-6E8A-4147-A177-3AD203B41FA5}">
                      <a16:colId xmlns:a16="http://schemas.microsoft.com/office/drawing/2014/main" val="3216505177"/>
                    </a:ext>
                  </a:extLst>
                </a:gridCol>
                <a:gridCol w="824118">
                  <a:extLst>
                    <a:ext uri="{9D8B030D-6E8A-4147-A177-3AD203B41FA5}">
                      <a16:colId xmlns:a16="http://schemas.microsoft.com/office/drawing/2014/main" val="1240375351"/>
                    </a:ext>
                  </a:extLst>
                </a:gridCol>
                <a:gridCol w="824118">
                  <a:extLst>
                    <a:ext uri="{9D8B030D-6E8A-4147-A177-3AD203B41FA5}">
                      <a16:colId xmlns:a16="http://schemas.microsoft.com/office/drawing/2014/main" val="1696405920"/>
                    </a:ext>
                  </a:extLst>
                </a:gridCol>
              </a:tblGrid>
              <a:tr h="81451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cs-CZ" sz="1200" b="1" i="0" u="none" strike="noStrike" dirty="0">
                        <a:solidFill>
                          <a:schemeClr val="tx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4472C4"/>
                          </a:solidFill>
                          <a:effectLst/>
                          <a:latin typeface="Calibri" panose="020F0502020204030204" pitchFamily="34" charset="0"/>
                        </a:rPr>
                        <a:t>Lékaři</a:t>
                      </a:r>
                      <a:endParaRPr lang="cs-CZ" sz="1200" b="0" i="0" u="none" strike="noStrike" dirty="0">
                        <a:solidFill>
                          <a:srgbClr val="4472C4"/>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ED7D31"/>
                          </a:solidFill>
                          <a:effectLst/>
                          <a:latin typeface="Calibri" panose="020F0502020204030204" pitchFamily="34" charset="0"/>
                        </a:rPr>
                        <a:t>Sesterská povolání </a:t>
                      </a:r>
                      <a:endParaRPr lang="cs-CZ" sz="1200" b="0" i="0" u="none" strike="noStrike" dirty="0">
                        <a:solidFill>
                          <a:srgbClr val="ED7D3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chemeClr val="bg1">
                              <a:lumMod val="50000"/>
                            </a:schemeClr>
                          </a:solidFill>
                          <a:effectLst/>
                          <a:latin typeface="Calibri" panose="020F0502020204030204" pitchFamily="34" charset="0"/>
                        </a:rPr>
                        <a:t>Ostatní zdravotničtí pracovníci</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31832207"/>
                  </a:ext>
                </a:extLst>
              </a:tr>
              <a:tr h="262058">
                <a:tc>
                  <a:txBody>
                    <a:bodyPr/>
                    <a:lstStyle/>
                    <a:p>
                      <a:pPr algn="l" fontAlgn="ctr"/>
                      <a:r>
                        <a:rPr lang="cs-CZ" sz="1200" b="1" i="0" u="none" strike="noStrike" dirty="0">
                          <a:solidFill>
                            <a:schemeClr val="tx1"/>
                          </a:solidFill>
                          <a:effectLst/>
                          <a:latin typeface="Calibri" panose="020F0502020204030204" pitchFamily="34" charset="0"/>
                        </a:rPr>
                        <a:t>Hlavní město Prah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26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36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3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0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6640817"/>
                  </a:ext>
                </a:extLst>
              </a:tr>
              <a:tr h="262058">
                <a:tc>
                  <a:txBody>
                    <a:bodyPr/>
                    <a:lstStyle/>
                    <a:p>
                      <a:pPr algn="l" fontAlgn="ctr"/>
                      <a:r>
                        <a:rPr lang="cs-CZ" sz="1200" b="1" i="0" u="none" strike="noStrike">
                          <a:solidFill>
                            <a:schemeClr val="tx1"/>
                          </a:solidFill>
                          <a:effectLst/>
                          <a:latin typeface="Calibri" panose="020F0502020204030204" pitchFamily="34" charset="0"/>
                        </a:rPr>
                        <a:t>Střed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1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1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4809383"/>
                  </a:ext>
                </a:extLst>
              </a:tr>
              <a:tr h="262058">
                <a:tc>
                  <a:txBody>
                    <a:bodyPr/>
                    <a:lstStyle/>
                    <a:p>
                      <a:pPr algn="l" fontAlgn="ctr"/>
                      <a:r>
                        <a:rPr lang="cs-CZ" sz="1200" b="1" i="0" u="none" strike="noStrike">
                          <a:solidFill>
                            <a:schemeClr val="tx1"/>
                          </a:solidFill>
                          <a:effectLst/>
                          <a:latin typeface="Calibri" panose="020F0502020204030204" pitchFamily="34" charset="0"/>
                        </a:rPr>
                        <a:t>Jih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0249884"/>
                  </a:ext>
                </a:extLst>
              </a:tr>
              <a:tr h="262058">
                <a:tc>
                  <a:txBody>
                    <a:bodyPr/>
                    <a:lstStyle/>
                    <a:p>
                      <a:pPr algn="l" fontAlgn="ctr"/>
                      <a:r>
                        <a:rPr lang="cs-CZ" sz="1200" b="1" i="0" u="none" strike="noStrike" dirty="0">
                          <a:solidFill>
                            <a:schemeClr val="tx1"/>
                          </a:solidFill>
                          <a:effectLst/>
                          <a:latin typeface="Calibri" panose="020F0502020204030204" pitchFamily="34" charset="0"/>
                        </a:rPr>
                        <a:t>Plzeň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6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0390105"/>
                  </a:ext>
                </a:extLst>
              </a:tr>
              <a:tr h="262058">
                <a:tc>
                  <a:txBody>
                    <a:bodyPr/>
                    <a:lstStyle/>
                    <a:p>
                      <a:pPr algn="l" fontAlgn="ctr"/>
                      <a:r>
                        <a:rPr lang="cs-CZ" sz="1200" b="1" i="0" u="none" strike="noStrike" dirty="0">
                          <a:solidFill>
                            <a:schemeClr val="tx1"/>
                          </a:solidFill>
                          <a:effectLst/>
                          <a:latin typeface="Calibri" panose="020F0502020204030204" pitchFamily="34" charset="0"/>
                        </a:rPr>
                        <a:t>Karlovar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515625"/>
                  </a:ext>
                </a:extLst>
              </a:tr>
              <a:tr h="262058">
                <a:tc>
                  <a:txBody>
                    <a:bodyPr/>
                    <a:lstStyle/>
                    <a:p>
                      <a:pPr algn="l" fontAlgn="ctr"/>
                      <a:r>
                        <a:rPr lang="cs-CZ" sz="1200" b="1" i="0" u="none" strike="noStrike" dirty="0">
                          <a:solidFill>
                            <a:schemeClr val="tx1"/>
                          </a:solidFill>
                          <a:effectLst/>
                          <a:latin typeface="Calibri" panose="020F0502020204030204" pitchFamily="34" charset="0"/>
                        </a:rPr>
                        <a:t>Úst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8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3285489"/>
                  </a:ext>
                </a:extLst>
              </a:tr>
              <a:tr h="262058">
                <a:tc>
                  <a:txBody>
                    <a:bodyPr/>
                    <a:lstStyle/>
                    <a:p>
                      <a:pPr algn="l" fontAlgn="ctr"/>
                      <a:r>
                        <a:rPr lang="cs-CZ" sz="1200" b="1" i="0" u="none" strike="noStrike">
                          <a:solidFill>
                            <a:schemeClr val="tx1"/>
                          </a:solidFill>
                          <a:effectLst/>
                          <a:latin typeface="Calibri" panose="020F0502020204030204" pitchFamily="34" charset="0"/>
                        </a:rPr>
                        <a:t>Liber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3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928224"/>
                  </a:ext>
                </a:extLst>
              </a:tr>
              <a:tr h="262058">
                <a:tc>
                  <a:txBody>
                    <a:bodyPr/>
                    <a:lstStyle/>
                    <a:p>
                      <a:pPr algn="l" fontAlgn="ctr"/>
                      <a:r>
                        <a:rPr lang="cs-CZ" sz="1200" b="1" i="0" u="none" strike="noStrike">
                          <a:solidFill>
                            <a:schemeClr val="tx1"/>
                          </a:solidFill>
                          <a:effectLst/>
                          <a:latin typeface="Calibri" panose="020F0502020204030204" pitchFamily="34" charset="0"/>
                        </a:rPr>
                        <a:t>Královéhrad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5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3425417"/>
                  </a:ext>
                </a:extLst>
              </a:tr>
              <a:tr h="262058">
                <a:tc>
                  <a:txBody>
                    <a:bodyPr/>
                    <a:lstStyle/>
                    <a:p>
                      <a:pPr algn="l" fontAlgn="ctr"/>
                      <a:r>
                        <a:rPr lang="cs-CZ" sz="1200" b="1" i="0" u="none" strike="noStrike" dirty="0">
                          <a:solidFill>
                            <a:schemeClr val="tx1"/>
                          </a:solidFill>
                          <a:effectLst/>
                          <a:latin typeface="Calibri" panose="020F0502020204030204" pitchFamily="34" charset="0"/>
                        </a:rPr>
                        <a:t>Pardubi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319143"/>
                  </a:ext>
                </a:extLst>
              </a:tr>
              <a:tr h="262058">
                <a:tc>
                  <a:txBody>
                    <a:bodyPr/>
                    <a:lstStyle/>
                    <a:p>
                      <a:pPr algn="l" fontAlgn="ctr"/>
                      <a:r>
                        <a:rPr lang="cs-CZ" sz="1200" b="1" i="0" u="none" strike="noStrike">
                          <a:solidFill>
                            <a:schemeClr val="tx1"/>
                          </a:solidFill>
                          <a:effectLst/>
                          <a:latin typeface="Calibri" panose="020F0502020204030204" pitchFamily="34" charset="0"/>
                        </a:rPr>
                        <a:t>Kraj Vysočin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061"/>
                  </a:ext>
                </a:extLst>
              </a:tr>
              <a:tr h="262058">
                <a:tc>
                  <a:txBody>
                    <a:bodyPr/>
                    <a:lstStyle/>
                    <a:p>
                      <a:pPr algn="l" fontAlgn="ctr"/>
                      <a:r>
                        <a:rPr lang="cs-CZ" sz="1200" b="1" i="0" u="none" strike="noStrike" dirty="0">
                          <a:solidFill>
                            <a:schemeClr val="tx1"/>
                          </a:solidFill>
                          <a:effectLst/>
                          <a:latin typeface="Calibri" panose="020F0502020204030204" pitchFamily="34" charset="0"/>
                        </a:rPr>
                        <a:t>Jihomorav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1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1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745060"/>
                  </a:ext>
                </a:extLst>
              </a:tr>
              <a:tr h="262058">
                <a:tc>
                  <a:txBody>
                    <a:bodyPr/>
                    <a:lstStyle/>
                    <a:p>
                      <a:pPr algn="l" fontAlgn="ctr"/>
                      <a:r>
                        <a:rPr lang="cs-CZ" sz="1200" b="1" i="0" u="none" strike="noStrike">
                          <a:solidFill>
                            <a:schemeClr val="tx1"/>
                          </a:solidFill>
                          <a:effectLst/>
                          <a:latin typeface="Calibri" panose="020F0502020204030204" pitchFamily="34" charset="0"/>
                        </a:rPr>
                        <a:t>Olomou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6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7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59134"/>
                  </a:ext>
                </a:extLst>
              </a:tr>
              <a:tr h="262058">
                <a:tc>
                  <a:txBody>
                    <a:bodyPr/>
                    <a:lstStyle/>
                    <a:p>
                      <a:pPr algn="l" fontAlgn="ctr"/>
                      <a:r>
                        <a:rPr lang="cs-CZ" sz="1200" b="1" i="0" u="none" strike="noStrike">
                          <a:solidFill>
                            <a:schemeClr val="tx1"/>
                          </a:solidFill>
                          <a:effectLst/>
                          <a:latin typeface="Calibri" panose="020F0502020204030204" pitchFamily="34" charset="0"/>
                        </a:rPr>
                        <a:t>Zlín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124751"/>
                  </a:ext>
                </a:extLst>
              </a:tr>
              <a:tr h="262058">
                <a:tc>
                  <a:txBody>
                    <a:bodyPr/>
                    <a:lstStyle/>
                    <a:p>
                      <a:pPr algn="l" fontAlgn="ctr"/>
                      <a:r>
                        <a:rPr lang="cs-CZ" sz="1200" b="1" i="0" u="none" strike="noStrike" dirty="0">
                          <a:solidFill>
                            <a:schemeClr val="tx1"/>
                          </a:solidFill>
                          <a:effectLst/>
                          <a:latin typeface="Calibri" panose="020F0502020204030204" pitchFamily="34" charset="0"/>
                        </a:rPr>
                        <a:t>Moravskoslez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4472C4"/>
                          </a:solidFill>
                          <a:effectLst/>
                          <a:latin typeface="Calibri" panose="020F050202020403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ED7D31"/>
                          </a:solidFill>
                          <a:effectLst/>
                          <a:latin typeface="Calibri" panose="020F0502020204030204" pitchFamily="34" charset="0"/>
                        </a:rPr>
                        <a:t>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808080"/>
                          </a:solidFill>
                          <a:effectLst/>
                          <a:latin typeface="Calibri" panose="020F0502020204030204" pitchFamily="34" charset="0"/>
                        </a:rPr>
                        <a:t>1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8326513"/>
                  </a:ext>
                </a:extLst>
              </a:tr>
              <a:tr h="262058">
                <a:tc>
                  <a:txBody>
                    <a:bodyPr/>
                    <a:lstStyle/>
                    <a:p>
                      <a:pPr algn="l"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4472C4"/>
                          </a:solidFill>
                          <a:effectLst/>
                          <a:latin typeface="Calibri" panose="020F0502020204030204" pitchFamily="34" charset="0"/>
                        </a:rPr>
                        <a:t>6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ED7D31"/>
                          </a:solidFill>
                          <a:effectLst/>
                          <a:latin typeface="Calibri" panose="020F0502020204030204" pitchFamily="34" charset="0"/>
                        </a:rPr>
                        <a:t>1 2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808080"/>
                          </a:solidFill>
                          <a:effectLst/>
                          <a:latin typeface="Calibri" panose="020F0502020204030204" pitchFamily="34" charset="0"/>
                        </a:rPr>
                        <a:t>1 36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3 3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1328876"/>
                  </a:ext>
                </a:extLst>
              </a:tr>
            </a:tbl>
          </a:graphicData>
        </a:graphic>
      </p:graphicFrame>
      <p:sp>
        <p:nvSpPr>
          <p:cNvPr id="12" name="TextovéPole 11">
            <a:extLst>
              <a:ext uri="{FF2B5EF4-FFF2-40B4-BE49-F238E27FC236}">
                <a16:creationId xmlns:a16="http://schemas.microsoft.com/office/drawing/2014/main" id="{107070DB-7A5B-419B-A663-E01DC064A02B}"/>
              </a:ext>
            </a:extLst>
          </p:cNvPr>
          <p:cNvSpPr txBox="1"/>
          <p:nvPr/>
        </p:nvSpPr>
        <p:spPr>
          <a:xfrm>
            <a:off x="5905500" y="6093400"/>
            <a:ext cx="6286500"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prstClr val="black"/>
                </a:solidFill>
                <a:effectLst/>
                <a:uLnTx/>
                <a:uFillTx/>
                <a:latin typeface="Calibri" panose="020F0502020204030204"/>
                <a:ea typeface="+mn-ea"/>
                <a:cs typeface="+mn-cs"/>
              </a:rPr>
              <a:t>Počty aktuálně pozitivních ZP jsou nadhodnocené z důvodu zpoždění v aktualizaci údajů o negativitě/ vyléčení, které u ZP provádí KHS. Odhadovaný počet pravděpodobně již negativních ZP je 323 celkem (63 lékařů, 128 sester, 132 jiných ZP), odhad vychází z počtu aktuálně pozitivních ZP s datem pozitivity starším než 14 dní.</a:t>
            </a:r>
          </a:p>
        </p:txBody>
      </p:sp>
    </p:spTree>
    <p:extLst>
      <p:ext uri="{BB962C8B-B14F-4D97-AF65-F5344CB8AC3E}">
        <p14:creationId xmlns:p14="http://schemas.microsoft.com/office/powerpoint/2010/main" val="245408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custDataLst>
              <p:tags r:id="rId1"/>
            </p:custDataLst>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custDataLst>
              <p:tags r:id="rId2"/>
            </p:custDataLst>
          </p:nvPr>
        </p:nvSpPr>
        <p:spPr>
          <a:xfrm>
            <a:off x="143346" y="3693109"/>
            <a:ext cx="11905307" cy="2317166"/>
          </a:xfrm>
        </p:spPr>
        <p:txBody>
          <a:bodyPr>
            <a:normAutofit lnSpcReduction="10000"/>
          </a:bodyPr>
          <a:lstStyle/>
          <a:p>
            <a:r>
              <a:rPr lang="cs-CZ" sz="4800" b="1" dirty="0"/>
              <a:t>Úvodem: do denních záchytů nákazy nejsou </a:t>
            </a:r>
          </a:p>
          <a:p>
            <a:r>
              <a:rPr lang="cs-CZ" sz="4800" b="1" dirty="0"/>
              <a:t>započteny primární </a:t>
            </a:r>
            <a:r>
              <a:rPr lang="cs-CZ" sz="4800" b="1" dirty="0" err="1"/>
              <a:t>Ag</a:t>
            </a:r>
            <a:r>
              <a:rPr lang="cs-CZ" sz="4800" b="1" dirty="0"/>
              <a:t> testy ze škol </a:t>
            </a:r>
          </a:p>
          <a:p>
            <a:r>
              <a:rPr lang="cs-CZ" sz="4800" b="1" dirty="0"/>
              <a:t>a samotesty z firem a podniků</a:t>
            </a:r>
          </a:p>
        </p:txBody>
      </p:sp>
    </p:spTree>
    <p:extLst>
      <p:ext uri="{BB962C8B-B14F-4D97-AF65-F5344CB8AC3E}">
        <p14:creationId xmlns:p14="http://schemas.microsoft.com/office/powerpoint/2010/main" val="36381735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ovéPole 8">
            <a:extLst>
              <a:ext uri="{FF2B5EF4-FFF2-40B4-BE49-F238E27FC236}">
                <a16:creationId xmlns:a16="http://schemas.microsoft.com/office/drawing/2014/main" id="{647DDAC2-3C77-4F03-9BD2-24C7C1216857}"/>
              </a:ext>
            </a:extLst>
          </p:cNvPr>
          <p:cNvSpPr txBox="1"/>
          <p:nvPr/>
        </p:nvSpPr>
        <p:spPr>
          <a:xfrm>
            <a:off x="2990850" y="6567385"/>
            <a:ext cx="63627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Zdroj: ISIN – Informační systém infekční nemocí, modul sociálních služeb</a:t>
            </a:r>
          </a:p>
        </p:txBody>
      </p:sp>
      <p:sp>
        <p:nvSpPr>
          <p:cNvPr id="2" name="Nadpis 1">
            <a:extLst>
              <a:ext uri="{FF2B5EF4-FFF2-40B4-BE49-F238E27FC236}">
                <a16:creationId xmlns:a16="http://schemas.microsoft.com/office/drawing/2014/main" id="{9FAB93A6-2228-45F5-872E-1F511F38CC6C}"/>
              </a:ext>
            </a:extLst>
          </p:cNvPr>
          <p:cNvSpPr>
            <a:spLocks noGrp="1"/>
          </p:cNvSpPr>
          <p:nvPr>
            <p:ph type="title"/>
          </p:nvPr>
        </p:nvSpPr>
        <p:spPr>
          <a:xfrm>
            <a:off x="339010" y="2"/>
            <a:ext cx="7864952" cy="576000"/>
          </a:xfrm>
        </p:spPr>
        <p:txBody>
          <a:bodyPr/>
          <a:lstStyle/>
          <a:p>
            <a:r>
              <a:rPr lang="cs-CZ" dirty="0"/>
              <a:t>Počty nově COVID-19 pozitivních pracovníků </a:t>
            </a:r>
            <a:br>
              <a:rPr lang="cs-CZ" dirty="0"/>
            </a:br>
            <a:r>
              <a:rPr lang="cs-CZ" dirty="0"/>
              <a:t>v zařízeních sociálních služeb</a:t>
            </a:r>
          </a:p>
        </p:txBody>
      </p:sp>
      <p:graphicFrame>
        <p:nvGraphicFramePr>
          <p:cNvPr id="7" name="Chart 31">
            <a:extLst>
              <a:ext uri="{FF2B5EF4-FFF2-40B4-BE49-F238E27FC236}">
                <a16:creationId xmlns:a16="http://schemas.microsoft.com/office/drawing/2014/main" id="{1A0DC1DF-8CED-49FC-A4A5-065F1A64BD52}"/>
              </a:ext>
            </a:extLst>
          </p:cNvPr>
          <p:cNvGraphicFramePr/>
          <p:nvPr/>
        </p:nvGraphicFramePr>
        <p:xfrm>
          <a:off x="407350" y="1059679"/>
          <a:ext cx="8523006" cy="548661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2">
            <a:extLst>
              <a:ext uri="{FF2B5EF4-FFF2-40B4-BE49-F238E27FC236}">
                <a16:creationId xmlns:a16="http://schemas.microsoft.com/office/drawing/2014/main" id="{FDDA473E-2198-4E37-8DAB-7936176EB801}"/>
              </a:ext>
            </a:extLst>
          </p:cNvPr>
          <p:cNvSpPr txBox="1"/>
          <p:nvPr/>
        </p:nvSpPr>
        <p:spPr>
          <a:xfrm rot="16200000">
            <a:off x="-941446" y="3165866"/>
            <a:ext cx="258756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Denní počet nových případů</a:t>
            </a:r>
          </a:p>
        </p:txBody>
      </p:sp>
      <p:graphicFrame>
        <p:nvGraphicFramePr>
          <p:cNvPr id="8" name="Tabulka 7">
            <a:extLst>
              <a:ext uri="{FF2B5EF4-FFF2-40B4-BE49-F238E27FC236}">
                <a16:creationId xmlns:a16="http://schemas.microsoft.com/office/drawing/2014/main" id="{B270C58A-BB49-4257-8406-1CEB47E406EE}"/>
              </a:ext>
            </a:extLst>
          </p:cNvPr>
          <p:cNvGraphicFramePr>
            <a:graphicFrameLocks noGrp="1"/>
          </p:cNvGraphicFramePr>
          <p:nvPr/>
        </p:nvGraphicFramePr>
        <p:xfrm>
          <a:off x="9060412" y="1207371"/>
          <a:ext cx="2763052" cy="5050096"/>
        </p:xfrm>
        <a:graphic>
          <a:graphicData uri="http://schemas.openxmlformats.org/drawingml/2006/table">
            <a:tbl>
              <a:tblPr/>
              <a:tblGrid>
                <a:gridCol w="1675629">
                  <a:extLst>
                    <a:ext uri="{9D8B030D-6E8A-4147-A177-3AD203B41FA5}">
                      <a16:colId xmlns:a16="http://schemas.microsoft.com/office/drawing/2014/main" val="413071720"/>
                    </a:ext>
                  </a:extLst>
                </a:gridCol>
                <a:gridCol w="1087423">
                  <a:extLst>
                    <a:ext uri="{9D8B030D-6E8A-4147-A177-3AD203B41FA5}">
                      <a16:colId xmlns:a16="http://schemas.microsoft.com/office/drawing/2014/main" val="1696405920"/>
                    </a:ext>
                  </a:extLst>
                </a:gridCol>
              </a:tblGrid>
              <a:tr h="5203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cs-CZ" sz="1200" b="1" i="0" u="none" strike="noStrike" dirty="0">
                        <a:solidFill>
                          <a:schemeClr val="tx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CELKEM</a:t>
                      </a:r>
                    </a:p>
                    <a:p>
                      <a:pPr algn="ctr" fontAlgn="ctr"/>
                      <a:r>
                        <a:rPr lang="cs-CZ" sz="1200" b="1" i="0" u="none" strike="noStrike" dirty="0">
                          <a:solidFill>
                            <a:schemeClr val="tx1"/>
                          </a:solidFill>
                          <a:effectLst/>
                          <a:latin typeface="Calibri" panose="020F0502020204030204" pitchFamily="34" charset="0"/>
                        </a:rPr>
                        <a:t>za posledních </a:t>
                      </a:r>
                    </a:p>
                    <a:p>
                      <a:pPr algn="ctr" fontAlgn="ctr"/>
                      <a:r>
                        <a:rPr lang="cs-CZ" sz="1200" b="1" i="0" u="none" strike="noStrike" dirty="0">
                          <a:solidFill>
                            <a:schemeClr val="tx1"/>
                          </a:solidFill>
                          <a:effectLst/>
                          <a:latin typeface="Calibri" panose="020F0502020204030204" pitchFamily="34" charset="0"/>
                        </a:rPr>
                        <a:t>7 dní</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31832207"/>
                  </a:ext>
                </a:extLst>
              </a:tr>
              <a:tr h="281341">
                <a:tc>
                  <a:txBody>
                    <a:bodyPr/>
                    <a:lstStyle/>
                    <a:p>
                      <a:pPr algn="l" fontAlgn="ctr"/>
                      <a:r>
                        <a:rPr lang="cs-CZ" sz="1200" b="1" i="0" u="none" strike="noStrike" dirty="0">
                          <a:solidFill>
                            <a:schemeClr val="tx1"/>
                          </a:solidFill>
                          <a:effectLst/>
                          <a:latin typeface="Calibri" panose="020F0502020204030204" pitchFamily="34" charset="0"/>
                        </a:rPr>
                        <a:t>Hlavní město Prah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6640817"/>
                  </a:ext>
                </a:extLst>
              </a:tr>
              <a:tr h="281341">
                <a:tc>
                  <a:txBody>
                    <a:bodyPr/>
                    <a:lstStyle/>
                    <a:p>
                      <a:pPr algn="l" fontAlgn="ctr"/>
                      <a:r>
                        <a:rPr lang="cs-CZ" sz="1200" b="1" i="0" u="none" strike="noStrike">
                          <a:solidFill>
                            <a:schemeClr val="tx1"/>
                          </a:solidFill>
                          <a:effectLst/>
                          <a:latin typeface="Calibri" panose="020F0502020204030204" pitchFamily="34" charset="0"/>
                        </a:rPr>
                        <a:t>Střed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4809383"/>
                  </a:ext>
                </a:extLst>
              </a:tr>
              <a:tr h="281341">
                <a:tc>
                  <a:txBody>
                    <a:bodyPr/>
                    <a:lstStyle/>
                    <a:p>
                      <a:pPr algn="l" fontAlgn="ctr"/>
                      <a:r>
                        <a:rPr lang="cs-CZ" sz="1200" b="1" i="0" u="none" strike="noStrike">
                          <a:solidFill>
                            <a:schemeClr val="tx1"/>
                          </a:solidFill>
                          <a:effectLst/>
                          <a:latin typeface="Calibri" panose="020F0502020204030204" pitchFamily="34" charset="0"/>
                        </a:rPr>
                        <a:t>Jih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0249884"/>
                  </a:ext>
                </a:extLst>
              </a:tr>
              <a:tr h="281341">
                <a:tc>
                  <a:txBody>
                    <a:bodyPr/>
                    <a:lstStyle/>
                    <a:p>
                      <a:pPr algn="l" fontAlgn="ctr"/>
                      <a:r>
                        <a:rPr lang="cs-CZ" sz="1200" b="1" i="0" u="none" strike="noStrike" dirty="0">
                          <a:solidFill>
                            <a:schemeClr val="tx1"/>
                          </a:solidFill>
                          <a:effectLst/>
                          <a:latin typeface="Calibri" panose="020F0502020204030204" pitchFamily="34" charset="0"/>
                        </a:rPr>
                        <a:t>Plzeň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0390105"/>
                  </a:ext>
                </a:extLst>
              </a:tr>
              <a:tr h="281341">
                <a:tc>
                  <a:txBody>
                    <a:bodyPr/>
                    <a:lstStyle/>
                    <a:p>
                      <a:pPr algn="l" fontAlgn="ctr"/>
                      <a:r>
                        <a:rPr lang="cs-CZ" sz="1200" b="1" i="0" u="none" strike="noStrike" dirty="0">
                          <a:solidFill>
                            <a:schemeClr val="tx1"/>
                          </a:solidFill>
                          <a:effectLst/>
                          <a:latin typeface="Calibri" panose="020F0502020204030204" pitchFamily="34" charset="0"/>
                        </a:rPr>
                        <a:t>Karlovar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515625"/>
                  </a:ext>
                </a:extLst>
              </a:tr>
              <a:tr h="281341">
                <a:tc>
                  <a:txBody>
                    <a:bodyPr/>
                    <a:lstStyle/>
                    <a:p>
                      <a:pPr algn="l" fontAlgn="ctr"/>
                      <a:r>
                        <a:rPr lang="cs-CZ" sz="1200" b="1" i="0" u="none" strike="noStrike" dirty="0">
                          <a:solidFill>
                            <a:schemeClr val="tx1"/>
                          </a:solidFill>
                          <a:effectLst/>
                          <a:latin typeface="Calibri" panose="020F0502020204030204" pitchFamily="34" charset="0"/>
                        </a:rPr>
                        <a:t>Úst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3285489"/>
                  </a:ext>
                </a:extLst>
              </a:tr>
              <a:tr h="281341">
                <a:tc>
                  <a:txBody>
                    <a:bodyPr/>
                    <a:lstStyle/>
                    <a:p>
                      <a:pPr algn="l" fontAlgn="ctr"/>
                      <a:r>
                        <a:rPr lang="cs-CZ" sz="1200" b="1" i="0" u="none" strike="noStrike">
                          <a:solidFill>
                            <a:schemeClr val="tx1"/>
                          </a:solidFill>
                          <a:effectLst/>
                          <a:latin typeface="Calibri" panose="020F0502020204030204" pitchFamily="34" charset="0"/>
                        </a:rPr>
                        <a:t>Liber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928224"/>
                  </a:ext>
                </a:extLst>
              </a:tr>
              <a:tr h="281341">
                <a:tc>
                  <a:txBody>
                    <a:bodyPr/>
                    <a:lstStyle/>
                    <a:p>
                      <a:pPr algn="l" fontAlgn="ctr"/>
                      <a:r>
                        <a:rPr lang="cs-CZ" sz="1200" b="1" i="0" u="none" strike="noStrike">
                          <a:solidFill>
                            <a:schemeClr val="tx1"/>
                          </a:solidFill>
                          <a:effectLst/>
                          <a:latin typeface="Calibri" panose="020F0502020204030204" pitchFamily="34" charset="0"/>
                        </a:rPr>
                        <a:t>Královéhrad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3425417"/>
                  </a:ext>
                </a:extLst>
              </a:tr>
              <a:tr h="281341">
                <a:tc>
                  <a:txBody>
                    <a:bodyPr/>
                    <a:lstStyle/>
                    <a:p>
                      <a:pPr algn="l" fontAlgn="ctr"/>
                      <a:r>
                        <a:rPr lang="cs-CZ" sz="1200" b="1" i="0" u="none" strike="noStrike" dirty="0">
                          <a:solidFill>
                            <a:schemeClr val="tx1"/>
                          </a:solidFill>
                          <a:effectLst/>
                          <a:latin typeface="Calibri" panose="020F0502020204030204" pitchFamily="34" charset="0"/>
                        </a:rPr>
                        <a:t>Pardubi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319143"/>
                  </a:ext>
                </a:extLst>
              </a:tr>
              <a:tr h="281341">
                <a:tc>
                  <a:txBody>
                    <a:bodyPr/>
                    <a:lstStyle/>
                    <a:p>
                      <a:pPr algn="l" fontAlgn="ctr"/>
                      <a:r>
                        <a:rPr lang="cs-CZ" sz="1200" b="1" i="0" u="none" strike="noStrike">
                          <a:solidFill>
                            <a:schemeClr val="tx1"/>
                          </a:solidFill>
                          <a:effectLst/>
                          <a:latin typeface="Calibri" panose="020F0502020204030204" pitchFamily="34" charset="0"/>
                        </a:rPr>
                        <a:t>Kraj Vysočin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061"/>
                  </a:ext>
                </a:extLst>
              </a:tr>
              <a:tr h="281341">
                <a:tc>
                  <a:txBody>
                    <a:bodyPr/>
                    <a:lstStyle/>
                    <a:p>
                      <a:pPr algn="l" fontAlgn="ctr"/>
                      <a:r>
                        <a:rPr lang="cs-CZ" sz="1200" b="1" i="0" u="none" strike="noStrike" dirty="0">
                          <a:solidFill>
                            <a:schemeClr val="tx1"/>
                          </a:solidFill>
                          <a:effectLst/>
                          <a:latin typeface="Calibri" panose="020F0502020204030204" pitchFamily="34" charset="0"/>
                        </a:rPr>
                        <a:t>Jihomorav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745060"/>
                  </a:ext>
                </a:extLst>
              </a:tr>
              <a:tr h="281341">
                <a:tc>
                  <a:txBody>
                    <a:bodyPr/>
                    <a:lstStyle/>
                    <a:p>
                      <a:pPr algn="l" fontAlgn="ctr"/>
                      <a:r>
                        <a:rPr lang="cs-CZ" sz="1200" b="1" i="0" u="none" strike="noStrike">
                          <a:solidFill>
                            <a:schemeClr val="tx1"/>
                          </a:solidFill>
                          <a:effectLst/>
                          <a:latin typeface="Calibri" panose="020F0502020204030204" pitchFamily="34" charset="0"/>
                        </a:rPr>
                        <a:t>Olomou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59134"/>
                  </a:ext>
                </a:extLst>
              </a:tr>
              <a:tr h="281341">
                <a:tc>
                  <a:txBody>
                    <a:bodyPr/>
                    <a:lstStyle/>
                    <a:p>
                      <a:pPr algn="l" fontAlgn="ctr"/>
                      <a:r>
                        <a:rPr lang="cs-CZ" sz="1200" b="1" i="0" u="none" strike="noStrike">
                          <a:solidFill>
                            <a:schemeClr val="tx1"/>
                          </a:solidFill>
                          <a:effectLst/>
                          <a:latin typeface="Calibri" panose="020F0502020204030204" pitchFamily="34" charset="0"/>
                        </a:rPr>
                        <a:t>Zlín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124751"/>
                  </a:ext>
                </a:extLst>
              </a:tr>
              <a:tr h="281341">
                <a:tc>
                  <a:txBody>
                    <a:bodyPr/>
                    <a:lstStyle/>
                    <a:p>
                      <a:pPr algn="l" fontAlgn="ctr"/>
                      <a:r>
                        <a:rPr lang="cs-CZ" sz="1200" b="1" i="0" u="none" strike="noStrike" dirty="0">
                          <a:solidFill>
                            <a:schemeClr val="tx1"/>
                          </a:solidFill>
                          <a:effectLst/>
                          <a:latin typeface="Calibri" panose="020F0502020204030204" pitchFamily="34" charset="0"/>
                        </a:rPr>
                        <a:t>Moravskoslez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8326513"/>
                  </a:ext>
                </a:extLst>
              </a:tr>
              <a:tr h="281341">
                <a:tc>
                  <a:txBody>
                    <a:bodyPr/>
                    <a:lstStyle/>
                    <a:p>
                      <a:pPr algn="l"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1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1328876"/>
                  </a:ext>
                </a:extLst>
              </a:tr>
              <a:tr h="281341">
                <a:tc>
                  <a:txBody>
                    <a:bodyPr/>
                    <a:lstStyle/>
                    <a:p>
                      <a:pPr algn="l" fontAlgn="ctr"/>
                      <a:r>
                        <a:rPr lang="cs-CZ" sz="1200" b="1" i="1" u="none" strike="noStrike" dirty="0">
                          <a:solidFill>
                            <a:schemeClr val="tx1"/>
                          </a:solidFill>
                          <a:effectLst/>
                          <a:latin typeface="Calibri" panose="020F0502020204030204" pitchFamily="34" charset="0"/>
                        </a:rPr>
                        <a:t>7 denní klouzavý průměr</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1" u="none" strike="noStrike" dirty="0">
                          <a:solidFill>
                            <a:srgbClr val="000000"/>
                          </a:solidFill>
                          <a:effectLst/>
                          <a:latin typeface="Calibri" panose="020F050202020403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13011470"/>
                  </a:ext>
                </a:extLst>
              </a:tr>
            </a:tbl>
          </a:graphicData>
        </a:graphic>
      </p:graphicFrame>
      <p:sp>
        <p:nvSpPr>
          <p:cNvPr id="9" name="Obdélník 4">
            <a:extLst>
              <a:ext uri="{FF2B5EF4-FFF2-40B4-BE49-F238E27FC236}">
                <a16:creationId xmlns:a16="http://schemas.microsoft.com/office/drawing/2014/main" id="{81867BFA-1453-40BE-A29B-836824A9B5EE}"/>
              </a:ext>
            </a:extLst>
          </p:cNvPr>
          <p:cNvSpPr/>
          <p:nvPr/>
        </p:nvSpPr>
        <p:spPr>
          <a:xfrm>
            <a:off x="609693" y="647811"/>
            <a:ext cx="10971018" cy="400110"/>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nových COVID-19 pozitivních (incidence),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stav k 18. 1. 2022</a:t>
            </a:r>
            <a:endPar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1" name="Straight Connector 4">
            <a:extLst>
              <a:ext uri="{FF2B5EF4-FFF2-40B4-BE49-F238E27FC236}">
                <a16:creationId xmlns:a16="http://schemas.microsoft.com/office/drawing/2014/main" id="{FC15B3FD-8931-45F3-B9FA-489831BF4CD0}"/>
              </a:ext>
            </a:extLst>
          </p:cNvPr>
          <p:cNvCxnSpPr/>
          <p:nvPr/>
        </p:nvCxnSpPr>
        <p:spPr>
          <a:xfrm>
            <a:off x="1075769" y="1393737"/>
            <a:ext cx="360000" cy="0"/>
          </a:xfrm>
          <a:prstGeom prst="line">
            <a:avLst/>
          </a:prstGeom>
          <a:ln w="19050">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14" name="TextBox 5">
            <a:extLst>
              <a:ext uri="{FF2B5EF4-FFF2-40B4-BE49-F238E27FC236}">
                <a16:creationId xmlns:a16="http://schemas.microsoft.com/office/drawing/2014/main" id="{98F82CC0-F179-44D1-AED9-4C8CAA8FCD8F}"/>
              </a:ext>
            </a:extLst>
          </p:cNvPr>
          <p:cNvSpPr txBox="1"/>
          <p:nvPr/>
        </p:nvSpPr>
        <p:spPr>
          <a:xfrm>
            <a:off x="1438027" y="1224463"/>
            <a:ext cx="228299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7 denní klouzavý průměr</a:t>
            </a:r>
          </a:p>
        </p:txBody>
      </p:sp>
    </p:spTree>
    <p:extLst>
      <p:ext uri="{BB962C8B-B14F-4D97-AF65-F5344CB8AC3E}">
        <p14:creationId xmlns:p14="http://schemas.microsoft.com/office/powerpoint/2010/main" val="3646868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custDataLst>
              <p:tags r:id="rId1"/>
            </p:custDataLst>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custDataLst>
              <p:tags r:id="rId2"/>
            </p:custDataLst>
          </p:nvPr>
        </p:nvSpPr>
        <p:spPr>
          <a:xfrm>
            <a:off x="143346" y="3693109"/>
            <a:ext cx="11905307" cy="2317166"/>
          </a:xfrm>
        </p:spPr>
        <p:txBody>
          <a:bodyPr>
            <a:normAutofit/>
          </a:bodyPr>
          <a:lstStyle/>
          <a:p>
            <a:r>
              <a:rPr lang="cs-CZ" sz="4800" b="1" dirty="0"/>
              <a:t>Stručný souhrn a popis situace </a:t>
            </a:r>
          </a:p>
          <a:p>
            <a:r>
              <a:rPr lang="cs-CZ" sz="4800" b="1" dirty="0"/>
              <a:t>s ohledem na šíření varianty Omikron </a:t>
            </a:r>
            <a:endParaRPr lang="cs-CZ" sz="4600" i="1" dirty="0"/>
          </a:p>
        </p:txBody>
      </p:sp>
    </p:spTree>
    <p:extLst>
      <p:ext uri="{BB962C8B-B14F-4D97-AF65-F5344CB8AC3E}">
        <p14:creationId xmlns:p14="http://schemas.microsoft.com/office/powerpoint/2010/main" val="125427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odnadpis 2">
            <a:extLst>
              <a:ext uri="{FF2B5EF4-FFF2-40B4-BE49-F238E27FC236}">
                <a16:creationId xmlns:a16="http://schemas.microsoft.com/office/drawing/2014/main" id="{3DC956FD-6669-4C82-B852-E3CE5A476C50}"/>
              </a:ext>
            </a:extLst>
          </p:cNvPr>
          <p:cNvSpPr txBox="1">
            <a:spLocks/>
          </p:cNvSpPr>
          <p:nvPr>
            <p:custDataLst>
              <p:tags r:id="rId1"/>
            </p:custDataLst>
          </p:nvPr>
        </p:nvSpPr>
        <p:spPr>
          <a:xfrm>
            <a:off x="-10444" y="62117"/>
            <a:ext cx="12075736" cy="15587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Ve většině regionů registrujeme významný obrat k růstu epidemie,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který souvisí s nastupující dominancí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nové varianty viru Omikron </a:t>
            </a:r>
          </a:p>
        </p:txBody>
      </p:sp>
      <p:sp>
        <p:nvSpPr>
          <p:cNvPr id="9" name="TextovéPole 8">
            <a:extLst>
              <a:ext uri="{FF2B5EF4-FFF2-40B4-BE49-F238E27FC236}">
                <a16:creationId xmlns:a16="http://schemas.microsoft.com/office/drawing/2014/main" id="{0F843C93-258B-4C61-A3D3-F094FF94BBBB}"/>
              </a:ext>
            </a:extLst>
          </p:cNvPr>
          <p:cNvSpPr txBox="1"/>
          <p:nvPr>
            <p:custDataLst>
              <p:tags r:id="rId2"/>
            </p:custDataLst>
          </p:nvPr>
        </p:nvSpPr>
        <p:spPr>
          <a:xfrm>
            <a:off x="94980" y="3376474"/>
            <a:ext cx="3109095"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Calibri" panose="020F0502020204030204"/>
                <a:ea typeface="+mn-ea"/>
                <a:cs typeface="+mn-cs"/>
              </a:rPr>
              <a:t>Prevalence aktivních nákaz narůstá, 7 denní počet nových případů překročil 750/100tis. obyvatel</a:t>
            </a:r>
          </a:p>
        </p:txBody>
      </p:sp>
      <p:cxnSp>
        <p:nvCxnSpPr>
          <p:cNvPr id="10" name="Přímá spojnice se šipkou 9">
            <a:extLst>
              <a:ext uri="{FF2B5EF4-FFF2-40B4-BE49-F238E27FC236}">
                <a16:creationId xmlns:a16="http://schemas.microsoft.com/office/drawing/2014/main" id="{73E97BDE-C411-45A9-97BE-3AFE3B01E91C}"/>
              </a:ext>
            </a:extLst>
          </p:cNvPr>
          <p:cNvCxnSpPr>
            <a:cxnSpLocks/>
          </p:cNvCxnSpPr>
          <p:nvPr/>
        </p:nvCxnSpPr>
        <p:spPr>
          <a:xfrm flipH="1">
            <a:off x="1925977" y="1536680"/>
            <a:ext cx="3220268" cy="18397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Přímá spojnice se šipkou 10">
            <a:extLst>
              <a:ext uri="{FF2B5EF4-FFF2-40B4-BE49-F238E27FC236}">
                <a16:creationId xmlns:a16="http://schemas.microsoft.com/office/drawing/2014/main" id="{B2CE02EE-D32D-465A-8013-B16A4AAB91FA}"/>
              </a:ext>
            </a:extLst>
          </p:cNvPr>
          <p:cNvCxnSpPr>
            <a:cxnSpLocks/>
            <a:stCxn id="7" idx="2"/>
          </p:cNvCxnSpPr>
          <p:nvPr/>
        </p:nvCxnSpPr>
        <p:spPr>
          <a:xfrm>
            <a:off x="6027424" y="1620878"/>
            <a:ext cx="4438" cy="27632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ovéPole 11">
            <a:extLst>
              <a:ext uri="{FF2B5EF4-FFF2-40B4-BE49-F238E27FC236}">
                <a16:creationId xmlns:a16="http://schemas.microsoft.com/office/drawing/2014/main" id="{4036F6CE-6011-4C5B-AE6A-965C15FD1477}"/>
              </a:ext>
            </a:extLst>
          </p:cNvPr>
          <p:cNvSpPr txBox="1"/>
          <p:nvPr>
            <p:custDataLst>
              <p:tags r:id="rId3"/>
            </p:custDataLst>
          </p:nvPr>
        </p:nvSpPr>
        <p:spPr>
          <a:xfrm>
            <a:off x="4031471" y="4430634"/>
            <a:ext cx="4031647"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Calibri" panose="020F0502020204030204"/>
                <a:ea typeface="+mn-ea"/>
                <a:cs typeface="+mn-cs"/>
              </a:rPr>
              <a:t>Relativní pozitivita indikovaných testů ros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Calibri" panose="020F0502020204030204"/>
                <a:ea typeface="+mn-ea"/>
                <a:cs typeface="+mn-cs"/>
              </a:rPr>
              <a:t>až nad hranici 30%</a:t>
            </a:r>
          </a:p>
        </p:txBody>
      </p:sp>
      <p:cxnSp>
        <p:nvCxnSpPr>
          <p:cNvPr id="13" name="Přímá spojnice se šipkou 12">
            <a:extLst>
              <a:ext uri="{FF2B5EF4-FFF2-40B4-BE49-F238E27FC236}">
                <a16:creationId xmlns:a16="http://schemas.microsoft.com/office/drawing/2014/main" id="{3A729921-2EF4-4D88-9FED-CCD623787E67}"/>
              </a:ext>
            </a:extLst>
          </p:cNvPr>
          <p:cNvCxnSpPr>
            <a:cxnSpLocks/>
          </p:cNvCxnSpPr>
          <p:nvPr/>
        </p:nvCxnSpPr>
        <p:spPr>
          <a:xfrm>
            <a:off x="7004106" y="1536680"/>
            <a:ext cx="2930469" cy="18397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ovéPole 13">
            <a:extLst>
              <a:ext uri="{FF2B5EF4-FFF2-40B4-BE49-F238E27FC236}">
                <a16:creationId xmlns:a16="http://schemas.microsoft.com/office/drawing/2014/main" id="{D2C619EE-78FE-4EB7-AAD7-A9F58B494B9F}"/>
              </a:ext>
            </a:extLst>
          </p:cNvPr>
          <p:cNvSpPr txBox="1"/>
          <p:nvPr>
            <p:custDataLst>
              <p:tags r:id="rId4"/>
            </p:custDataLst>
          </p:nvPr>
        </p:nvSpPr>
        <p:spPr>
          <a:xfrm>
            <a:off x="8309722" y="3446477"/>
            <a:ext cx="3695297" cy="156966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Calibri" panose="020F0502020204030204"/>
                <a:ea typeface="+mn-ea"/>
                <a:cs typeface="+mn-cs"/>
              </a:rPr>
              <a:t>Narůstá počet nakažených po dokončeném očkování a významně roste počet a podíl reinfekcí</a:t>
            </a:r>
          </a:p>
        </p:txBody>
      </p:sp>
      <p:sp>
        <p:nvSpPr>
          <p:cNvPr id="15" name="Pravá složená závorka 14">
            <a:extLst>
              <a:ext uri="{FF2B5EF4-FFF2-40B4-BE49-F238E27FC236}">
                <a16:creationId xmlns:a16="http://schemas.microsoft.com/office/drawing/2014/main" id="{59636691-D99E-4523-BBC5-CF5F7CCF0F1F}"/>
              </a:ext>
            </a:extLst>
          </p:cNvPr>
          <p:cNvSpPr/>
          <p:nvPr/>
        </p:nvSpPr>
        <p:spPr>
          <a:xfrm rot="5400000">
            <a:off x="5849775" y="893040"/>
            <a:ext cx="492444" cy="10118361"/>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340621B9-8661-456E-84D3-2F8675F71B12}"/>
              </a:ext>
            </a:extLst>
          </p:cNvPr>
          <p:cNvSpPr txBox="1"/>
          <p:nvPr>
            <p:custDataLst>
              <p:tags r:id="rId5"/>
            </p:custDataLst>
          </p:nvPr>
        </p:nvSpPr>
        <p:spPr>
          <a:xfrm>
            <a:off x="847024" y="6280235"/>
            <a:ext cx="10549289" cy="492443"/>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prstClr val="white"/>
                </a:solidFill>
                <a:effectLst/>
                <a:uLnTx/>
                <a:uFillTx/>
                <a:latin typeface="Calibri" panose="020F0502020204030204"/>
                <a:ea typeface="+mn-ea"/>
                <a:cs typeface="+mn-cs"/>
              </a:rPr>
              <a:t>Riziko šíření umocněné prolomením </a:t>
            </a:r>
            <a:r>
              <a:rPr kumimoji="0" lang="cs-CZ" sz="2600" b="1" i="0" u="none" strike="noStrike" kern="1200" cap="none" spc="0" normalizeH="0" baseline="0" noProof="0" dirty="0" err="1">
                <a:ln>
                  <a:noFill/>
                </a:ln>
                <a:solidFill>
                  <a:prstClr val="white"/>
                </a:solidFill>
                <a:effectLst/>
                <a:uLnTx/>
                <a:uFillTx/>
                <a:latin typeface="Calibri" panose="020F0502020204030204"/>
                <a:ea typeface="+mn-ea"/>
                <a:cs typeface="+mn-cs"/>
              </a:rPr>
              <a:t>postinfekční</a:t>
            </a:r>
            <a:r>
              <a:rPr kumimoji="0" lang="cs-CZ" sz="2600" b="1" i="0" u="none" strike="noStrike" kern="1200" cap="none" spc="0" normalizeH="0" baseline="0" noProof="0" dirty="0">
                <a:ln>
                  <a:noFill/>
                </a:ln>
                <a:solidFill>
                  <a:prstClr val="white"/>
                </a:solidFill>
                <a:effectLst/>
                <a:uLnTx/>
                <a:uFillTx/>
                <a:latin typeface="Calibri" panose="020F0502020204030204"/>
                <a:ea typeface="+mn-ea"/>
                <a:cs typeface="+mn-cs"/>
              </a:rPr>
              <a:t> a postvakcinační imunity</a:t>
            </a:r>
          </a:p>
        </p:txBody>
      </p:sp>
      <p:sp>
        <p:nvSpPr>
          <p:cNvPr id="17" name="TextovéPole 16">
            <a:extLst>
              <a:ext uri="{FF2B5EF4-FFF2-40B4-BE49-F238E27FC236}">
                <a16:creationId xmlns:a16="http://schemas.microsoft.com/office/drawing/2014/main" id="{42495CFC-E333-4421-8637-056057175897}"/>
              </a:ext>
            </a:extLst>
          </p:cNvPr>
          <p:cNvSpPr txBox="1"/>
          <p:nvPr/>
        </p:nvSpPr>
        <p:spPr>
          <a:xfrm>
            <a:off x="988504" y="1620878"/>
            <a:ext cx="3220268" cy="954107"/>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Rostou počty nově nakažených</a:t>
            </a:r>
            <a:endPar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ovéPole 17">
            <a:extLst>
              <a:ext uri="{FF2B5EF4-FFF2-40B4-BE49-F238E27FC236}">
                <a16:creationId xmlns:a16="http://schemas.microsoft.com/office/drawing/2014/main" id="{FF0F4A57-75D1-46D8-8489-D5B9D32BD44F}"/>
              </a:ext>
            </a:extLst>
          </p:cNvPr>
          <p:cNvSpPr txBox="1"/>
          <p:nvPr/>
        </p:nvSpPr>
        <p:spPr>
          <a:xfrm>
            <a:off x="4466097" y="2679088"/>
            <a:ext cx="3140050" cy="954107"/>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Roste prevalence aktivních nákaz</a:t>
            </a:r>
            <a:endPar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ovéPole 18">
            <a:extLst>
              <a:ext uri="{FF2B5EF4-FFF2-40B4-BE49-F238E27FC236}">
                <a16:creationId xmlns:a16="http://schemas.microsoft.com/office/drawing/2014/main" id="{0B7535CD-64BC-4908-B963-781E47EAD561}"/>
              </a:ext>
            </a:extLst>
          </p:cNvPr>
          <p:cNvSpPr txBox="1"/>
          <p:nvPr/>
        </p:nvSpPr>
        <p:spPr>
          <a:xfrm>
            <a:off x="8487326" y="2011410"/>
            <a:ext cx="3340090" cy="954107"/>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Vyčerpání imun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a průlomové infekce</a:t>
            </a:r>
            <a:endPar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66225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ovéPole 21">
            <a:extLst>
              <a:ext uri="{FF2B5EF4-FFF2-40B4-BE49-F238E27FC236}">
                <a16:creationId xmlns:a16="http://schemas.microsoft.com/office/drawing/2014/main" id="{95095AE4-15AA-4DA7-96E9-0973C161E52C}"/>
              </a:ext>
            </a:extLst>
          </p:cNvPr>
          <p:cNvSpPr txBox="1"/>
          <p:nvPr>
            <p:custDataLst>
              <p:tags r:id="rId1"/>
            </p:custDataLst>
          </p:nvPr>
        </p:nvSpPr>
        <p:spPr>
          <a:xfrm>
            <a:off x="540933" y="106886"/>
            <a:ext cx="1134427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ývoj počtu pozitivních případů ukazuje na zrychlení šíření epidemie</a:t>
            </a:r>
          </a:p>
        </p:txBody>
      </p:sp>
      <p:graphicFrame>
        <p:nvGraphicFramePr>
          <p:cNvPr id="10" name="Chart 4">
            <a:extLst>
              <a:ext uri="{FF2B5EF4-FFF2-40B4-BE49-F238E27FC236}">
                <a16:creationId xmlns:a16="http://schemas.microsoft.com/office/drawing/2014/main" id="{46EFD5D5-E2B4-4082-B862-E88569B63F81}"/>
              </a:ext>
            </a:extLst>
          </p:cNvPr>
          <p:cNvGraphicFramePr/>
          <p:nvPr>
            <p:custDataLst>
              <p:tags r:id="rId2"/>
            </p:custDataLst>
          </p:nvPr>
        </p:nvGraphicFramePr>
        <p:xfrm>
          <a:off x="57147" y="2876910"/>
          <a:ext cx="12030075" cy="4033795"/>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1" name="Table 11">
            <a:extLst>
              <a:ext uri="{FF2B5EF4-FFF2-40B4-BE49-F238E27FC236}">
                <a16:creationId xmlns:a16="http://schemas.microsoft.com/office/drawing/2014/main" id="{CC0ACDB7-E02C-4ADC-B3C0-B39FD631BBFB}"/>
              </a:ext>
            </a:extLst>
          </p:cNvPr>
          <p:cNvGraphicFramePr>
            <a:graphicFrameLocks noGrp="1"/>
          </p:cNvGraphicFramePr>
          <p:nvPr>
            <p:custDataLst>
              <p:tags r:id="rId3"/>
            </p:custDataLst>
          </p:nvPr>
        </p:nvGraphicFramePr>
        <p:xfrm>
          <a:off x="931755" y="631456"/>
          <a:ext cx="10328489" cy="2854187"/>
        </p:xfrm>
        <a:graphic>
          <a:graphicData uri="http://schemas.openxmlformats.org/drawingml/2006/table">
            <a:tbl>
              <a:tblPr/>
              <a:tblGrid>
                <a:gridCol w="781385">
                  <a:extLst>
                    <a:ext uri="{9D8B030D-6E8A-4147-A177-3AD203B41FA5}">
                      <a16:colId xmlns:a16="http://schemas.microsoft.com/office/drawing/2014/main" val="3969963914"/>
                    </a:ext>
                  </a:extLst>
                </a:gridCol>
                <a:gridCol w="681936">
                  <a:extLst>
                    <a:ext uri="{9D8B030D-6E8A-4147-A177-3AD203B41FA5}">
                      <a16:colId xmlns:a16="http://schemas.microsoft.com/office/drawing/2014/main" val="4129480943"/>
                    </a:ext>
                  </a:extLst>
                </a:gridCol>
                <a:gridCol w="681936">
                  <a:extLst>
                    <a:ext uri="{9D8B030D-6E8A-4147-A177-3AD203B41FA5}">
                      <a16:colId xmlns:a16="http://schemas.microsoft.com/office/drawing/2014/main" val="612071546"/>
                    </a:ext>
                  </a:extLst>
                </a:gridCol>
                <a:gridCol w="681936">
                  <a:extLst>
                    <a:ext uri="{9D8B030D-6E8A-4147-A177-3AD203B41FA5}">
                      <a16:colId xmlns:a16="http://schemas.microsoft.com/office/drawing/2014/main" val="3307235488"/>
                    </a:ext>
                  </a:extLst>
                </a:gridCol>
                <a:gridCol w="681936">
                  <a:extLst>
                    <a:ext uri="{9D8B030D-6E8A-4147-A177-3AD203B41FA5}">
                      <a16:colId xmlns:a16="http://schemas.microsoft.com/office/drawing/2014/main" val="1483817727"/>
                    </a:ext>
                  </a:extLst>
                </a:gridCol>
                <a:gridCol w="681936">
                  <a:extLst>
                    <a:ext uri="{9D8B030D-6E8A-4147-A177-3AD203B41FA5}">
                      <a16:colId xmlns:a16="http://schemas.microsoft.com/office/drawing/2014/main" val="3545613051"/>
                    </a:ext>
                  </a:extLst>
                </a:gridCol>
                <a:gridCol w="681936">
                  <a:extLst>
                    <a:ext uri="{9D8B030D-6E8A-4147-A177-3AD203B41FA5}">
                      <a16:colId xmlns:a16="http://schemas.microsoft.com/office/drawing/2014/main" val="1063795572"/>
                    </a:ext>
                  </a:extLst>
                </a:gridCol>
                <a:gridCol w="681936">
                  <a:extLst>
                    <a:ext uri="{9D8B030D-6E8A-4147-A177-3AD203B41FA5}">
                      <a16:colId xmlns:a16="http://schemas.microsoft.com/office/drawing/2014/main" val="2069904241"/>
                    </a:ext>
                  </a:extLst>
                </a:gridCol>
                <a:gridCol w="681936">
                  <a:extLst>
                    <a:ext uri="{9D8B030D-6E8A-4147-A177-3AD203B41FA5}">
                      <a16:colId xmlns:a16="http://schemas.microsoft.com/office/drawing/2014/main" val="2529447542"/>
                    </a:ext>
                  </a:extLst>
                </a:gridCol>
                <a:gridCol w="681936">
                  <a:extLst>
                    <a:ext uri="{9D8B030D-6E8A-4147-A177-3AD203B41FA5}">
                      <a16:colId xmlns:a16="http://schemas.microsoft.com/office/drawing/2014/main" val="3855104309"/>
                    </a:ext>
                  </a:extLst>
                </a:gridCol>
                <a:gridCol w="681936">
                  <a:extLst>
                    <a:ext uri="{9D8B030D-6E8A-4147-A177-3AD203B41FA5}">
                      <a16:colId xmlns:a16="http://schemas.microsoft.com/office/drawing/2014/main" val="3711905403"/>
                    </a:ext>
                  </a:extLst>
                </a:gridCol>
                <a:gridCol w="681936">
                  <a:extLst>
                    <a:ext uri="{9D8B030D-6E8A-4147-A177-3AD203B41FA5}">
                      <a16:colId xmlns:a16="http://schemas.microsoft.com/office/drawing/2014/main" val="2188154587"/>
                    </a:ext>
                  </a:extLst>
                </a:gridCol>
                <a:gridCol w="681936">
                  <a:extLst>
                    <a:ext uri="{9D8B030D-6E8A-4147-A177-3AD203B41FA5}">
                      <a16:colId xmlns:a16="http://schemas.microsoft.com/office/drawing/2014/main" val="1620801354"/>
                    </a:ext>
                  </a:extLst>
                </a:gridCol>
                <a:gridCol w="681936">
                  <a:extLst>
                    <a:ext uri="{9D8B030D-6E8A-4147-A177-3AD203B41FA5}">
                      <a16:colId xmlns:a16="http://schemas.microsoft.com/office/drawing/2014/main" val="4095500680"/>
                    </a:ext>
                  </a:extLst>
                </a:gridCol>
                <a:gridCol w="681936">
                  <a:extLst>
                    <a:ext uri="{9D8B030D-6E8A-4147-A177-3AD203B41FA5}">
                      <a16:colId xmlns:a16="http://schemas.microsoft.com/office/drawing/2014/main" val="2489013364"/>
                    </a:ext>
                  </a:extLst>
                </a:gridCol>
              </a:tblGrid>
              <a:tr h="359513">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6350" marR="6350" marT="635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6350" marR="6350" marT="635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6350" marR="6350" marT="635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6350" marR="6350" marT="635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6350" marR="6350" marT="635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41576240"/>
                  </a:ext>
                </a:extLst>
              </a:tr>
              <a:tr h="359513">
                <a:tc gridSpan="3">
                  <a:txBody>
                    <a:bodyPr/>
                    <a:lstStyle/>
                    <a:p>
                      <a:pPr algn="ctr" rtl="0" fontAlgn="t"/>
                      <a:r>
                        <a:rPr lang="cs-CZ" sz="1600" b="1" i="0" u="sng" strike="noStrike">
                          <a:solidFill>
                            <a:srgbClr val="FFFFFF"/>
                          </a:solidFill>
                          <a:effectLst/>
                          <a:latin typeface="Arial" panose="020B0604020202020204" pitchFamily="34" charset="0"/>
                        </a:rPr>
                        <a:t>15. 12.–21. 12. </a:t>
                      </a:r>
                    </a:p>
                  </a:txBody>
                  <a:tcPr marL="6350" marR="6350" marT="635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2. 12.–28. 12. </a:t>
                      </a:r>
                    </a:p>
                  </a:txBody>
                  <a:tcPr marL="6350" marR="6350" marT="635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9. 12.–4. 1. </a:t>
                      </a:r>
                    </a:p>
                  </a:txBody>
                  <a:tcPr marL="6350" marR="6350" marT="635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5. 1.–11. 1. </a:t>
                      </a:r>
                    </a:p>
                  </a:txBody>
                  <a:tcPr marL="6350" marR="6350" marT="635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12. 1.–18. 1. </a:t>
                      </a:r>
                    </a:p>
                  </a:txBody>
                  <a:tcPr marL="6350" marR="6350" marT="635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594805125"/>
                  </a:ext>
                </a:extLst>
              </a:tr>
              <a:tr h="369499">
                <a:tc gridSpan="3">
                  <a:txBody>
                    <a:bodyPr/>
                    <a:lstStyle/>
                    <a:p>
                      <a:pPr algn="ctr" rtl="0" fontAlgn="ctr"/>
                      <a:r>
                        <a:rPr lang="cs-CZ" sz="1800" b="1" i="0" u="none" strike="noStrike">
                          <a:solidFill>
                            <a:srgbClr val="000000"/>
                          </a:solidFill>
                          <a:effectLst/>
                          <a:latin typeface="Arial" panose="020B0604020202020204" pitchFamily="34" charset="0"/>
                        </a:rPr>
                        <a:t>8 606 případů</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 163 případů</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 634 případů</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6 731 případů</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4 521 případů</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865827543"/>
                  </a:ext>
                </a:extLst>
              </a:tr>
              <a:tr h="389472">
                <a:tc>
                  <a:txBody>
                    <a:bodyPr/>
                    <a:lstStyle/>
                    <a:p>
                      <a:pPr algn="l" rtl="0" fontAlgn="ctr"/>
                      <a:r>
                        <a:rPr lang="cs-CZ" sz="1800" b="1" i="0" u="none" strike="noStrike">
                          <a:solidFill>
                            <a:srgbClr val="FFFFFF"/>
                          </a:solidFill>
                          <a:effectLst/>
                          <a:latin typeface="Arial" panose="020B0604020202020204" pitchFamily="34" charset="0"/>
                        </a:rPr>
                        <a:t> </a:t>
                      </a:r>
                    </a:p>
                  </a:txBody>
                  <a:tcPr marL="6350" marR="6350" marT="6350"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tcPr>
                </a:tc>
                <a:tc>
                  <a:txBody>
                    <a:bodyPr/>
                    <a:lstStyle/>
                    <a:p>
                      <a:pPr algn="ctr" fontAlgn="ctr"/>
                      <a:r>
                        <a:rPr lang="cs-CZ" sz="1800" b="0" i="0" u="none" strike="noStrike">
                          <a:solidFill>
                            <a:srgbClr val="000000"/>
                          </a:solidFill>
                          <a:effectLst/>
                          <a:latin typeface="Arial" panose="020B0604020202020204" pitchFamily="34" charset="0"/>
                        </a:rPr>
                        <a:t> </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tcPr>
                </a:tc>
                <a:tc gridSpan="2">
                  <a:txBody>
                    <a:bodyPr/>
                    <a:lstStyle/>
                    <a:p>
                      <a:pPr algn="ctr" rtl="0" fontAlgn="ctr"/>
                      <a:r>
                        <a:rPr lang="cs-CZ" sz="1800" b="1" i="0" u="none" strike="noStrike">
                          <a:solidFill>
                            <a:srgbClr val="FFFFFF"/>
                          </a:solidFill>
                          <a:effectLst/>
                          <a:latin typeface="Arial" panose="020B0604020202020204" pitchFamily="34" charset="0"/>
                        </a:rPr>
                        <a:t>-40.0 %</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9A000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tcPr>
                </a:tc>
                <a:tc gridSpan="2">
                  <a:txBody>
                    <a:bodyPr/>
                    <a:lstStyle/>
                    <a:p>
                      <a:pPr algn="ctr" rtl="0" fontAlgn="ctr"/>
                      <a:r>
                        <a:rPr lang="cs-CZ" sz="1800" b="1" i="0" u="none" strike="noStrike">
                          <a:solidFill>
                            <a:srgbClr val="FFFFFF"/>
                          </a:solidFill>
                          <a:effectLst/>
                          <a:latin typeface="Arial" panose="020B0604020202020204" pitchFamily="34" charset="0"/>
                        </a:rPr>
                        <a:t>+9.1 %</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9A000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tcPr>
                </a:tc>
                <a:tc gridSpan="2">
                  <a:txBody>
                    <a:bodyPr/>
                    <a:lstStyle/>
                    <a:p>
                      <a:pPr algn="ctr" rtl="0" fontAlgn="ctr"/>
                      <a:r>
                        <a:rPr lang="cs-CZ" sz="1800" b="1" i="0" u="none" strike="noStrike">
                          <a:solidFill>
                            <a:srgbClr val="FFFFFF"/>
                          </a:solidFill>
                          <a:effectLst/>
                          <a:latin typeface="Arial" panose="020B0604020202020204" pitchFamily="34" charset="0"/>
                        </a:rPr>
                        <a:t>+19.5 %</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9A000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tcPr>
                </a:tc>
                <a:tc gridSpan="2">
                  <a:txBody>
                    <a:bodyPr/>
                    <a:lstStyle/>
                    <a:p>
                      <a:pPr algn="ctr" rtl="0" fontAlgn="ctr"/>
                      <a:r>
                        <a:rPr lang="cs-CZ" sz="1800" b="1" i="0" u="none" strike="noStrike">
                          <a:solidFill>
                            <a:srgbClr val="FFFFFF"/>
                          </a:solidFill>
                          <a:effectLst/>
                          <a:latin typeface="Arial" panose="020B0604020202020204" pitchFamily="34" charset="0"/>
                        </a:rPr>
                        <a:t>+115.7 %</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9A000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tcPr>
                </a:tc>
                <a:tc>
                  <a:txBody>
                    <a:bodyPr/>
                    <a:lstStyle/>
                    <a:p>
                      <a:pPr algn="ctr" fontAlgn="ctr"/>
                      <a:r>
                        <a:rPr lang="cs-CZ" sz="1800" b="0" i="0" u="none" strike="noStrike" dirty="0">
                          <a:solidFill>
                            <a:srgbClr val="000000"/>
                          </a:solidFill>
                          <a:effectLst/>
                          <a:latin typeface="Arial" panose="020B0604020202020204" pitchFamily="34" charset="0"/>
                        </a:rPr>
                        <a:t> </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3943060953"/>
                  </a:ext>
                </a:extLst>
              </a:tr>
              <a:tr h="379485">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extLst>
                  <a:ext uri="{0D108BD9-81ED-4DB2-BD59-A6C34878D82A}">
                    <a16:rowId xmlns:a16="http://schemas.microsoft.com/office/drawing/2014/main" val="172090131"/>
                  </a:ext>
                </a:extLst>
              </a:tr>
              <a:tr h="379485">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tc>
                  <a:txBody>
                    <a:bodyPr/>
                    <a:lstStyle/>
                    <a:p>
                      <a:pPr algn="l" rtl="0" fontAlgn="ctr"/>
                      <a:endParaRPr lang="cs-CZ" sz="1800" b="1" i="0" u="none" strike="noStrike" dirty="0">
                        <a:solidFill>
                          <a:srgbClr val="FFFFFF"/>
                        </a:solidFill>
                        <a:effectLst/>
                        <a:latin typeface="Arial" panose="020B0604020202020204" pitchFamily="34" charset="0"/>
                      </a:endParaRPr>
                    </a:p>
                  </a:txBody>
                  <a:tcPr marL="7620" marR="7620" marT="7620" marB="0" anchor="ctr">
                    <a:lnL>
                      <a:noFill/>
                    </a:lnL>
                    <a:lnR>
                      <a:noFill/>
                    </a:lnR>
                    <a:lnT>
                      <a:noFill/>
                    </a:lnT>
                    <a:lnB>
                      <a:noFill/>
                    </a:lnB>
                  </a:tcPr>
                </a:tc>
                <a:extLst>
                  <a:ext uri="{0D108BD9-81ED-4DB2-BD59-A6C34878D82A}">
                    <a16:rowId xmlns:a16="http://schemas.microsoft.com/office/drawing/2014/main" val="44024574"/>
                  </a:ext>
                </a:extLst>
              </a:tr>
              <a:tr h="409445">
                <a:tc gridSpan="6">
                  <a:txBody>
                    <a:bodyPr/>
                    <a:lstStyle/>
                    <a:p>
                      <a:pPr algn="l" rtl="0" fontAlgn="ctr"/>
                      <a:r>
                        <a:rPr lang="cs-CZ" sz="2000" b="1" i="0" u="sng" strike="noStrike" dirty="0">
                          <a:solidFill>
                            <a:schemeClr val="tx1"/>
                          </a:solidFill>
                          <a:effectLst/>
                          <a:latin typeface="Arial" panose="020B0604020202020204" pitchFamily="34" charset="0"/>
                        </a:rPr>
                        <a:t>Aktuální odhad R pro ČR:</a:t>
                      </a:r>
                    </a:p>
                    <a:p>
                      <a:pPr algn="l" rtl="0" fontAlgn="ctr"/>
                      <a:r>
                        <a:rPr lang="cs-CZ" sz="2000" b="1" i="0" u="sng" strike="noStrike" dirty="0">
                          <a:solidFill>
                            <a:schemeClr val="tx1"/>
                          </a:solidFill>
                          <a:effectLst/>
                          <a:latin typeface="Arial" panose="020B0604020202020204" pitchFamily="34" charset="0"/>
                        </a:rPr>
                        <a:t>&gt; 1,</a:t>
                      </a:r>
                      <a:r>
                        <a:rPr lang="en-US" sz="2000" b="1" i="0" u="sng" strike="noStrike" dirty="0">
                          <a:solidFill>
                            <a:schemeClr val="tx1"/>
                          </a:solidFill>
                          <a:effectLst/>
                          <a:latin typeface="Arial" panose="020B0604020202020204" pitchFamily="34" charset="0"/>
                        </a:rPr>
                        <a:t>8</a:t>
                      </a:r>
                      <a:endParaRPr lang="cs-CZ" sz="2000" b="1" i="0" u="sng" strike="noStrike" dirty="0">
                        <a:solidFill>
                          <a:schemeClr val="tx1"/>
                        </a:solidFill>
                        <a:effectLst/>
                        <a:latin typeface="Arial" panose="020B0604020202020204" pitchFamily="34" charset="0"/>
                      </a:endParaRPr>
                    </a:p>
                  </a:txBody>
                  <a:tcPr marL="7620" marR="7620" marT="7620" marB="0" anchor="ctr">
                    <a:lnL>
                      <a:noFill/>
                    </a:lnL>
                    <a:lnR>
                      <a:noFill/>
                    </a:lnR>
                    <a:lnT>
                      <a:noFill/>
                    </a:lnT>
                    <a:lnB>
                      <a:noFill/>
                    </a:lnB>
                    <a:no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dirty="0"/>
                    </a:p>
                  </a:txBody>
                  <a:tcPr/>
                </a:tc>
                <a:tc>
                  <a:txBody>
                    <a:bodyPr/>
                    <a:lstStyle/>
                    <a:p>
                      <a:pPr algn="l" rtl="0" fontAlgn="ctr"/>
                      <a:endParaRPr lang="cs-CZ" sz="2000" b="1" i="0" u="sng" strike="noStrike" dirty="0">
                        <a:solidFill>
                          <a:schemeClr val="tx1"/>
                        </a:solidFill>
                        <a:effectLst/>
                        <a:latin typeface="Arial" panose="020B0604020202020204" pitchFamily="34" charset="0"/>
                      </a:endParaRPr>
                    </a:p>
                  </a:txBody>
                  <a:tcPr marL="7620" marR="7620" marT="7620" marB="0" anchor="ctr">
                    <a:lnL>
                      <a:noFill/>
                    </a:lnL>
                    <a:lnR>
                      <a:noFill/>
                    </a:lnR>
                    <a:lnT>
                      <a:noFill/>
                    </a:lnT>
                    <a:lnB>
                      <a:noFill/>
                    </a:lnB>
                    <a:noFill/>
                  </a:tcPr>
                </a:tc>
                <a:tc>
                  <a:txBody>
                    <a:bodyPr/>
                    <a:lstStyle/>
                    <a:p>
                      <a:pPr algn="l" rtl="0" fontAlgn="ctr"/>
                      <a:endParaRPr lang="cs-CZ" sz="1800" b="1" i="0" u="none" strike="noStrike" dirty="0">
                        <a:solidFill>
                          <a:schemeClr val="tx1"/>
                        </a:solidFill>
                        <a:effectLst/>
                        <a:latin typeface="Arial" panose="020B0604020202020204" pitchFamily="34" charset="0"/>
                      </a:endParaRPr>
                    </a:p>
                  </a:txBody>
                  <a:tcPr marL="7620" marR="7620" marT="7620" marB="0" anchor="ctr">
                    <a:lnL>
                      <a:noFill/>
                    </a:lnL>
                    <a:lnR>
                      <a:noFill/>
                    </a:lnR>
                    <a:lnT>
                      <a:noFill/>
                    </a:lnT>
                    <a:lnB>
                      <a:noFill/>
                    </a:lnB>
                    <a:noFill/>
                  </a:tcPr>
                </a:tc>
                <a:tc>
                  <a:txBody>
                    <a:bodyPr/>
                    <a:lstStyle/>
                    <a:p>
                      <a:pPr algn="l" rtl="0" fontAlgn="ctr"/>
                      <a:endParaRPr lang="cs-CZ" sz="1800" b="1" i="0" u="none" strike="noStrike" dirty="0">
                        <a:solidFill>
                          <a:schemeClr val="tx1"/>
                        </a:solidFill>
                        <a:effectLst/>
                        <a:latin typeface="Arial" panose="020B0604020202020204" pitchFamily="34" charset="0"/>
                      </a:endParaRPr>
                    </a:p>
                  </a:txBody>
                  <a:tcPr marL="7620" marR="7620" marT="7620" marB="0" anchor="ctr">
                    <a:lnL>
                      <a:noFill/>
                    </a:lnL>
                    <a:lnR>
                      <a:noFill/>
                    </a:lnR>
                    <a:lnT>
                      <a:noFill/>
                    </a:lnT>
                    <a:lnB>
                      <a:noFill/>
                    </a:lnB>
                    <a:noFill/>
                  </a:tcPr>
                </a:tc>
                <a:tc>
                  <a:txBody>
                    <a:bodyPr/>
                    <a:lstStyle/>
                    <a:p>
                      <a:pPr algn="l" rtl="0" fontAlgn="ctr"/>
                      <a:endParaRPr lang="cs-CZ" sz="1800" b="1" i="0" u="none" strike="noStrike" dirty="0">
                        <a:solidFill>
                          <a:schemeClr val="tx1"/>
                        </a:solidFill>
                        <a:effectLst/>
                        <a:latin typeface="Arial" panose="020B0604020202020204" pitchFamily="34" charset="0"/>
                      </a:endParaRPr>
                    </a:p>
                  </a:txBody>
                  <a:tcPr marL="7620" marR="7620" marT="7620" marB="0" anchor="ctr">
                    <a:lnL>
                      <a:noFill/>
                    </a:lnL>
                    <a:lnR>
                      <a:noFill/>
                    </a:lnR>
                    <a:lnT>
                      <a:noFill/>
                    </a:lnT>
                    <a:lnB>
                      <a:noFill/>
                    </a:lnB>
                    <a:noFill/>
                  </a:tcPr>
                </a:tc>
                <a:tc>
                  <a:txBody>
                    <a:bodyPr/>
                    <a:lstStyle/>
                    <a:p>
                      <a:pPr algn="l" rtl="0" fontAlgn="ctr"/>
                      <a:endParaRPr lang="cs-CZ" sz="1800" b="1" i="0" u="none" strike="noStrike" dirty="0">
                        <a:solidFill>
                          <a:schemeClr val="tx1"/>
                        </a:solidFill>
                        <a:effectLst/>
                        <a:latin typeface="Arial" panose="020B0604020202020204" pitchFamily="34" charset="0"/>
                      </a:endParaRPr>
                    </a:p>
                  </a:txBody>
                  <a:tcPr marL="7620" marR="7620" marT="7620" marB="0" anchor="ctr">
                    <a:lnL>
                      <a:noFill/>
                    </a:lnL>
                    <a:lnR>
                      <a:noFill/>
                    </a:lnR>
                    <a:lnT>
                      <a:noFill/>
                    </a:lnT>
                    <a:lnB>
                      <a:noFill/>
                    </a:lnB>
                    <a:noFill/>
                  </a:tcPr>
                </a:tc>
                <a:tc>
                  <a:txBody>
                    <a:bodyPr/>
                    <a:lstStyle/>
                    <a:p>
                      <a:pPr algn="l" rtl="0" fontAlgn="ctr"/>
                      <a:endParaRPr lang="cs-CZ" sz="1800" b="1" i="0" u="none" strike="noStrike" dirty="0">
                        <a:solidFill>
                          <a:schemeClr val="tx1"/>
                        </a:solidFill>
                        <a:effectLst/>
                        <a:latin typeface="Arial" panose="020B0604020202020204" pitchFamily="34" charset="0"/>
                      </a:endParaRPr>
                    </a:p>
                  </a:txBody>
                  <a:tcPr marL="7620" marR="7620" marT="7620" marB="0" anchor="ctr">
                    <a:lnL>
                      <a:noFill/>
                    </a:lnL>
                    <a:lnR>
                      <a:noFill/>
                    </a:lnR>
                    <a:lnT>
                      <a:noFill/>
                    </a:lnT>
                    <a:lnB>
                      <a:noFill/>
                    </a:lnB>
                    <a:noFill/>
                  </a:tcPr>
                </a:tc>
                <a:tc>
                  <a:txBody>
                    <a:bodyPr/>
                    <a:lstStyle/>
                    <a:p>
                      <a:pPr algn="l" rtl="0" fontAlgn="ctr"/>
                      <a:endParaRPr lang="cs-CZ" sz="1800" b="1" i="0" u="none" strike="noStrike" dirty="0">
                        <a:solidFill>
                          <a:schemeClr val="tx1"/>
                        </a:solidFill>
                        <a:effectLst/>
                        <a:latin typeface="Arial" panose="020B0604020202020204" pitchFamily="34" charset="0"/>
                      </a:endParaRPr>
                    </a:p>
                  </a:txBody>
                  <a:tcPr marL="7620" marR="7620" marT="7620" marB="0" anchor="ctr">
                    <a:lnL>
                      <a:noFill/>
                    </a:lnL>
                    <a:lnR>
                      <a:noFill/>
                    </a:lnR>
                    <a:lnT>
                      <a:noFill/>
                    </a:lnT>
                    <a:lnB>
                      <a:noFill/>
                    </a:lnB>
                    <a:noFill/>
                  </a:tcPr>
                </a:tc>
                <a:tc>
                  <a:txBody>
                    <a:bodyPr/>
                    <a:lstStyle/>
                    <a:p>
                      <a:pPr algn="l" rtl="0" fontAlgn="ctr"/>
                      <a:endParaRPr lang="cs-CZ" sz="1800" b="1" i="0" u="none" strike="noStrike" dirty="0">
                        <a:solidFill>
                          <a:schemeClr val="tx1"/>
                        </a:solidFill>
                        <a:effectLst/>
                        <a:latin typeface="Arial" panose="020B0604020202020204" pitchFamily="34" charset="0"/>
                      </a:endParaRPr>
                    </a:p>
                  </a:txBody>
                  <a:tcPr marL="7620" marR="7620" marT="7620" marB="0" anchor="ctr">
                    <a:lnL>
                      <a:noFill/>
                    </a:lnL>
                    <a:lnR>
                      <a:noFill/>
                    </a:lnR>
                    <a:lnT>
                      <a:noFill/>
                    </a:lnT>
                    <a:lnB>
                      <a:noFill/>
                    </a:lnB>
                    <a:noFill/>
                  </a:tcPr>
                </a:tc>
                <a:tc>
                  <a:txBody>
                    <a:bodyPr/>
                    <a:lstStyle/>
                    <a:p>
                      <a:pPr algn="l" rtl="0" fontAlgn="ctr"/>
                      <a:endParaRPr lang="cs-CZ" sz="1800" b="1" i="0" u="none" strike="noStrike" dirty="0">
                        <a:solidFill>
                          <a:schemeClr val="tx1"/>
                        </a:solidFill>
                        <a:effectLst/>
                        <a:latin typeface="Arial" panose="020B0604020202020204" pitchFamily="34" charset="0"/>
                      </a:endParaRPr>
                    </a:p>
                  </a:txBody>
                  <a:tcPr marL="7620" marR="7620" marT="7620" marB="0" anchor="ctr">
                    <a:lnL>
                      <a:noFill/>
                    </a:lnL>
                    <a:lnR>
                      <a:noFill/>
                    </a:lnR>
                    <a:lnT>
                      <a:noFill/>
                    </a:lnT>
                    <a:lnB>
                      <a:noFill/>
                    </a:lnB>
                    <a:noFill/>
                  </a:tcPr>
                </a:tc>
                <a:extLst>
                  <a:ext uri="{0D108BD9-81ED-4DB2-BD59-A6C34878D82A}">
                    <a16:rowId xmlns:a16="http://schemas.microsoft.com/office/drawing/2014/main" val="1155051437"/>
                  </a:ext>
                </a:extLst>
              </a:tr>
            </a:tbl>
          </a:graphicData>
        </a:graphic>
      </p:graphicFrame>
      <p:sp>
        <p:nvSpPr>
          <p:cNvPr id="13" name="Zahnutá šipka nahoru 25">
            <a:extLst>
              <a:ext uri="{FF2B5EF4-FFF2-40B4-BE49-F238E27FC236}">
                <a16:creationId xmlns:a16="http://schemas.microsoft.com/office/drawing/2014/main" id="{B6F904B9-B88B-46C5-92EF-0EB4566DC657}"/>
              </a:ext>
            </a:extLst>
          </p:cNvPr>
          <p:cNvSpPr/>
          <p:nvPr>
            <p:custDataLst>
              <p:tags r:id="rId4"/>
            </p:custDataLst>
          </p:nvPr>
        </p:nvSpPr>
        <p:spPr>
          <a:xfrm>
            <a:off x="4105737" y="2136199"/>
            <a:ext cx="1944000" cy="497840"/>
          </a:xfrm>
          <a:prstGeom prst="curvedUpArrow">
            <a:avLst/>
          </a:prstGeom>
          <a:solidFill>
            <a:srgbClr val="305983"/>
          </a:solidFill>
          <a:ln>
            <a:solidFill>
              <a:srgbClr val="3059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Zahnutá šipka nahoru 25">
            <a:extLst>
              <a:ext uri="{FF2B5EF4-FFF2-40B4-BE49-F238E27FC236}">
                <a16:creationId xmlns:a16="http://schemas.microsoft.com/office/drawing/2014/main" id="{6787712D-9170-4E47-97CC-8D60809E2F5E}"/>
              </a:ext>
            </a:extLst>
          </p:cNvPr>
          <p:cNvSpPr/>
          <p:nvPr>
            <p:custDataLst>
              <p:tags r:id="rId5"/>
            </p:custDataLst>
          </p:nvPr>
        </p:nvSpPr>
        <p:spPr>
          <a:xfrm>
            <a:off x="2101417" y="2130150"/>
            <a:ext cx="1944000" cy="497840"/>
          </a:xfrm>
          <a:prstGeom prst="curvedUpArrow">
            <a:avLst/>
          </a:prstGeom>
          <a:solidFill>
            <a:srgbClr val="305983"/>
          </a:solidFill>
          <a:ln>
            <a:solidFill>
              <a:srgbClr val="3059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Zahnutá šipka nahoru 25">
            <a:extLst>
              <a:ext uri="{FF2B5EF4-FFF2-40B4-BE49-F238E27FC236}">
                <a16:creationId xmlns:a16="http://schemas.microsoft.com/office/drawing/2014/main" id="{AACCD883-36DC-4042-87E9-99D055BFB8CE}"/>
              </a:ext>
            </a:extLst>
          </p:cNvPr>
          <p:cNvSpPr/>
          <p:nvPr>
            <p:custDataLst>
              <p:tags r:id="rId6"/>
            </p:custDataLst>
          </p:nvPr>
        </p:nvSpPr>
        <p:spPr>
          <a:xfrm>
            <a:off x="8333317" y="2144405"/>
            <a:ext cx="1860974" cy="497840"/>
          </a:xfrm>
          <a:prstGeom prst="curvedUpArrow">
            <a:avLst/>
          </a:prstGeom>
          <a:solidFill>
            <a:srgbClr val="FFC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Zahnutá šipka nahoru 25">
            <a:extLst>
              <a:ext uri="{FF2B5EF4-FFF2-40B4-BE49-F238E27FC236}">
                <a16:creationId xmlns:a16="http://schemas.microsoft.com/office/drawing/2014/main" id="{C57154C7-2094-4F3A-89F5-3B2F0EBF8606}"/>
              </a:ext>
            </a:extLst>
          </p:cNvPr>
          <p:cNvSpPr/>
          <p:nvPr>
            <p:custDataLst>
              <p:tags r:id="rId7"/>
            </p:custDataLst>
          </p:nvPr>
        </p:nvSpPr>
        <p:spPr>
          <a:xfrm>
            <a:off x="6213071" y="2131719"/>
            <a:ext cx="1944000" cy="497840"/>
          </a:xfrm>
          <a:prstGeom prst="curvedUpArrow">
            <a:avLst/>
          </a:prstGeom>
          <a:solidFill>
            <a:srgbClr val="FFC000"/>
          </a:solidFill>
          <a:ln>
            <a:solidFill>
              <a:srgbClr val="3059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 name="Přímá spojnice se šipkou 2">
            <a:extLst>
              <a:ext uri="{FF2B5EF4-FFF2-40B4-BE49-F238E27FC236}">
                <a16:creationId xmlns:a16="http://schemas.microsoft.com/office/drawing/2014/main" id="{4163CF7B-72E6-484D-8964-F7B213D6886D}"/>
              </a:ext>
            </a:extLst>
          </p:cNvPr>
          <p:cNvCxnSpPr>
            <a:cxnSpLocks/>
          </p:cNvCxnSpPr>
          <p:nvPr>
            <p:custDataLst>
              <p:tags r:id="rId8"/>
            </p:custDataLst>
          </p:nvPr>
        </p:nvCxnSpPr>
        <p:spPr>
          <a:xfrm flipV="1">
            <a:off x="10865265" y="3373766"/>
            <a:ext cx="575796" cy="126624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61847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381739" y="2"/>
            <a:ext cx="7436164" cy="576000"/>
          </a:xfrm>
        </p:spPr>
        <p:txBody>
          <a:bodyPr/>
          <a:lstStyle/>
          <a:p>
            <a:r>
              <a:rPr lang="cs-CZ" dirty="0"/>
              <a:t>Zátěž regionů ve vzájemném srovnání </a:t>
            </a:r>
            <a:r>
              <a:rPr lang="pl-PL" dirty="0"/>
              <a:t>krajů k 18</a:t>
            </a:r>
            <a:r>
              <a:rPr lang="cs-CZ" dirty="0"/>
              <a:t>. 1.</a:t>
            </a:r>
          </a:p>
        </p:txBody>
      </p:sp>
      <p:sp>
        <p:nvSpPr>
          <p:cNvPr id="12" name="TextovéPole 11">
            <a:extLst>
              <a:ext uri="{FF2B5EF4-FFF2-40B4-BE49-F238E27FC236}">
                <a16:creationId xmlns:a16="http://schemas.microsoft.com/office/drawing/2014/main" id="{0A29EB09-17C8-452F-8EAF-45B003F09D46}"/>
              </a:ext>
            </a:extLst>
          </p:cNvPr>
          <p:cNvSpPr txBox="1"/>
          <p:nvPr>
            <p:custDataLst>
              <p:tags r:id="rId2"/>
            </p:custDataLst>
          </p:nvPr>
        </p:nvSpPr>
        <p:spPr>
          <a:xfrm>
            <a:off x="6753478" y="1523478"/>
            <a:ext cx="5139474" cy="24622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2200" b="1" i="0" u="none" strike="noStrike" kern="1200" cap="none" spc="0" normalizeH="0" baseline="0" noProof="0" dirty="0">
              <a:ln>
                <a:noFill/>
              </a:ln>
              <a:solidFill>
                <a:srgbClr val="0000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a:ea typeface="+mn-ea"/>
                <a:cs typeface="+mn-cs"/>
              </a:rPr>
              <a:t>Nejvyšší zátěž za posledních 7 dní je registrována zejména v Praze a v přilehlých regionech Středočeského kraje. Selektivně zde roste zátěž mladé popula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2200" b="1" i="0" u="none" strike="noStrike" kern="1200" cap="none" spc="0" normalizeH="0" baseline="0" noProof="0" dirty="0">
              <a:ln>
                <a:noFill/>
              </a:ln>
              <a:solidFill>
                <a:srgbClr val="0000FF"/>
              </a:solidFill>
              <a:effectLst/>
              <a:uLnTx/>
              <a:uFillTx/>
              <a:latin typeface="Arial" panose="020B0604020202020204"/>
              <a:ea typeface="+mn-ea"/>
              <a:cs typeface="+mn-cs"/>
            </a:endParaRPr>
          </a:p>
        </p:txBody>
      </p:sp>
      <p:sp>
        <p:nvSpPr>
          <p:cNvPr id="5" name="TextovéPole 4">
            <a:extLst>
              <a:ext uri="{FF2B5EF4-FFF2-40B4-BE49-F238E27FC236}">
                <a16:creationId xmlns:a16="http://schemas.microsoft.com/office/drawing/2014/main" id="{0A29EB09-17C8-452F-8EAF-45B003F09D46}"/>
              </a:ext>
            </a:extLst>
          </p:cNvPr>
          <p:cNvSpPr txBox="1"/>
          <p:nvPr>
            <p:custDataLst>
              <p:tags r:id="rId3"/>
            </p:custDataLst>
          </p:nvPr>
        </p:nvSpPr>
        <p:spPr>
          <a:xfrm>
            <a:off x="7311669" y="6051105"/>
            <a:ext cx="4788389" cy="646331"/>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Hodnota za ČR dosahuje hranice 900 případů / 100 tis. obyv. za 7 dní</a:t>
            </a:r>
          </a:p>
        </p:txBody>
      </p:sp>
      <p:sp>
        <p:nvSpPr>
          <p:cNvPr id="3" name="Šipka doprava 2"/>
          <p:cNvSpPr/>
          <p:nvPr>
            <p:custDataLst>
              <p:tags r:id="rId4"/>
            </p:custDataLst>
          </p:nvPr>
        </p:nvSpPr>
        <p:spPr>
          <a:xfrm>
            <a:off x="6753478" y="6138409"/>
            <a:ext cx="457200" cy="664234"/>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aphicFrame>
        <p:nvGraphicFramePr>
          <p:cNvPr id="8" name="Tabulka 1">
            <a:extLst>
              <a:ext uri="{FF2B5EF4-FFF2-40B4-BE49-F238E27FC236}">
                <a16:creationId xmlns:a16="http://schemas.microsoft.com/office/drawing/2014/main" id="{184B6E13-9BFA-4406-B540-3D256C87067E}"/>
              </a:ext>
            </a:extLst>
          </p:cNvPr>
          <p:cNvGraphicFramePr>
            <a:graphicFrameLocks noGrp="1"/>
          </p:cNvGraphicFramePr>
          <p:nvPr>
            <p:custDataLst>
              <p:tags r:id="rId5"/>
            </p:custDataLst>
            <p:extLst>
              <p:ext uri="{D42A27DB-BD31-4B8C-83A1-F6EECF244321}">
                <p14:modId xmlns:p14="http://schemas.microsoft.com/office/powerpoint/2010/main" val="2719823039"/>
              </p:ext>
            </p:extLst>
          </p:nvPr>
        </p:nvGraphicFramePr>
        <p:xfrm>
          <a:off x="285783" y="631607"/>
          <a:ext cx="6366703" cy="6130043"/>
        </p:xfrm>
        <a:graphic>
          <a:graphicData uri="http://schemas.openxmlformats.org/drawingml/2006/table">
            <a:tbl>
              <a:tblPr>
                <a:tableStyleId>{5C22544A-7EE6-4342-B048-85BDC9FD1C3A}</a:tableStyleId>
              </a:tblPr>
              <a:tblGrid>
                <a:gridCol w="2818147">
                  <a:extLst>
                    <a:ext uri="{9D8B030D-6E8A-4147-A177-3AD203B41FA5}">
                      <a16:colId xmlns:a16="http://schemas.microsoft.com/office/drawing/2014/main" val="1104746273"/>
                    </a:ext>
                  </a:extLst>
                </a:gridCol>
                <a:gridCol w="1589188">
                  <a:extLst>
                    <a:ext uri="{9D8B030D-6E8A-4147-A177-3AD203B41FA5}">
                      <a16:colId xmlns:a16="http://schemas.microsoft.com/office/drawing/2014/main" val="2879916102"/>
                    </a:ext>
                  </a:extLst>
                </a:gridCol>
                <a:gridCol w="1959368">
                  <a:extLst>
                    <a:ext uri="{9D8B030D-6E8A-4147-A177-3AD203B41FA5}">
                      <a16:colId xmlns:a16="http://schemas.microsoft.com/office/drawing/2014/main" val="2227094756"/>
                    </a:ext>
                  </a:extLst>
                </a:gridCol>
              </a:tblGrid>
              <a:tr h="1272293">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ázev kraje</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7denní</a:t>
                      </a:r>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počet nových případů na 100 tis. obyv.</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14denní</a:t>
                      </a:r>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počet nových případů na 100 tis. obyv.</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7620250"/>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Hlavní město Praha</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818.6</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652.3</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8267304"/>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tředočes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240.8</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761.2</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30709433"/>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Zlíns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55.5</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392.1</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4998111"/>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Ústec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54.5</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363.9</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871709"/>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Královéhradec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44.6</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222.6</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30686177"/>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iberec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15.2</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250.5</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0960626"/>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ardubic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97.2</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52.1</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308115121"/>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ihomoravs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80.4</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67.1</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686406672"/>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Karlovars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57.6</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76.7</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186103521"/>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lzeňs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25.0</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61.2</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070984813"/>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ihočes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18.0</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52.9</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409304550"/>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lomouc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12.6</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65.6</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114071685"/>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oravskoslezský kraj</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52.2</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50.9</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2644618"/>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Kraj Vysočina</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29.2</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17.7</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36907440"/>
                  </a:ext>
                </a:extLst>
              </a:tr>
              <a:tr h="311381">
                <a:tc>
                  <a:txBody>
                    <a:bodyPr/>
                    <a:lstStyle/>
                    <a:p>
                      <a:r>
                        <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ČR</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49.8</a:t>
                      </a:r>
                      <a:endParaRPr lang="cs-CZ" sz="180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390.1</a:t>
                      </a:r>
                      <a:endParaRPr lang="cs-CZ" sz="1800" dirty="0">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308880044"/>
                  </a:ext>
                </a:extLst>
              </a:tr>
            </a:tbl>
          </a:graphicData>
        </a:graphic>
      </p:graphicFrame>
    </p:spTree>
    <p:extLst>
      <p:ext uri="{BB962C8B-B14F-4D97-AF65-F5344CB8AC3E}">
        <p14:creationId xmlns:p14="http://schemas.microsoft.com/office/powerpoint/2010/main" val="8129511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custDataLst>
              <p:tags r:id="rId1"/>
            </p:custDataLst>
          </p:nvPr>
        </p:nvSpPr>
        <p:spPr>
          <a:xfrm>
            <a:off x="209211" y="0"/>
            <a:ext cx="10125069" cy="576000"/>
          </a:xfrm>
        </p:spPr>
        <p:txBody>
          <a:bodyPr/>
          <a:lstStyle/>
          <a:p>
            <a:r>
              <a:rPr lang="cs-CZ" dirty="0"/>
              <a:t>7 denní počet nových případů (na 100 000 obyv.)</a:t>
            </a:r>
            <a:r>
              <a:rPr lang="en-US" dirty="0"/>
              <a:t> v </a:t>
            </a:r>
            <a:r>
              <a:rPr lang="en-US" dirty="0" err="1"/>
              <a:t>okresech</a:t>
            </a:r>
            <a:endParaRPr lang="cs-CZ" dirty="0">
              <a:latin typeface="+mj-lt"/>
            </a:endParaRPr>
          </a:p>
        </p:txBody>
      </p:sp>
      <p:sp>
        <p:nvSpPr>
          <p:cNvPr id="5" name="Rectangle 4">
            <a:extLst>
              <a:ext uri="{FF2B5EF4-FFF2-40B4-BE49-F238E27FC236}">
                <a16:creationId xmlns:a16="http://schemas.microsoft.com/office/drawing/2014/main" id="{0BE080D6-FC53-427A-9C73-FAC7AD1D2FCD}"/>
              </a:ext>
            </a:extLst>
          </p:cNvPr>
          <p:cNvSpPr/>
          <p:nvPr>
            <p:custDataLst>
              <p:tags r:id="rId2"/>
            </p:custDataLst>
          </p:nvPr>
        </p:nvSpPr>
        <p:spPr>
          <a:xfrm>
            <a:off x="10334280" y="4593940"/>
            <a:ext cx="180000" cy="180000"/>
          </a:xfrm>
          <a:prstGeom prst="rect">
            <a:avLst/>
          </a:prstGeom>
          <a:solidFill>
            <a:srgbClr val="2B83B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9E4925A4-86A9-42E1-B474-EC1CB00F06FB}"/>
              </a:ext>
            </a:extLst>
          </p:cNvPr>
          <p:cNvSpPr/>
          <p:nvPr/>
        </p:nvSpPr>
        <p:spPr>
          <a:xfrm>
            <a:off x="10334280" y="4902666"/>
            <a:ext cx="180000" cy="180000"/>
          </a:xfrm>
          <a:prstGeom prst="rect">
            <a:avLst/>
          </a:prstGeom>
          <a:solidFill>
            <a:srgbClr val="80BFA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131920F6-822D-4D8E-9016-3491B8DD67F4}"/>
              </a:ext>
            </a:extLst>
          </p:cNvPr>
          <p:cNvSpPr/>
          <p:nvPr/>
        </p:nvSpPr>
        <p:spPr>
          <a:xfrm>
            <a:off x="10334280" y="5211392"/>
            <a:ext cx="180000" cy="180000"/>
          </a:xfrm>
          <a:prstGeom prst="rect">
            <a:avLst/>
          </a:prstGeom>
          <a:solidFill>
            <a:srgbClr val="C7E8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F3996B81-667A-401C-967B-28C2A48E23CC}"/>
              </a:ext>
            </a:extLst>
          </p:cNvPr>
          <p:cNvSpPr/>
          <p:nvPr/>
        </p:nvSpPr>
        <p:spPr>
          <a:xfrm>
            <a:off x="10334280" y="5520118"/>
            <a:ext cx="180000" cy="180000"/>
          </a:xfrm>
          <a:prstGeom prst="rect">
            <a:avLst/>
          </a:prstGeom>
          <a:solidFill>
            <a:srgbClr val="E2E22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CF2DB380-5F7C-460F-BFDA-86D337A8CFE1}"/>
              </a:ext>
            </a:extLst>
          </p:cNvPr>
          <p:cNvSpPr/>
          <p:nvPr/>
        </p:nvSpPr>
        <p:spPr>
          <a:xfrm>
            <a:off x="10334280" y="5828844"/>
            <a:ext cx="180000" cy="180000"/>
          </a:xfrm>
          <a:prstGeom prst="rect">
            <a:avLst/>
          </a:prstGeom>
          <a:solidFill>
            <a:srgbClr val="FEAB4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708FD43E-EE03-4737-A366-C1F7D775579E}"/>
              </a:ext>
            </a:extLst>
          </p:cNvPr>
          <p:cNvSpPr txBox="1"/>
          <p:nvPr>
            <p:custDataLst>
              <p:tags r:id="rId3"/>
            </p:custDataLst>
          </p:nvPr>
        </p:nvSpPr>
        <p:spPr>
          <a:xfrm>
            <a:off x="10574036" y="4499274"/>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250</a:t>
            </a:r>
          </a:p>
        </p:txBody>
      </p:sp>
      <p:sp>
        <p:nvSpPr>
          <p:cNvPr id="11" name="TextBox 10">
            <a:extLst>
              <a:ext uri="{FF2B5EF4-FFF2-40B4-BE49-F238E27FC236}">
                <a16:creationId xmlns:a16="http://schemas.microsoft.com/office/drawing/2014/main" id="{4B654345-6D6F-4D0F-813B-A10AFB3293A9}"/>
              </a:ext>
            </a:extLst>
          </p:cNvPr>
          <p:cNvSpPr txBox="1"/>
          <p:nvPr>
            <p:custDataLst>
              <p:tags r:id="rId4"/>
            </p:custDataLst>
          </p:nvPr>
        </p:nvSpPr>
        <p:spPr>
          <a:xfrm>
            <a:off x="10574036" y="4810564"/>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250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4</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ECECFEB-BD0B-4FAF-9B8B-C8A903E5C1DE}"/>
              </a:ext>
            </a:extLst>
          </p:cNvPr>
          <p:cNvSpPr txBox="1"/>
          <p:nvPr>
            <p:custDataLst>
              <p:tags r:id="rId5"/>
            </p:custDataLst>
          </p:nvPr>
        </p:nvSpPr>
        <p:spPr>
          <a:xfrm>
            <a:off x="10574036" y="5121854"/>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4</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6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E14133F7-D8D6-4D0C-B56B-CAC8C40EE252}"/>
              </a:ext>
            </a:extLst>
          </p:cNvPr>
          <p:cNvSpPr txBox="1"/>
          <p:nvPr>
            <p:custDataLst>
              <p:tags r:id="rId6"/>
            </p:custDataLst>
          </p:nvPr>
        </p:nvSpPr>
        <p:spPr>
          <a:xfrm>
            <a:off x="10574036" y="5433144"/>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6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8</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020DDF93-0D60-4DCB-A93B-533691C52B6E}"/>
              </a:ext>
            </a:extLst>
          </p:cNvPr>
          <p:cNvSpPr txBox="1"/>
          <p:nvPr>
            <p:custDataLst>
              <p:tags r:id="rId7"/>
            </p:custDataLst>
          </p:nvPr>
        </p:nvSpPr>
        <p:spPr>
          <a:xfrm>
            <a:off x="10574036" y="5744434"/>
            <a:ext cx="121058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8</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 – 1000</a:t>
            </a:r>
          </a:p>
        </p:txBody>
      </p:sp>
      <p:sp>
        <p:nvSpPr>
          <p:cNvPr id="16" name="Rectangle 15">
            <a:extLst>
              <a:ext uri="{FF2B5EF4-FFF2-40B4-BE49-F238E27FC236}">
                <a16:creationId xmlns:a16="http://schemas.microsoft.com/office/drawing/2014/main" id="{8B48D847-A97F-4AAA-A08B-55218BF2B7F5}"/>
              </a:ext>
            </a:extLst>
          </p:cNvPr>
          <p:cNvSpPr/>
          <p:nvPr/>
        </p:nvSpPr>
        <p:spPr>
          <a:xfrm>
            <a:off x="10334280" y="6137569"/>
            <a:ext cx="180000" cy="180000"/>
          </a:xfrm>
          <a:prstGeom prst="rect">
            <a:avLst/>
          </a:prstGeom>
          <a:solidFill>
            <a:srgbClr val="F12E1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70FDD93D-9CA2-41FC-953B-E1DA3769E12D}"/>
              </a:ext>
            </a:extLst>
          </p:cNvPr>
          <p:cNvSpPr/>
          <p:nvPr/>
        </p:nvSpPr>
        <p:spPr>
          <a:xfrm>
            <a:off x="10334280" y="6446293"/>
            <a:ext cx="180000" cy="180000"/>
          </a:xfrm>
          <a:prstGeom prst="rect">
            <a:avLst/>
          </a:prstGeom>
          <a:solidFill>
            <a:srgbClr val="AA131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7B07D8BB-886C-4DD8-BE83-D1D89236D7C4}"/>
              </a:ext>
            </a:extLst>
          </p:cNvPr>
          <p:cNvSpPr txBox="1"/>
          <p:nvPr>
            <p:custDataLst>
              <p:tags r:id="rId8"/>
            </p:custDataLst>
          </p:nvPr>
        </p:nvSpPr>
        <p:spPr>
          <a:xfrm>
            <a:off x="10574036" y="6055724"/>
            <a:ext cx="132440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000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200</a:t>
            </a:r>
          </a:p>
        </p:txBody>
      </p:sp>
      <p:sp>
        <p:nvSpPr>
          <p:cNvPr id="20" name="TextBox 19">
            <a:extLst>
              <a:ext uri="{FF2B5EF4-FFF2-40B4-BE49-F238E27FC236}">
                <a16:creationId xmlns:a16="http://schemas.microsoft.com/office/drawing/2014/main" id="{82588280-9570-4C47-854B-55E5855520E2}"/>
              </a:ext>
            </a:extLst>
          </p:cNvPr>
          <p:cNvSpPr txBox="1"/>
          <p:nvPr>
            <p:custDataLst>
              <p:tags r:id="rId9"/>
            </p:custDataLst>
          </p:nvPr>
        </p:nvSpPr>
        <p:spPr>
          <a:xfrm>
            <a:off x="10574036" y="6367016"/>
            <a:ext cx="81785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t;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200</a:t>
            </a:r>
          </a:p>
        </p:txBody>
      </p:sp>
      <p:sp>
        <p:nvSpPr>
          <p:cNvPr id="30" name="Rectangle 29">
            <a:extLst>
              <a:ext uri="{FF2B5EF4-FFF2-40B4-BE49-F238E27FC236}">
                <a16:creationId xmlns:a16="http://schemas.microsoft.com/office/drawing/2014/main" id="{E8D61F06-E564-4806-8691-3AC255200BE8}"/>
              </a:ext>
            </a:extLst>
          </p:cNvPr>
          <p:cNvSpPr/>
          <p:nvPr>
            <p:custDataLst>
              <p:tags r:id="rId10"/>
            </p:custDataLst>
          </p:nvPr>
        </p:nvSpPr>
        <p:spPr>
          <a:xfrm>
            <a:off x="10334280" y="4319274"/>
            <a:ext cx="180000" cy="180000"/>
          </a:xfrm>
          <a:prstGeom prst="rect">
            <a:avLst/>
          </a:prstGeom>
          <a:solidFill>
            <a:srgbClr val="4CB9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2186B9F7-F8F7-4F40-BFDF-925ACE69CA58}"/>
              </a:ext>
            </a:extLst>
          </p:cNvPr>
          <p:cNvSpPr txBox="1"/>
          <p:nvPr>
            <p:custDataLst>
              <p:tags r:id="rId11"/>
            </p:custDataLst>
          </p:nvPr>
        </p:nvSpPr>
        <p:spPr>
          <a:xfrm>
            <a:off x="10574036" y="4255386"/>
            <a:ext cx="93807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5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FD1B206D-13F2-46AF-A707-682B8D88A63C}"/>
              </a:ext>
            </a:extLst>
          </p:cNvPr>
          <p:cNvSpPr/>
          <p:nvPr>
            <p:custDataLst>
              <p:tags r:id="rId12"/>
            </p:custDataLst>
          </p:nvPr>
        </p:nvSpPr>
        <p:spPr>
          <a:xfrm>
            <a:off x="10334280" y="4028932"/>
            <a:ext cx="180000" cy="180000"/>
          </a:xfrm>
          <a:prstGeom prst="rect">
            <a:avLst/>
          </a:prstGeom>
          <a:solidFill>
            <a:srgbClr val="AEDF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6E19C18A-0242-40A3-8DFB-2F38AED8C204}"/>
              </a:ext>
            </a:extLst>
          </p:cNvPr>
          <p:cNvSpPr txBox="1"/>
          <p:nvPr>
            <p:custDataLst>
              <p:tags r:id="rId13"/>
            </p:custDataLst>
          </p:nvPr>
        </p:nvSpPr>
        <p:spPr>
          <a:xfrm>
            <a:off x="10574036" y="3965044"/>
            <a:ext cx="82426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25 - 50</a:t>
            </a:r>
          </a:p>
        </p:txBody>
      </p:sp>
      <p:sp>
        <p:nvSpPr>
          <p:cNvPr id="27" name="Rectangle 26">
            <a:extLst>
              <a:ext uri="{FF2B5EF4-FFF2-40B4-BE49-F238E27FC236}">
                <a16:creationId xmlns:a16="http://schemas.microsoft.com/office/drawing/2014/main" id="{E72C0F43-AA2D-4190-92A2-DA88FB03C4B4}"/>
              </a:ext>
            </a:extLst>
          </p:cNvPr>
          <p:cNvSpPr/>
          <p:nvPr>
            <p:custDataLst>
              <p:tags r:id="rId14"/>
            </p:custDataLst>
          </p:nvPr>
        </p:nvSpPr>
        <p:spPr>
          <a:xfrm>
            <a:off x="10334280" y="3743086"/>
            <a:ext cx="180000" cy="180000"/>
          </a:xfrm>
          <a:prstGeom prst="rect">
            <a:avLst/>
          </a:prstGeom>
          <a:solidFill>
            <a:srgbClr val="E5F4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F7F72A3E-D55C-4A77-863C-B5BD05190F52}"/>
              </a:ext>
            </a:extLst>
          </p:cNvPr>
          <p:cNvSpPr txBox="1"/>
          <p:nvPr>
            <p:custDataLst>
              <p:tags r:id="rId15"/>
            </p:custDataLst>
          </p:nvPr>
        </p:nvSpPr>
        <p:spPr>
          <a:xfrm>
            <a:off x="10574036" y="3679198"/>
            <a:ext cx="59022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lt;</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 25</a:t>
            </a:r>
          </a:p>
        </p:txBody>
      </p:sp>
      <p:pic>
        <p:nvPicPr>
          <p:cNvPr id="40" name="Obrázek 39">
            <a:extLst>
              <a:ext uri="{FF2B5EF4-FFF2-40B4-BE49-F238E27FC236}">
                <a16:creationId xmlns:a16="http://schemas.microsoft.com/office/drawing/2014/main" id="{BCA3533C-2925-4B24-A28A-56EAD4F14188}"/>
              </a:ext>
            </a:extLst>
          </p:cNvPr>
          <p:cNvPicPr>
            <a:picLocks noChangeAspect="1"/>
          </p:cNvPicPr>
          <p:nvPr>
            <p:custDataLst>
              <p:tags r:id="rId16"/>
            </p:custDataLst>
          </p:nvPr>
        </p:nvPicPr>
        <p:blipFill>
          <a:blip r:embed="rId27">
            <a:extLst>
              <a:ext uri="{28A0092B-C50C-407E-A947-70E740481C1C}">
                <a14:useLocalDpi xmlns:a14="http://schemas.microsoft.com/office/drawing/2010/main" val="0"/>
              </a:ext>
            </a:extLst>
          </a:blip>
          <a:srcRect/>
          <a:stretch/>
        </p:blipFill>
        <p:spPr>
          <a:xfrm>
            <a:off x="209211" y="1458949"/>
            <a:ext cx="3416988" cy="2071256"/>
          </a:xfrm>
          <a:prstGeom prst="rect">
            <a:avLst/>
          </a:prstGeom>
        </p:spPr>
      </p:pic>
      <p:pic>
        <p:nvPicPr>
          <p:cNvPr id="43" name="Obrázek 42">
            <a:extLst>
              <a:ext uri="{FF2B5EF4-FFF2-40B4-BE49-F238E27FC236}">
                <a16:creationId xmlns:a16="http://schemas.microsoft.com/office/drawing/2014/main" id="{E4C386A6-A767-41BF-852B-82628FEE7280}"/>
              </a:ext>
            </a:extLst>
          </p:cNvPr>
          <p:cNvPicPr>
            <a:picLocks noChangeAspect="1"/>
          </p:cNvPicPr>
          <p:nvPr>
            <p:custDataLst>
              <p:tags r:id="rId17"/>
            </p:custDataLst>
          </p:nvPr>
        </p:nvPicPr>
        <p:blipFill>
          <a:blip r:embed="rId28">
            <a:extLst>
              <a:ext uri="{28A0092B-C50C-407E-A947-70E740481C1C}">
                <a14:useLocalDpi xmlns:a14="http://schemas.microsoft.com/office/drawing/2010/main" val="0"/>
              </a:ext>
            </a:extLst>
          </a:blip>
          <a:srcRect l="95" r="95"/>
          <a:stretch/>
        </p:blipFill>
        <p:spPr>
          <a:xfrm>
            <a:off x="4032856" y="1371356"/>
            <a:ext cx="3563861" cy="2160000"/>
          </a:xfrm>
          <a:prstGeom prst="rect">
            <a:avLst/>
          </a:prstGeom>
        </p:spPr>
      </p:pic>
      <p:sp>
        <p:nvSpPr>
          <p:cNvPr id="32" name="TextBox 29">
            <a:extLst>
              <a:ext uri="{FF2B5EF4-FFF2-40B4-BE49-F238E27FC236}">
                <a16:creationId xmlns:a16="http://schemas.microsoft.com/office/drawing/2014/main" id="{D40C6CBB-D282-4297-AEC6-C9771410A410}"/>
              </a:ext>
            </a:extLst>
          </p:cNvPr>
          <p:cNvSpPr txBox="1"/>
          <p:nvPr>
            <p:custDataLst>
              <p:tags r:id="rId18"/>
            </p:custDataLst>
          </p:nvPr>
        </p:nvSpPr>
        <p:spPr>
          <a:xfrm>
            <a:off x="782402" y="4000508"/>
            <a:ext cx="16081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15. 01. 2022</a:t>
            </a:r>
          </a:p>
        </p:txBody>
      </p:sp>
      <p:pic>
        <p:nvPicPr>
          <p:cNvPr id="36" name="Obrázek 35">
            <a:extLst>
              <a:ext uri="{FF2B5EF4-FFF2-40B4-BE49-F238E27FC236}">
                <a16:creationId xmlns:a16="http://schemas.microsoft.com/office/drawing/2014/main" id="{DC60CB9B-9625-4BC9-A73E-26CDAD574745}"/>
              </a:ext>
            </a:extLst>
          </p:cNvPr>
          <p:cNvPicPr>
            <a:picLocks noChangeAspect="1"/>
          </p:cNvPicPr>
          <p:nvPr>
            <p:custDataLst>
              <p:tags r:id="rId19"/>
            </p:custDataLst>
          </p:nvPr>
        </p:nvPicPr>
        <p:blipFill>
          <a:blip r:embed="rId29">
            <a:extLst>
              <a:ext uri="{28A0092B-C50C-407E-A947-70E740481C1C}">
                <a14:useLocalDpi xmlns:a14="http://schemas.microsoft.com/office/drawing/2010/main" val="0"/>
              </a:ext>
            </a:extLst>
          </a:blip>
          <a:srcRect t="1747" b="1747"/>
          <a:stretch/>
        </p:blipFill>
        <p:spPr>
          <a:xfrm>
            <a:off x="8229435" y="1291480"/>
            <a:ext cx="3456016" cy="2094637"/>
          </a:xfrm>
          <a:prstGeom prst="rect">
            <a:avLst/>
          </a:prstGeom>
        </p:spPr>
      </p:pic>
      <p:pic>
        <p:nvPicPr>
          <p:cNvPr id="34" name="Obrázek 33">
            <a:extLst>
              <a:ext uri="{FF2B5EF4-FFF2-40B4-BE49-F238E27FC236}">
                <a16:creationId xmlns:a16="http://schemas.microsoft.com/office/drawing/2014/main" id="{89E2E298-F143-439F-895C-FA50D906C690}"/>
              </a:ext>
            </a:extLst>
          </p:cNvPr>
          <p:cNvPicPr>
            <a:picLocks noChangeAspect="1"/>
          </p:cNvPicPr>
          <p:nvPr>
            <p:custDataLst>
              <p:tags r:id="rId20"/>
            </p:custDataLst>
          </p:nvPr>
        </p:nvPicPr>
        <p:blipFill>
          <a:blip r:embed="rId30">
            <a:extLst>
              <a:ext uri="{28A0092B-C50C-407E-A947-70E740481C1C}">
                <a14:useLocalDpi xmlns:a14="http://schemas.microsoft.com/office/drawing/2010/main" val="0"/>
              </a:ext>
            </a:extLst>
          </a:blip>
          <a:srcRect t="283" b="283"/>
          <a:stretch/>
        </p:blipFill>
        <p:spPr>
          <a:xfrm>
            <a:off x="408165" y="4407499"/>
            <a:ext cx="3520812" cy="2215501"/>
          </a:xfrm>
          <a:prstGeom prst="rect">
            <a:avLst/>
          </a:prstGeom>
        </p:spPr>
      </p:pic>
      <p:sp>
        <p:nvSpPr>
          <p:cNvPr id="35" name="TextBox 29">
            <a:extLst>
              <a:ext uri="{FF2B5EF4-FFF2-40B4-BE49-F238E27FC236}">
                <a16:creationId xmlns:a16="http://schemas.microsoft.com/office/drawing/2014/main" id="{2139B1E5-2464-470E-A3FA-8A4716A0B6B5}"/>
              </a:ext>
            </a:extLst>
          </p:cNvPr>
          <p:cNvSpPr txBox="1"/>
          <p:nvPr>
            <p:custDataLst>
              <p:tags r:id="rId21"/>
            </p:custDataLst>
          </p:nvPr>
        </p:nvSpPr>
        <p:spPr>
          <a:xfrm>
            <a:off x="789488" y="891370"/>
            <a:ext cx="159396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11. 12. 2021</a:t>
            </a:r>
          </a:p>
        </p:txBody>
      </p:sp>
      <p:sp>
        <p:nvSpPr>
          <p:cNvPr id="38" name="TextBox 29">
            <a:extLst>
              <a:ext uri="{FF2B5EF4-FFF2-40B4-BE49-F238E27FC236}">
                <a16:creationId xmlns:a16="http://schemas.microsoft.com/office/drawing/2014/main" id="{75D3D41C-7477-43D6-8677-7E7052F63ED2}"/>
              </a:ext>
            </a:extLst>
          </p:cNvPr>
          <p:cNvSpPr txBox="1"/>
          <p:nvPr>
            <p:custDataLst>
              <p:tags r:id="rId22"/>
            </p:custDataLst>
          </p:nvPr>
        </p:nvSpPr>
        <p:spPr>
          <a:xfrm>
            <a:off x="4586730" y="929565"/>
            <a:ext cx="16081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21. 12. 2021</a:t>
            </a:r>
          </a:p>
        </p:txBody>
      </p:sp>
      <p:sp>
        <p:nvSpPr>
          <p:cNvPr id="39" name="TextBox 29">
            <a:extLst>
              <a:ext uri="{FF2B5EF4-FFF2-40B4-BE49-F238E27FC236}">
                <a16:creationId xmlns:a16="http://schemas.microsoft.com/office/drawing/2014/main" id="{094CCCAA-BE75-4104-BF53-60454CE80F60}"/>
              </a:ext>
            </a:extLst>
          </p:cNvPr>
          <p:cNvSpPr txBox="1"/>
          <p:nvPr>
            <p:custDataLst>
              <p:tags r:id="rId23"/>
            </p:custDataLst>
          </p:nvPr>
        </p:nvSpPr>
        <p:spPr>
          <a:xfrm>
            <a:off x="8816147" y="895663"/>
            <a:ext cx="16081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08. 01. 2022</a:t>
            </a:r>
          </a:p>
        </p:txBody>
      </p:sp>
      <p:sp>
        <p:nvSpPr>
          <p:cNvPr id="37" name="TextBox 29">
            <a:extLst>
              <a:ext uri="{FF2B5EF4-FFF2-40B4-BE49-F238E27FC236}">
                <a16:creationId xmlns:a16="http://schemas.microsoft.com/office/drawing/2014/main" id="{E5E619EE-55F7-4B01-BCEC-9ECB4537BB4B}"/>
              </a:ext>
            </a:extLst>
          </p:cNvPr>
          <p:cNvSpPr txBox="1"/>
          <p:nvPr>
            <p:custDataLst>
              <p:tags r:id="rId24"/>
            </p:custDataLst>
          </p:nvPr>
        </p:nvSpPr>
        <p:spPr>
          <a:xfrm>
            <a:off x="4467678" y="3996781"/>
            <a:ext cx="16081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18. 01. 2022</a:t>
            </a:r>
          </a:p>
        </p:txBody>
      </p:sp>
      <p:pic>
        <p:nvPicPr>
          <p:cNvPr id="3" name="Obrázek 2">
            <a:extLst>
              <a:ext uri="{FF2B5EF4-FFF2-40B4-BE49-F238E27FC236}">
                <a16:creationId xmlns:a16="http://schemas.microsoft.com/office/drawing/2014/main" id="{0C3C9437-9010-44F9-A68E-3FB578922A42}"/>
              </a:ext>
            </a:extLst>
          </p:cNvPr>
          <p:cNvPicPr>
            <a:picLocks noChangeAspect="1"/>
          </p:cNvPicPr>
          <p:nvPr>
            <p:custDataLst>
              <p:tags r:id="rId25"/>
            </p:custDataLst>
          </p:nvPr>
        </p:nvPicPr>
        <p:blipFill>
          <a:blip r:embed="rId31"/>
          <a:stretch>
            <a:fillRect/>
          </a:stretch>
        </p:blipFill>
        <p:spPr>
          <a:xfrm>
            <a:off x="4305953" y="4326712"/>
            <a:ext cx="3777820" cy="2358726"/>
          </a:xfrm>
          <a:prstGeom prst="rect">
            <a:avLst/>
          </a:prstGeom>
        </p:spPr>
      </p:pic>
    </p:spTree>
    <p:extLst>
      <p:ext uri="{BB962C8B-B14F-4D97-AF65-F5344CB8AC3E}">
        <p14:creationId xmlns:p14="http://schemas.microsoft.com/office/powerpoint/2010/main" val="7995662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custDataLst>
              <p:tags r:id="rId1"/>
            </p:custDataLst>
          </p:nvPr>
        </p:nvSpPr>
        <p:spPr>
          <a:xfrm>
            <a:off x="209211" y="0"/>
            <a:ext cx="10125069" cy="576000"/>
          </a:xfrm>
        </p:spPr>
        <p:txBody>
          <a:bodyPr/>
          <a:lstStyle/>
          <a:p>
            <a:r>
              <a:rPr lang="cs-CZ" dirty="0"/>
              <a:t>7 denní počet nových případů (na 100 000 obyv.)</a:t>
            </a:r>
            <a:r>
              <a:rPr lang="en-US" dirty="0"/>
              <a:t> v </a:t>
            </a:r>
            <a:r>
              <a:rPr lang="cs-CZ" dirty="0"/>
              <a:t>ORP</a:t>
            </a:r>
            <a:endParaRPr lang="cs-CZ" dirty="0">
              <a:latin typeface="+mj-lt"/>
            </a:endParaRPr>
          </a:p>
        </p:txBody>
      </p:sp>
      <p:grpSp>
        <p:nvGrpSpPr>
          <p:cNvPr id="2" name="Skupina 1">
            <a:extLst>
              <a:ext uri="{FF2B5EF4-FFF2-40B4-BE49-F238E27FC236}">
                <a16:creationId xmlns:a16="http://schemas.microsoft.com/office/drawing/2014/main" id="{2E74BC83-3A7D-4B13-B1F9-4938A2656683}"/>
              </a:ext>
            </a:extLst>
          </p:cNvPr>
          <p:cNvGrpSpPr/>
          <p:nvPr>
            <p:custDataLst>
              <p:tags r:id="rId2"/>
            </p:custDataLst>
          </p:nvPr>
        </p:nvGrpSpPr>
        <p:grpSpPr>
          <a:xfrm>
            <a:off x="9920580" y="3640680"/>
            <a:ext cx="1564158" cy="3026372"/>
            <a:chOff x="9750587" y="1123723"/>
            <a:chExt cx="1564158" cy="3026372"/>
          </a:xfrm>
        </p:grpSpPr>
        <p:sp>
          <p:nvSpPr>
            <p:cNvPr id="5" name="Rectangle 4">
              <a:extLst>
                <a:ext uri="{FF2B5EF4-FFF2-40B4-BE49-F238E27FC236}">
                  <a16:creationId xmlns:a16="http://schemas.microsoft.com/office/drawing/2014/main" id="{0BE080D6-FC53-427A-9C73-FAC7AD1D2FCD}"/>
                </a:ext>
              </a:extLst>
            </p:cNvPr>
            <p:cNvSpPr/>
            <p:nvPr>
              <p:custDataLst>
                <p:tags r:id="rId13"/>
              </p:custDataLst>
            </p:nvPr>
          </p:nvSpPr>
          <p:spPr>
            <a:xfrm>
              <a:off x="9750587" y="2038465"/>
              <a:ext cx="180000" cy="180000"/>
            </a:xfrm>
            <a:prstGeom prst="rect">
              <a:avLst/>
            </a:prstGeom>
            <a:solidFill>
              <a:srgbClr val="2B83B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9E4925A4-86A9-42E1-B474-EC1CB00F06FB}"/>
                </a:ext>
              </a:extLst>
            </p:cNvPr>
            <p:cNvSpPr/>
            <p:nvPr/>
          </p:nvSpPr>
          <p:spPr>
            <a:xfrm>
              <a:off x="9750587" y="2347191"/>
              <a:ext cx="180000" cy="180000"/>
            </a:xfrm>
            <a:prstGeom prst="rect">
              <a:avLst/>
            </a:prstGeom>
            <a:solidFill>
              <a:srgbClr val="80BFA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131920F6-822D-4D8E-9016-3491B8DD67F4}"/>
                </a:ext>
              </a:extLst>
            </p:cNvPr>
            <p:cNvSpPr/>
            <p:nvPr/>
          </p:nvSpPr>
          <p:spPr>
            <a:xfrm>
              <a:off x="9750587" y="2655917"/>
              <a:ext cx="180000" cy="180000"/>
            </a:xfrm>
            <a:prstGeom prst="rect">
              <a:avLst/>
            </a:prstGeom>
            <a:solidFill>
              <a:srgbClr val="C7E8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F3996B81-667A-401C-967B-28C2A48E23CC}"/>
                </a:ext>
              </a:extLst>
            </p:cNvPr>
            <p:cNvSpPr/>
            <p:nvPr/>
          </p:nvSpPr>
          <p:spPr>
            <a:xfrm>
              <a:off x="9750587" y="2964643"/>
              <a:ext cx="180000" cy="180000"/>
            </a:xfrm>
            <a:prstGeom prst="rect">
              <a:avLst/>
            </a:prstGeom>
            <a:solidFill>
              <a:srgbClr val="E2E22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CF2DB380-5F7C-460F-BFDA-86D337A8CFE1}"/>
                </a:ext>
              </a:extLst>
            </p:cNvPr>
            <p:cNvSpPr/>
            <p:nvPr/>
          </p:nvSpPr>
          <p:spPr>
            <a:xfrm>
              <a:off x="9750587" y="3273369"/>
              <a:ext cx="180000" cy="180000"/>
            </a:xfrm>
            <a:prstGeom prst="rect">
              <a:avLst/>
            </a:prstGeom>
            <a:solidFill>
              <a:srgbClr val="FEAB4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708FD43E-EE03-4737-A366-C1F7D775579E}"/>
                </a:ext>
              </a:extLst>
            </p:cNvPr>
            <p:cNvSpPr txBox="1"/>
            <p:nvPr>
              <p:custDataLst>
                <p:tags r:id="rId14"/>
              </p:custDataLst>
            </p:nvPr>
          </p:nvSpPr>
          <p:spPr>
            <a:xfrm>
              <a:off x="9990343" y="1943799"/>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250</a:t>
              </a:r>
            </a:p>
          </p:txBody>
        </p:sp>
        <p:sp>
          <p:nvSpPr>
            <p:cNvPr id="11" name="TextBox 10">
              <a:extLst>
                <a:ext uri="{FF2B5EF4-FFF2-40B4-BE49-F238E27FC236}">
                  <a16:creationId xmlns:a16="http://schemas.microsoft.com/office/drawing/2014/main" id="{4B654345-6D6F-4D0F-813B-A10AFB3293A9}"/>
                </a:ext>
              </a:extLst>
            </p:cNvPr>
            <p:cNvSpPr txBox="1"/>
            <p:nvPr>
              <p:custDataLst>
                <p:tags r:id="rId15"/>
              </p:custDataLst>
            </p:nvPr>
          </p:nvSpPr>
          <p:spPr>
            <a:xfrm>
              <a:off x="9990343" y="2255089"/>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250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4</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ECECFEB-BD0B-4FAF-9B8B-C8A903E5C1DE}"/>
                </a:ext>
              </a:extLst>
            </p:cNvPr>
            <p:cNvSpPr txBox="1"/>
            <p:nvPr>
              <p:custDataLst>
                <p:tags r:id="rId16"/>
              </p:custDataLst>
            </p:nvPr>
          </p:nvSpPr>
          <p:spPr>
            <a:xfrm>
              <a:off x="9990343" y="2566379"/>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4</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6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E14133F7-D8D6-4D0C-B56B-CAC8C40EE252}"/>
                </a:ext>
              </a:extLst>
            </p:cNvPr>
            <p:cNvSpPr txBox="1"/>
            <p:nvPr>
              <p:custDataLst>
                <p:tags r:id="rId17"/>
              </p:custDataLst>
            </p:nvPr>
          </p:nvSpPr>
          <p:spPr>
            <a:xfrm>
              <a:off x="9990343" y="2877669"/>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6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8</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020DDF93-0D60-4DCB-A93B-533691C52B6E}"/>
                </a:ext>
              </a:extLst>
            </p:cNvPr>
            <p:cNvSpPr txBox="1"/>
            <p:nvPr>
              <p:custDataLst>
                <p:tags r:id="rId18"/>
              </p:custDataLst>
            </p:nvPr>
          </p:nvSpPr>
          <p:spPr>
            <a:xfrm>
              <a:off x="9990343" y="3188959"/>
              <a:ext cx="121058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8</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0</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 – 1000</a:t>
              </a:r>
            </a:p>
          </p:txBody>
        </p:sp>
        <p:sp>
          <p:nvSpPr>
            <p:cNvPr id="16" name="Rectangle 15">
              <a:extLst>
                <a:ext uri="{FF2B5EF4-FFF2-40B4-BE49-F238E27FC236}">
                  <a16:creationId xmlns:a16="http://schemas.microsoft.com/office/drawing/2014/main" id="{8B48D847-A97F-4AAA-A08B-55218BF2B7F5}"/>
                </a:ext>
              </a:extLst>
            </p:cNvPr>
            <p:cNvSpPr/>
            <p:nvPr/>
          </p:nvSpPr>
          <p:spPr>
            <a:xfrm>
              <a:off x="9750587" y="3582094"/>
              <a:ext cx="180000" cy="180000"/>
            </a:xfrm>
            <a:prstGeom prst="rect">
              <a:avLst/>
            </a:prstGeom>
            <a:solidFill>
              <a:srgbClr val="F12E1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70FDD93D-9CA2-41FC-953B-E1DA3769E12D}"/>
                </a:ext>
              </a:extLst>
            </p:cNvPr>
            <p:cNvSpPr/>
            <p:nvPr/>
          </p:nvSpPr>
          <p:spPr>
            <a:xfrm>
              <a:off x="9750587" y="3890818"/>
              <a:ext cx="180000" cy="180000"/>
            </a:xfrm>
            <a:prstGeom prst="rect">
              <a:avLst/>
            </a:prstGeom>
            <a:solidFill>
              <a:srgbClr val="AA131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7B07D8BB-886C-4DD8-BE83-D1D89236D7C4}"/>
                </a:ext>
              </a:extLst>
            </p:cNvPr>
            <p:cNvSpPr txBox="1"/>
            <p:nvPr>
              <p:custDataLst>
                <p:tags r:id="rId19"/>
              </p:custDataLst>
            </p:nvPr>
          </p:nvSpPr>
          <p:spPr>
            <a:xfrm>
              <a:off x="9990343" y="3500249"/>
              <a:ext cx="132440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000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200</a:t>
              </a:r>
            </a:p>
          </p:txBody>
        </p:sp>
        <p:sp>
          <p:nvSpPr>
            <p:cNvPr id="20" name="TextBox 19">
              <a:extLst>
                <a:ext uri="{FF2B5EF4-FFF2-40B4-BE49-F238E27FC236}">
                  <a16:creationId xmlns:a16="http://schemas.microsoft.com/office/drawing/2014/main" id="{82588280-9570-4C47-854B-55E5855520E2}"/>
                </a:ext>
              </a:extLst>
            </p:cNvPr>
            <p:cNvSpPr txBox="1"/>
            <p:nvPr>
              <p:custDataLst>
                <p:tags r:id="rId20"/>
              </p:custDataLst>
            </p:nvPr>
          </p:nvSpPr>
          <p:spPr>
            <a:xfrm>
              <a:off x="9990343" y="3811541"/>
              <a:ext cx="81785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gt;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200</a:t>
              </a:r>
            </a:p>
          </p:txBody>
        </p:sp>
        <p:sp>
          <p:nvSpPr>
            <p:cNvPr id="30" name="Rectangle 29">
              <a:extLst>
                <a:ext uri="{FF2B5EF4-FFF2-40B4-BE49-F238E27FC236}">
                  <a16:creationId xmlns:a16="http://schemas.microsoft.com/office/drawing/2014/main" id="{E8D61F06-E564-4806-8691-3AC255200BE8}"/>
                </a:ext>
              </a:extLst>
            </p:cNvPr>
            <p:cNvSpPr/>
            <p:nvPr>
              <p:custDataLst>
                <p:tags r:id="rId21"/>
              </p:custDataLst>
            </p:nvPr>
          </p:nvSpPr>
          <p:spPr>
            <a:xfrm>
              <a:off x="9750587" y="1763799"/>
              <a:ext cx="180000" cy="180000"/>
            </a:xfrm>
            <a:prstGeom prst="rect">
              <a:avLst/>
            </a:prstGeom>
            <a:solidFill>
              <a:srgbClr val="4CB9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2186B9F7-F8F7-4F40-BFDF-925ACE69CA58}"/>
                </a:ext>
              </a:extLst>
            </p:cNvPr>
            <p:cNvSpPr txBox="1"/>
            <p:nvPr>
              <p:custDataLst>
                <p:tags r:id="rId22"/>
              </p:custDataLst>
            </p:nvPr>
          </p:nvSpPr>
          <p:spPr>
            <a:xfrm>
              <a:off x="9990343" y="1699911"/>
              <a:ext cx="93807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5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 </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10</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0</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FD1B206D-13F2-46AF-A707-682B8D88A63C}"/>
                </a:ext>
              </a:extLst>
            </p:cNvPr>
            <p:cNvSpPr/>
            <p:nvPr>
              <p:custDataLst>
                <p:tags r:id="rId23"/>
              </p:custDataLst>
            </p:nvPr>
          </p:nvSpPr>
          <p:spPr>
            <a:xfrm>
              <a:off x="9750587" y="1473457"/>
              <a:ext cx="180000" cy="180000"/>
            </a:xfrm>
            <a:prstGeom prst="rect">
              <a:avLst/>
            </a:prstGeom>
            <a:solidFill>
              <a:srgbClr val="AEDF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6E19C18A-0242-40A3-8DFB-2F38AED8C204}"/>
                </a:ext>
              </a:extLst>
            </p:cNvPr>
            <p:cNvSpPr txBox="1"/>
            <p:nvPr>
              <p:custDataLst>
                <p:tags r:id="rId24"/>
              </p:custDataLst>
            </p:nvPr>
          </p:nvSpPr>
          <p:spPr>
            <a:xfrm>
              <a:off x="9990343" y="1409569"/>
              <a:ext cx="82426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25 - 50</a:t>
              </a:r>
            </a:p>
          </p:txBody>
        </p:sp>
        <p:sp>
          <p:nvSpPr>
            <p:cNvPr id="27" name="Rectangle 26">
              <a:extLst>
                <a:ext uri="{FF2B5EF4-FFF2-40B4-BE49-F238E27FC236}">
                  <a16:creationId xmlns:a16="http://schemas.microsoft.com/office/drawing/2014/main" id="{E72C0F43-AA2D-4190-92A2-DA88FB03C4B4}"/>
                </a:ext>
              </a:extLst>
            </p:cNvPr>
            <p:cNvSpPr/>
            <p:nvPr>
              <p:custDataLst>
                <p:tags r:id="rId25"/>
              </p:custDataLst>
            </p:nvPr>
          </p:nvSpPr>
          <p:spPr>
            <a:xfrm>
              <a:off x="9750587" y="1187611"/>
              <a:ext cx="180000" cy="180000"/>
            </a:xfrm>
            <a:prstGeom prst="rect">
              <a:avLst/>
            </a:prstGeom>
            <a:solidFill>
              <a:srgbClr val="E5F4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F7F72A3E-D55C-4A77-863C-B5BD05190F52}"/>
                </a:ext>
              </a:extLst>
            </p:cNvPr>
            <p:cNvSpPr txBox="1"/>
            <p:nvPr>
              <p:custDataLst>
                <p:tags r:id="rId26"/>
              </p:custDataLst>
            </p:nvPr>
          </p:nvSpPr>
          <p:spPr>
            <a:xfrm>
              <a:off x="9990343" y="1123723"/>
              <a:ext cx="59022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lt;</a:t>
              </a: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 25</a:t>
              </a:r>
            </a:p>
          </p:txBody>
        </p:sp>
      </p:grpSp>
      <p:pic>
        <p:nvPicPr>
          <p:cNvPr id="39" name="Obrázek 38">
            <a:extLst>
              <a:ext uri="{FF2B5EF4-FFF2-40B4-BE49-F238E27FC236}">
                <a16:creationId xmlns:a16="http://schemas.microsoft.com/office/drawing/2014/main" id="{F248BF76-04AF-45DC-94BD-480740CEC728}"/>
              </a:ext>
            </a:extLst>
          </p:cNvPr>
          <p:cNvPicPr>
            <a:picLocks noChangeAspect="1"/>
          </p:cNvPicPr>
          <p:nvPr>
            <p:custDataLst>
              <p:tags r:id="rId3"/>
            </p:custDataLst>
          </p:nvPr>
        </p:nvPicPr>
        <p:blipFill>
          <a:blip r:embed="rId28">
            <a:extLst>
              <a:ext uri="{28A0092B-C50C-407E-A947-70E740481C1C}">
                <a14:useLocalDpi xmlns:a14="http://schemas.microsoft.com/office/drawing/2010/main" val="0"/>
              </a:ext>
            </a:extLst>
          </a:blip>
          <a:srcRect/>
          <a:stretch/>
        </p:blipFill>
        <p:spPr>
          <a:xfrm>
            <a:off x="209211" y="1387339"/>
            <a:ext cx="3508075" cy="2152267"/>
          </a:xfrm>
          <a:prstGeom prst="rect">
            <a:avLst/>
          </a:prstGeom>
        </p:spPr>
      </p:pic>
      <p:pic>
        <p:nvPicPr>
          <p:cNvPr id="40" name="Obrázek 39">
            <a:extLst>
              <a:ext uri="{FF2B5EF4-FFF2-40B4-BE49-F238E27FC236}">
                <a16:creationId xmlns:a16="http://schemas.microsoft.com/office/drawing/2014/main" id="{095A0CDF-F5D2-4923-8E5B-0AFE8A86FC23}"/>
              </a:ext>
            </a:extLst>
          </p:cNvPr>
          <p:cNvPicPr>
            <a:picLocks noChangeAspect="1"/>
          </p:cNvPicPr>
          <p:nvPr>
            <p:custDataLst>
              <p:tags r:id="rId4"/>
            </p:custDataLst>
          </p:nvPr>
        </p:nvPicPr>
        <p:blipFill>
          <a:blip r:embed="rId29">
            <a:extLst>
              <a:ext uri="{28A0092B-C50C-407E-A947-70E740481C1C}">
                <a14:useLocalDpi xmlns:a14="http://schemas.microsoft.com/office/drawing/2010/main" val="0"/>
              </a:ext>
            </a:extLst>
          </a:blip>
          <a:srcRect l="15" r="15"/>
          <a:stretch/>
        </p:blipFill>
        <p:spPr>
          <a:xfrm>
            <a:off x="3966301" y="1267191"/>
            <a:ext cx="3519636" cy="2160000"/>
          </a:xfrm>
          <a:prstGeom prst="rect">
            <a:avLst/>
          </a:prstGeom>
        </p:spPr>
      </p:pic>
      <p:pic>
        <p:nvPicPr>
          <p:cNvPr id="36" name="Obrázek 35">
            <a:extLst>
              <a:ext uri="{FF2B5EF4-FFF2-40B4-BE49-F238E27FC236}">
                <a16:creationId xmlns:a16="http://schemas.microsoft.com/office/drawing/2014/main" id="{28CE3C5B-AB17-442E-A5EE-900443405E60}"/>
              </a:ext>
            </a:extLst>
          </p:cNvPr>
          <p:cNvPicPr>
            <a:picLocks noChangeAspect="1"/>
          </p:cNvPicPr>
          <p:nvPr>
            <p:custDataLst>
              <p:tags r:id="rId5"/>
            </p:custDataLst>
          </p:nvPr>
        </p:nvPicPr>
        <p:blipFill>
          <a:blip r:embed="rId30">
            <a:extLst>
              <a:ext uri="{28A0092B-C50C-407E-A947-70E740481C1C}">
                <a14:useLocalDpi xmlns:a14="http://schemas.microsoft.com/office/drawing/2010/main" val="0"/>
              </a:ext>
            </a:extLst>
          </a:blip>
          <a:srcRect t="3302" b="3302"/>
          <a:stretch/>
        </p:blipFill>
        <p:spPr>
          <a:xfrm>
            <a:off x="7939841" y="1278911"/>
            <a:ext cx="3516128" cy="2157848"/>
          </a:xfrm>
          <a:prstGeom prst="rect">
            <a:avLst/>
          </a:prstGeom>
        </p:spPr>
      </p:pic>
      <p:pic>
        <p:nvPicPr>
          <p:cNvPr id="41" name="Obrázek 40">
            <a:extLst>
              <a:ext uri="{FF2B5EF4-FFF2-40B4-BE49-F238E27FC236}">
                <a16:creationId xmlns:a16="http://schemas.microsoft.com/office/drawing/2014/main" id="{1C980657-BBCF-47F6-A530-304CC760838F}"/>
              </a:ext>
            </a:extLst>
          </p:cNvPr>
          <p:cNvPicPr>
            <a:picLocks noChangeAspect="1"/>
          </p:cNvPicPr>
          <p:nvPr>
            <p:custDataLst>
              <p:tags r:id="rId6"/>
            </p:custDataLst>
          </p:nvPr>
        </p:nvPicPr>
        <p:blipFill>
          <a:blip r:embed="rId31">
            <a:extLst>
              <a:ext uri="{28A0092B-C50C-407E-A947-70E740481C1C}">
                <a14:useLocalDpi xmlns:a14="http://schemas.microsoft.com/office/drawing/2010/main" val="0"/>
              </a:ext>
            </a:extLst>
          </a:blip>
          <a:srcRect t="248" b="248"/>
          <a:stretch/>
        </p:blipFill>
        <p:spPr>
          <a:xfrm>
            <a:off x="209212" y="4214752"/>
            <a:ext cx="3757090" cy="2471278"/>
          </a:xfrm>
          <a:prstGeom prst="rect">
            <a:avLst/>
          </a:prstGeom>
        </p:spPr>
      </p:pic>
      <p:sp>
        <p:nvSpPr>
          <p:cNvPr id="42" name="TextBox 29">
            <a:extLst>
              <a:ext uri="{FF2B5EF4-FFF2-40B4-BE49-F238E27FC236}">
                <a16:creationId xmlns:a16="http://schemas.microsoft.com/office/drawing/2014/main" id="{A11BCACE-CE74-40E9-BBC0-21A33CF770FD}"/>
              </a:ext>
            </a:extLst>
          </p:cNvPr>
          <p:cNvSpPr txBox="1"/>
          <p:nvPr>
            <p:custDataLst>
              <p:tags r:id="rId7"/>
            </p:custDataLst>
          </p:nvPr>
        </p:nvSpPr>
        <p:spPr>
          <a:xfrm>
            <a:off x="782402" y="4000508"/>
            <a:ext cx="16081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15. 01. 2022</a:t>
            </a:r>
          </a:p>
        </p:txBody>
      </p:sp>
      <p:sp>
        <p:nvSpPr>
          <p:cNvPr id="44" name="TextBox 29">
            <a:extLst>
              <a:ext uri="{FF2B5EF4-FFF2-40B4-BE49-F238E27FC236}">
                <a16:creationId xmlns:a16="http://schemas.microsoft.com/office/drawing/2014/main" id="{48192989-3B0D-4C5F-8FD5-CDB98F620467}"/>
              </a:ext>
            </a:extLst>
          </p:cNvPr>
          <p:cNvSpPr txBox="1"/>
          <p:nvPr>
            <p:custDataLst>
              <p:tags r:id="rId8"/>
            </p:custDataLst>
          </p:nvPr>
        </p:nvSpPr>
        <p:spPr>
          <a:xfrm>
            <a:off x="789488" y="891370"/>
            <a:ext cx="159396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11. 12. 2021</a:t>
            </a:r>
          </a:p>
        </p:txBody>
      </p:sp>
      <p:sp>
        <p:nvSpPr>
          <p:cNvPr id="46" name="TextBox 29">
            <a:extLst>
              <a:ext uri="{FF2B5EF4-FFF2-40B4-BE49-F238E27FC236}">
                <a16:creationId xmlns:a16="http://schemas.microsoft.com/office/drawing/2014/main" id="{B8B3983E-3063-4C79-A5E3-774E56C26EE3}"/>
              </a:ext>
            </a:extLst>
          </p:cNvPr>
          <p:cNvSpPr txBox="1"/>
          <p:nvPr>
            <p:custDataLst>
              <p:tags r:id="rId9"/>
            </p:custDataLst>
          </p:nvPr>
        </p:nvSpPr>
        <p:spPr>
          <a:xfrm>
            <a:off x="4586730" y="929565"/>
            <a:ext cx="16081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21. 12. 2021</a:t>
            </a:r>
          </a:p>
        </p:txBody>
      </p:sp>
      <p:sp>
        <p:nvSpPr>
          <p:cNvPr id="47" name="TextBox 29">
            <a:extLst>
              <a:ext uri="{FF2B5EF4-FFF2-40B4-BE49-F238E27FC236}">
                <a16:creationId xmlns:a16="http://schemas.microsoft.com/office/drawing/2014/main" id="{BE16DC96-48EE-4480-BB57-92C14BEBAEA5}"/>
              </a:ext>
            </a:extLst>
          </p:cNvPr>
          <p:cNvSpPr txBox="1"/>
          <p:nvPr>
            <p:custDataLst>
              <p:tags r:id="rId10"/>
            </p:custDataLst>
          </p:nvPr>
        </p:nvSpPr>
        <p:spPr>
          <a:xfrm>
            <a:off x="8816147" y="895663"/>
            <a:ext cx="16081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08. 01. 2022</a:t>
            </a:r>
          </a:p>
        </p:txBody>
      </p:sp>
      <p:sp>
        <p:nvSpPr>
          <p:cNvPr id="35" name="TextBox 29">
            <a:extLst>
              <a:ext uri="{FF2B5EF4-FFF2-40B4-BE49-F238E27FC236}">
                <a16:creationId xmlns:a16="http://schemas.microsoft.com/office/drawing/2014/main" id="{F68A8697-D0EB-4FF7-B08E-A4F5FA98F9F7}"/>
              </a:ext>
            </a:extLst>
          </p:cNvPr>
          <p:cNvSpPr txBox="1"/>
          <p:nvPr>
            <p:custDataLst>
              <p:tags r:id="rId11"/>
            </p:custDataLst>
          </p:nvPr>
        </p:nvSpPr>
        <p:spPr>
          <a:xfrm>
            <a:off x="4427546" y="3965574"/>
            <a:ext cx="160813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rPr>
              <a:t>18. 01. 2022</a:t>
            </a:r>
          </a:p>
        </p:txBody>
      </p:sp>
      <p:pic>
        <p:nvPicPr>
          <p:cNvPr id="4" name="Obrázek 3">
            <a:extLst>
              <a:ext uri="{FF2B5EF4-FFF2-40B4-BE49-F238E27FC236}">
                <a16:creationId xmlns:a16="http://schemas.microsoft.com/office/drawing/2014/main" id="{83402344-6D27-4757-AE74-598F6DC0F5C6}"/>
              </a:ext>
            </a:extLst>
          </p:cNvPr>
          <p:cNvPicPr>
            <a:picLocks noChangeAspect="1"/>
          </p:cNvPicPr>
          <p:nvPr>
            <p:custDataLst>
              <p:tags r:id="rId12"/>
            </p:custDataLst>
          </p:nvPr>
        </p:nvPicPr>
        <p:blipFill>
          <a:blip r:embed="rId32"/>
          <a:stretch>
            <a:fillRect/>
          </a:stretch>
        </p:blipFill>
        <p:spPr>
          <a:xfrm>
            <a:off x="4241950" y="4354862"/>
            <a:ext cx="3697892" cy="2312189"/>
          </a:xfrm>
          <a:prstGeom prst="rect">
            <a:avLst/>
          </a:prstGeom>
        </p:spPr>
      </p:pic>
    </p:spTree>
    <p:extLst>
      <p:ext uri="{BB962C8B-B14F-4D97-AF65-F5344CB8AC3E}">
        <p14:creationId xmlns:p14="http://schemas.microsoft.com/office/powerpoint/2010/main" val="28445987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Počty COVID-19 pozitivních v ČR na 100 000 v populaci</a:t>
            </a: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1"/>
            </p:custDataLst>
          </p:nvPr>
        </p:nvGraphicFramePr>
        <p:xfrm>
          <a:off x="1311607" y="1525110"/>
          <a:ext cx="10661843" cy="5365347"/>
        </p:xfrm>
        <a:graphic>
          <a:graphicData uri="http://schemas.openxmlformats.org/drawingml/2006/chart">
            <c:chart xmlns:c="http://schemas.openxmlformats.org/drawingml/2006/chart" xmlns:r="http://schemas.openxmlformats.org/officeDocument/2006/relationships" r:id="rId5"/>
          </a:graphicData>
        </a:graphic>
      </p:graphicFrame>
      <p:sp>
        <p:nvSpPr>
          <p:cNvPr id="12" name="Obdélník 11">
            <a:extLst>
              <a:ext uri="{FF2B5EF4-FFF2-40B4-BE49-F238E27FC236}">
                <a16:creationId xmlns:a16="http://schemas.microsoft.com/office/drawing/2014/main" id="{47330F7D-030D-49C8-BE37-CEFFFE48B489}"/>
              </a:ext>
            </a:extLst>
          </p:cNvPr>
          <p:cNvSpPr/>
          <p:nvPr>
            <p:custDataLst>
              <p:tags r:id="rId2"/>
            </p:custDataLst>
          </p:nvPr>
        </p:nvSpPr>
        <p:spPr>
          <a:xfrm>
            <a:off x="137649" y="1757297"/>
            <a:ext cx="1254858" cy="2800767"/>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COVID-19 pozitivních na 100 000 osob v dané věkové skupině v populaci (suma za celý časový úsek)</a:t>
            </a:r>
          </a:p>
        </p:txBody>
      </p:sp>
      <p:sp>
        <p:nvSpPr>
          <p:cNvPr id="13" name="TextovéPole 12">
            <a:extLst>
              <a:ext uri="{FF2B5EF4-FFF2-40B4-BE49-F238E27FC236}">
                <a16:creationId xmlns:a16="http://schemas.microsoft.com/office/drawing/2014/main" id="{018CB2AB-0F5A-4FCE-8034-F8F60A89895F}"/>
              </a:ext>
            </a:extLst>
          </p:cNvPr>
          <p:cNvSpPr txBox="1"/>
          <p:nvPr>
            <p:custDataLst>
              <p:tags r:id="rId3"/>
            </p:custDataLst>
          </p:nvPr>
        </p:nvSpPr>
        <p:spPr>
          <a:xfrm>
            <a:off x="502442" y="781929"/>
            <a:ext cx="11344275"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Populační zátěž významně narůstá v generac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mladých dospělých do 50 let věku </a:t>
            </a:r>
            <a:endParaRPr kumimoji="0" lang="cs-CZ" sz="2200" b="1" i="0" u="sng"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892819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7651307" cy="576000"/>
          </a:xfrm>
        </p:spPr>
        <p:txBody>
          <a:bodyPr/>
          <a:lstStyle/>
          <a:p>
            <a:r>
              <a:rPr lang="cs-CZ" dirty="0"/>
              <a:t>Počty COVID-19 pozitivních v ČR na 100 000 v populaci</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2162175" y="6545102"/>
            <a:ext cx="707707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ISIN – Informační systém infekční nemocí</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2"/>
            </p:custDataLst>
          </p:nvPr>
        </p:nvGraphicFramePr>
        <p:xfrm>
          <a:off x="1392508" y="1399769"/>
          <a:ext cx="10661843" cy="5365347"/>
        </p:xfrm>
        <a:graphic>
          <a:graphicData uri="http://schemas.openxmlformats.org/drawingml/2006/chart">
            <c:chart xmlns:c="http://schemas.openxmlformats.org/drawingml/2006/chart" xmlns:r="http://schemas.openxmlformats.org/officeDocument/2006/relationships" r:id="rId5"/>
          </a:graphicData>
        </a:graphic>
      </p:graphicFrame>
      <p:sp>
        <p:nvSpPr>
          <p:cNvPr id="12" name="Obdélník 11">
            <a:extLst>
              <a:ext uri="{FF2B5EF4-FFF2-40B4-BE49-F238E27FC236}">
                <a16:creationId xmlns:a16="http://schemas.microsoft.com/office/drawing/2014/main" id="{47330F7D-030D-49C8-BE37-CEFFFE48B489}"/>
              </a:ext>
            </a:extLst>
          </p:cNvPr>
          <p:cNvSpPr/>
          <p:nvPr/>
        </p:nvSpPr>
        <p:spPr>
          <a:xfrm>
            <a:off x="137649" y="2386547"/>
            <a:ext cx="1254858" cy="2800767"/>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COVID-19 pozitivních na 100 000 osob v dané věkové skupině v populaci (suma za celý časový úsek)</a:t>
            </a:r>
          </a:p>
        </p:txBody>
      </p:sp>
      <p:sp>
        <p:nvSpPr>
          <p:cNvPr id="9" name="TextovéPole 8">
            <a:extLst>
              <a:ext uri="{FF2B5EF4-FFF2-40B4-BE49-F238E27FC236}">
                <a16:creationId xmlns:a16="http://schemas.microsoft.com/office/drawing/2014/main" id="{09A40CF8-8C49-4607-9E05-0F423529C685}"/>
              </a:ext>
            </a:extLst>
          </p:cNvPr>
          <p:cNvSpPr txBox="1"/>
          <p:nvPr>
            <p:custDataLst>
              <p:tags r:id="rId3"/>
            </p:custDataLst>
          </p:nvPr>
        </p:nvSpPr>
        <p:spPr>
          <a:xfrm>
            <a:off x="502442" y="714554"/>
            <a:ext cx="11344275"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Populační zátěž významně narůstá v populac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dětí a mladistvých ve věku 12 – 19 let</a:t>
            </a:r>
            <a:endParaRPr kumimoji="0" lang="cs-CZ" sz="2200" b="1" i="0" u="sng"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664679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ázek 4">
            <a:extLst>
              <a:ext uri="{FF2B5EF4-FFF2-40B4-BE49-F238E27FC236}">
                <a16:creationId xmlns:a16="http://schemas.microsoft.com/office/drawing/2014/main" id="{8EA0D135-04BF-41F7-8EE8-1B79CFEAF5C9}"/>
              </a:ext>
            </a:extLst>
          </p:cNvPr>
          <p:cNvPicPr>
            <a:picLocks noChangeAspect="1"/>
          </p:cNvPicPr>
          <p:nvPr/>
        </p:nvPicPr>
        <p:blipFill>
          <a:blip r:embed="rId3"/>
          <a:stretch>
            <a:fillRect/>
          </a:stretch>
        </p:blipFill>
        <p:spPr>
          <a:xfrm>
            <a:off x="812328" y="2181997"/>
            <a:ext cx="7285126" cy="3384000"/>
          </a:xfrm>
          <a:prstGeom prst="rect">
            <a:avLst/>
          </a:prstGeom>
        </p:spPr>
      </p:pic>
      <p:sp>
        <p:nvSpPr>
          <p:cNvPr id="23" name="TextovéPole 12">
            <a:extLst>
              <a:ext uri="{FF2B5EF4-FFF2-40B4-BE49-F238E27FC236}">
                <a16:creationId xmlns:a16="http://schemas.microsoft.com/office/drawing/2014/main" id="{9119B67F-49E4-4A7A-BA36-DAE66AAD4855}"/>
              </a:ext>
            </a:extLst>
          </p:cNvPr>
          <p:cNvSpPr txBox="1"/>
          <p:nvPr/>
        </p:nvSpPr>
        <p:spPr>
          <a:xfrm rot="16200000">
            <a:off x="-814628" y="3752190"/>
            <a:ext cx="3032408"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Nové případy onemocnění za den</a:t>
            </a:r>
          </a:p>
        </p:txBody>
      </p:sp>
      <p:sp>
        <p:nvSpPr>
          <p:cNvPr id="16" name="TextovéPole 15">
            <a:extLst>
              <a:ext uri="{FF2B5EF4-FFF2-40B4-BE49-F238E27FC236}">
                <a16:creationId xmlns:a16="http://schemas.microsoft.com/office/drawing/2014/main" id="{C11F9500-ED81-45FD-AF3C-90840EEBF1C3}"/>
              </a:ext>
            </a:extLst>
          </p:cNvPr>
          <p:cNvSpPr txBox="1"/>
          <p:nvPr/>
        </p:nvSpPr>
        <p:spPr>
          <a:xfrm>
            <a:off x="169916" y="6054090"/>
            <a:ext cx="80344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Snímek prezentuje výsledky simulace prostřednictvím epidemiologického modelu </a:t>
            </a:r>
            <a:r>
              <a:rPr kumimoji="0" lang="cs-CZ" sz="1100" b="0" i="1" u="none" strike="noStrike" kern="1200" cap="none" spc="0" normalizeH="0" baseline="0" noProof="0" dirty="0" err="1">
                <a:ln>
                  <a:noFill/>
                </a:ln>
                <a:solidFill>
                  <a:prstClr val="black"/>
                </a:solidFill>
                <a:effectLst/>
                <a:uLnTx/>
                <a:uFillTx/>
                <a:latin typeface="Arial" panose="020B0604020202020204"/>
                <a:ea typeface="+mn-ea"/>
                <a:cs typeface="+mn-cs"/>
              </a:rPr>
              <a:t>SEIRV</a:t>
            </a: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 který zahrnuje vybrané předpoklady a slouží ke zkoumání dopadu změny různých parametrů epidemie. Vzhledem k neurčitostem ve struktuře modelu (například limitované znalosti o skutečné vnímavosti populace k viru a k jeho novým variantám) je nezbytné výsledky brát jako orientační, umožňující zejména celkové srovnávání jednotlivých scénářů, nikoli konkrétní předpověď pro určité období. </a:t>
            </a:r>
          </a:p>
        </p:txBody>
      </p:sp>
      <p:graphicFrame>
        <p:nvGraphicFramePr>
          <p:cNvPr id="21" name="Tabulka 10">
            <a:extLst>
              <a:ext uri="{FF2B5EF4-FFF2-40B4-BE49-F238E27FC236}">
                <a16:creationId xmlns:a16="http://schemas.microsoft.com/office/drawing/2014/main" id="{E5273A5B-6F76-4409-B5F3-FB52F2CC9C0A}"/>
              </a:ext>
            </a:extLst>
          </p:cNvPr>
          <p:cNvGraphicFramePr>
            <a:graphicFrameLocks noGrp="1"/>
          </p:cNvGraphicFramePr>
          <p:nvPr/>
        </p:nvGraphicFramePr>
        <p:xfrm>
          <a:off x="206492" y="5457290"/>
          <a:ext cx="7738918" cy="555387"/>
        </p:xfrm>
        <a:graphic>
          <a:graphicData uri="http://schemas.openxmlformats.org/drawingml/2006/table">
            <a:tbl>
              <a:tblPr firstRow="1" bandRow="1">
                <a:tableStyleId>{5C22544A-7EE6-4342-B048-85BDC9FD1C3A}</a:tableStyleId>
              </a:tblPr>
              <a:tblGrid>
                <a:gridCol w="1165108">
                  <a:extLst>
                    <a:ext uri="{9D8B030D-6E8A-4147-A177-3AD203B41FA5}">
                      <a16:colId xmlns:a16="http://schemas.microsoft.com/office/drawing/2014/main" val="2668584180"/>
                    </a:ext>
                  </a:extLst>
                </a:gridCol>
                <a:gridCol w="1314762">
                  <a:extLst>
                    <a:ext uri="{9D8B030D-6E8A-4147-A177-3AD203B41FA5}">
                      <a16:colId xmlns:a16="http://schemas.microsoft.com/office/drawing/2014/main" val="805271721"/>
                    </a:ext>
                  </a:extLst>
                </a:gridCol>
                <a:gridCol w="1314762">
                  <a:extLst>
                    <a:ext uri="{9D8B030D-6E8A-4147-A177-3AD203B41FA5}">
                      <a16:colId xmlns:a16="http://schemas.microsoft.com/office/drawing/2014/main" val="148378157"/>
                    </a:ext>
                  </a:extLst>
                </a:gridCol>
                <a:gridCol w="1314762">
                  <a:extLst>
                    <a:ext uri="{9D8B030D-6E8A-4147-A177-3AD203B41FA5}">
                      <a16:colId xmlns:a16="http://schemas.microsoft.com/office/drawing/2014/main" val="3981597030"/>
                    </a:ext>
                  </a:extLst>
                </a:gridCol>
                <a:gridCol w="1314762">
                  <a:extLst>
                    <a:ext uri="{9D8B030D-6E8A-4147-A177-3AD203B41FA5}">
                      <a16:colId xmlns:a16="http://schemas.microsoft.com/office/drawing/2014/main" val="2471926991"/>
                    </a:ext>
                  </a:extLst>
                </a:gridCol>
                <a:gridCol w="1314762">
                  <a:extLst>
                    <a:ext uri="{9D8B030D-6E8A-4147-A177-3AD203B41FA5}">
                      <a16:colId xmlns:a16="http://schemas.microsoft.com/office/drawing/2014/main" val="3338665376"/>
                    </a:ext>
                  </a:extLst>
                </a:gridCol>
              </a:tblGrid>
              <a:tr h="275016">
                <a:tc>
                  <a:txBody>
                    <a:bodyPr/>
                    <a:lstStyle/>
                    <a:p>
                      <a:pPr algn="ctr" fontAlgn="b"/>
                      <a:endParaRPr lang="cs-CZ" sz="1400" b="1" i="0" u="none" strike="noStrike" noProof="0" dirty="0">
                        <a:solidFill>
                          <a:schemeClr val="tx1"/>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září</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říj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listopa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prosinec</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en-US" sz="1400" b="0" i="0" u="none" strike="noStrike" dirty="0" err="1">
                          <a:solidFill>
                            <a:srgbClr val="000000"/>
                          </a:solidFill>
                          <a:effectLst/>
                          <a:latin typeface="Calibri" panose="020F0502020204030204" pitchFamily="34" charset="0"/>
                        </a:rPr>
                        <a:t>leden</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3408861870"/>
                  </a:ext>
                </a:extLst>
              </a:tr>
              <a:tr h="280371">
                <a:tc>
                  <a:txBody>
                    <a:bodyPr/>
                    <a:lstStyle/>
                    <a:p>
                      <a:pPr algn="ctr" fontAlgn="b"/>
                      <a:r>
                        <a:rPr lang="cs-CZ" sz="1400" b="1" i="0" u="none" strike="noStrike" noProof="0">
                          <a:solidFill>
                            <a:schemeClr val="tx1"/>
                          </a:solidFill>
                          <a:effectLst/>
                          <a:latin typeface="Calibri" panose="020F0502020204030204" pitchFamily="34" charset="0"/>
                        </a:rPr>
                        <a:t>Nově za měsíc</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4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16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Calibri" panose="020F0502020204030204" pitchFamily="34" charset="0"/>
                        </a:rPr>
                        <a:t>450 000</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30</a:t>
                      </a:r>
                      <a:r>
                        <a:rPr lang="en-US" sz="1400" b="0" i="0" u="none" strike="noStrike" dirty="0">
                          <a:solidFill>
                            <a:srgbClr val="000000"/>
                          </a:solidFill>
                          <a:effectLst/>
                          <a:latin typeface="Calibri" panose="020F0502020204030204" pitchFamily="34" charset="0"/>
                        </a:rPr>
                        <a:t>0</a:t>
                      </a:r>
                      <a:r>
                        <a:rPr lang="cs-CZ" sz="1400" b="0" i="0" u="none" strike="noStrike" dirty="0">
                          <a:solidFill>
                            <a:srgbClr val="000000"/>
                          </a:solidFill>
                          <a:effectLst/>
                          <a:latin typeface="Calibri" panose="020F0502020204030204" pitchFamily="34" charset="0"/>
                        </a:rPr>
                        <a:t>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373950241"/>
                  </a:ext>
                </a:extLst>
              </a:tr>
            </a:tbl>
          </a:graphicData>
        </a:graphic>
      </p:graphicFrame>
      <p:sp>
        <p:nvSpPr>
          <p:cNvPr id="15" name="TextovéPole 14">
            <a:extLst>
              <a:ext uri="{FF2B5EF4-FFF2-40B4-BE49-F238E27FC236}">
                <a16:creationId xmlns:a16="http://schemas.microsoft.com/office/drawing/2014/main" id="{F2D0ABDF-D70C-42D4-9DD7-0E8DFBFEAE48}"/>
              </a:ext>
            </a:extLst>
          </p:cNvPr>
          <p:cNvSpPr txBox="1"/>
          <p:nvPr/>
        </p:nvSpPr>
        <p:spPr>
          <a:xfrm>
            <a:off x="200608" y="198705"/>
            <a:ext cx="11796603" cy="400110"/>
          </a:xfrm>
          <a:prstGeom prst="rect">
            <a:avLst/>
          </a:prstGeom>
          <a:solidFill>
            <a:srgbClr val="D3114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Základní výstup simulačního modelu: scénář 1 – dopad varianty Omikron bez významného průlomu imunity</a:t>
            </a:r>
          </a:p>
        </p:txBody>
      </p:sp>
      <p:sp>
        <p:nvSpPr>
          <p:cNvPr id="17" name="TextovéPole 25">
            <a:extLst>
              <a:ext uri="{FF2B5EF4-FFF2-40B4-BE49-F238E27FC236}">
                <a16:creationId xmlns:a16="http://schemas.microsoft.com/office/drawing/2014/main" id="{E1F0E25E-6A0F-413C-A961-67D5A56AC186}"/>
              </a:ext>
            </a:extLst>
          </p:cNvPr>
          <p:cNvSpPr txBox="1"/>
          <p:nvPr/>
        </p:nvSpPr>
        <p:spPr>
          <a:xfrm>
            <a:off x="338328" y="1428086"/>
            <a:ext cx="4869176" cy="276999"/>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bez periodicity v rámci týdne, odpovídá cca týdenním klouzavým průměrům</a:t>
            </a:r>
          </a:p>
        </p:txBody>
      </p:sp>
      <p:cxnSp>
        <p:nvCxnSpPr>
          <p:cNvPr id="19" name="Přímá spojnice 18">
            <a:extLst>
              <a:ext uri="{FF2B5EF4-FFF2-40B4-BE49-F238E27FC236}">
                <a16:creationId xmlns:a16="http://schemas.microsoft.com/office/drawing/2014/main" id="{4BB92862-FE07-40D4-A96F-0C14187923E4}"/>
              </a:ext>
            </a:extLst>
          </p:cNvPr>
          <p:cNvCxnSpPr/>
          <p:nvPr/>
        </p:nvCxnSpPr>
        <p:spPr>
          <a:xfrm>
            <a:off x="5641449" y="1294480"/>
            <a:ext cx="496389" cy="174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0" name="TextovéPole 24">
            <a:extLst>
              <a:ext uri="{FF2B5EF4-FFF2-40B4-BE49-F238E27FC236}">
                <a16:creationId xmlns:a16="http://schemas.microsoft.com/office/drawing/2014/main" id="{E0D39CAA-1333-4347-9C20-3AAC85B3D439}"/>
              </a:ext>
            </a:extLst>
          </p:cNvPr>
          <p:cNvSpPr txBox="1"/>
          <p:nvPr/>
        </p:nvSpPr>
        <p:spPr>
          <a:xfrm>
            <a:off x="6172672" y="1132016"/>
            <a:ext cx="2010177"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Model (simulace)</a:t>
            </a:r>
          </a:p>
        </p:txBody>
      </p:sp>
      <p:sp>
        <p:nvSpPr>
          <p:cNvPr id="22" name="TextovéPole 21">
            <a:extLst>
              <a:ext uri="{FF2B5EF4-FFF2-40B4-BE49-F238E27FC236}">
                <a16:creationId xmlns:a16="http://schemas.microsoft.com/office/drawing/2014/main" id="{CD4B5FAE-055F-4A24-A99C-0072C44D1E93}"/>
              </a:ext>
            </a:extLst>
          </p:cNvPr>
          <p:cNvSpPr txBox="1"/>
          <p:nvPr/>
        </p:nvSpPr>
        <p:spPr>
          <a:xfrm>
            <a:off x="338328" y="957028"/>
            <a:ext cx="54251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FFC000"/>
                </a:solidFill>
                <a:effectLst/>
                <a:uLnTx/>
                <a:uFillTx/>
                <a:latin typeface="Calibri" panose="020F0502020204030204"/>
                <a:ea typeface="+mn-ea"/>
                <a:cs typeface="+mn-cs"/>
              </a:rPr>
              <a:t>oranžově</a:t>
            </a: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dosud pozorovaná reálná data</a:t>
            </a:r>
            <a:b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7denní klouzavý průměr, časové </a:t>
            </a:r>
            <a:r>
              <a:rPr kumimoji="0" lang="cs-CZ" sz="1200" b="0" i="0" u="sng" strike="noStrike" kern="1200" cap="none" spc="0" normalizeH="0" baseline="0" noProof="0" dirty="0">
                <a:ln>
                  <a:noFill/>
                </a:ln>
                <a:solidFill>
                  <a:prstClr val="black"/>
                </a:solidFill>
                <a:effectLst/>
                <a:uLnTx/>
                <a:uFillTx/>
                <a:latin typeface="Calibri" panose="020F0502020204030204"/>
                <a:ea typeface="+mn-ea"/>
                <a:cs typeface="+mn-cs"/>
              </a:rPr>
              <a:t>zpoždění k hlášení 4 dny</a:t>
            </a:r>
            <a:endParaRPr kumimoji="0" lang="cs-CZ" sz="16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Podnadpis 2">
            <a:extLst>
              <a:ext uri="{FF2B5EF4-FFF2-40B4-BE49-F238E27FC236}">
                <a16:creationId xmlns:a16="http://schemas.microsoft.com/office/drawing/2014/main" id="{0C0CE2CB-6CBE-430E-8CC4-E423A78C245D}"/>
              </a:ext>
            </a:extLst>
          </p:cNvPr>
          <p:cNvSpPr txBox="1">
            <a:spLocks/>
          </p:cNvSpPr>
          <p:nvPr>
            <p:custDataLst>
              <p:tags r:id="rId1"/>
            </p:custDataLst>
          </p:nvPr>
        </p:nvSpPr>
        <p:spPr>
          <a:xfrm>
            <a:off x="8204340" y="1865433"/>
            <a:ext cx="3831783" cy="45134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Model simulující situaci s navýšením základní reprodukce viru o 100% (realistický scénář), spojeno s předpokladem počtu rizikových kontaktů v populaci bez redukce. Předpoklady kalkulují pouze s nákazou pravděpodobně primárně citlivé populace, tedy osob bez jakékoli imunitní ochrany (nákaza, vakcinace) v uplynulých 6 měsících: cca 3 mil. osob, z toho 300 – 400tis. zdravotně zranitelných. Výstup dokládá potenciál </a:t>
            </a:r>
            <a:r>
              <a:rPr kumimoji="0" lang="cs-CZ" sz="2000" b="1" i="0" u="none" strike="noStrike" kern="1200" cap="none" spc="0" normalizeH="0" baseline="0" noProof="0" dirty="0" err="1">
                <a:ln>
                  <a:noFill/>
                </a:ln>
                <a:solidFill>
                  <a:srgbClr val="0000FF"/>
                </a:solidFill>
                <a:effectLst/>
                <a:uLnTx/>
                <a:uFillTx/>
                <a:latin typeface="Calibri" panose="020F0502020204030204"/>
                <a:ea typeface="+mn-ea"/>
                <a:cs typeface="+mn-cs"/>
              </a:rPr>
              <a:t>Omicronu</a:t>
            </a: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 dosáhnout minimálně stejné zátěže populace jako varianta Delta.   </a:t>
            </a:r>
          </a:p>
        </p:txBody>
      </p:sp>
      <p:sp>
        <p:nvSpPr>
          <p:cNvPr id="13" name="TextovéPole 12">
            <a:extLst>
              <a:ext uri="{FF2B5EF4-FFF2-40B4-BE49-F238E27FC236}">
                <a16:creationId xmlns:a16="http://schemas.microsoft.com/office/drawing/2014/main" id="{F4625089-AD56-4AA9-ACB8-E6DCD218A5EE}"/>
              </a:ext>
            </a:extLst>
          </p:cNvPr>
          <p:cNvSpPr txBox="1"/>
          <p:nvPr/>
        </p:nvSpPr>
        <p:spPr>
          <a:xfrm>
            <a:off x="8995129" y="680749"/>
            <a:ext cx="3002082" cy="369332"/>
          </a:xfrm>
          <a:prstGeom prst="rect">
            <a:avLst/>
          </a:prstGeom>
          <a:solidFill>
            <a:srgbClr val="D3114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Scénář realistický</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6268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0" y="0"/>
            <a:ext cx="12192000" cy="9920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Zvýšenou zátěž populace mladých lidí ve věku 16+, zejména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v Praze a ve Středočeském kraji, potvrdily i výsledky testování ve školách</a:t>
            </a:r>
          </a:p>
        </p:txBody>
      </p:sp>
      <p:sp>
        <p:nvSpPr>
          <p:cNvPr id="17" name="Obdélník 16">
            <a:extLst>
              <a:ext uri="{FF2B5EF4-FFF2-40B4-BE49-F238E27FC236}">
                <a16:creationId xmlns:a16="http://schemas.microsoft.com/office/drawing/2014/main" id="{E71907A4-B4DF-4F92-86DB-F80CD3AE6AE7}"/>
              </a:ext>
            </a:extLst>
          </p:cNvPr>
          <p:cNvSpPr/>
          <p:nvPr/>
        </p:nvSpPr>
        <p:spPr>
          <a:xfrm>
            <a:off x="83419" y="6201050"/>
            <a:ext cx="1198475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000000"/>
                </a:solidFill>
                <a:effectLst/>
                <a:uLnTx/>
                <a:uFillTx/>
                <a:latin typeface="Calibri" panose="020F0502020204030204"/>
                <a:ea typeface="+mn-ea"/>
                <a:cs typeface="+mn-cs"/>
              </a:rPr>
              <a:t>* Školy mohou testovat kombinovaně PCR i </a:t>
            </a:r>
            <a:r>
              <a:rPr kumimoji="0" lang="cs-CZ" sz="1200" b="0" i="0" u="none" strike="noStrike" kern="0" cap="none" spc="0" normalizeH="0" baseline="0" noProof="0" dirty="0" err="1">
                <a:ln>
                  <a:noFill/>
                </a:ln>
                <a:solidFill>
                  <a:srgbClr val="000000"/>
                </a:solidFill>
                <a:effectLst/>
                <a:uLnTx/>
                <a:uFillTx/>
                <a:latin typeface="Calibri" panose="020F0502020204030204"/>
                <a:ea typeface="+mn-ea"/>
                <a:cs typeface="+mn-cs"/>
              </a:rPr>
              <a:t>Ag</a:t>
            </a:r>
            <a:r>
              <a:rPr kumimoji="0" lang="cs-CZ" sz="1200" b="0" i="0" u="none" strike="noStrike" kern="0" cap="none" spc="0" normalizeH="0" baseline="0" noProof="0" dirty="0">
                <a:ln>
                  <a:noFill/>
                </a:ln>
                <a:solidFill>
                  <a:srgbClr val="000000"/>
                </a:solidFill>
                <a:effectLst/>
                <a:uLnTx/>
                <a:uFillTx/>
                <a:latin typeface="Calibri" panose="020F0502020204030204"/>
                <a:ea typeface="+mn-ea"/>
                <a:cs typeface="+mn-cs"/>
              </a:rPr>
              <a:t> testy / ** Definitivně potvrzené pozitivní záchyty nákazy: konfirmace PCR po </a:t>
            </a:r>
            <a:r>
              <a:rPr kumimoji="0" lang="cs-CZ" sz="1200" b="0" i="0" u="none" strike="noStrike" kern="0" cap="none" spc="0" normalizeH="0" baseline="0" noProof="0" dirty="0" err="1">
                <a:ln>
                  <a:noFill/>
                </a:ln>
                <a:solidFill>
                  <a:srgbClr val="000000"/>
                </a:solidFill>
                <a:effectLst/>
                <a:uLnTx/>
                <a:uFillTx/>
                <a:latin typeface="Calibri" panose="020F0502020204030204"/>
                <a:ea typeface="+mn-ea"/>
                <a:cs typeface="+mn-cs"/>
              </a:rPr>
              <a:t>Ag</a:t>
            </a:r>
            <a:r>
              <a:rPr kumimoji="0" lang="cs-CZ" sz="1200" b="0" i="0" u="none" strike="noStrike" kern="0" cap="none" spc="0" normalizeH="0" baseline="0" noProof="0" dirty="0">
                <a:ln>
                  <a:noFill/>
                </a:ln>
                <a:solidFill>
                  <a:srgbClr val="000000"/>
                </a:solidFill>
                <a:effectLst/>
                <a:uLnTx/>
                <a:uFillTx/>
                <a:latin typeface="Calibri" panose="020F0502020204030204"/>
                <a:ea typeface="+mn-ea"/>
                <a:cs typeface="+mn-cs"/>
              </a:rPr>
              <a:t> testech a primární záchyty PCR ze škol testujících PCR </a:t>
            </a:r>
          </a:p>
        </p:txBody>
      </p:sp>
      <p:sp>
        <p:nvSpPr>
          <p:cNvPr id="18" name="TextovéPole 17">
            <a:extLst>
              <a:ext uri="{FF2B5EF4-FFF2-40B4-BE49-F238E27FC236}">
                <a16:creationId xmlns:a16="http://schemas.microsoft.com/office/drawing/2014/main" id="{E93019CF-F8D7-43FD-991E-8504040F6813}"/>
              </a:ext>
            </a:extLst>
          </p:cNvPr>
          <p:cNvSpPr txBox="1"/>
          <p:nvPr/>
        </p:nvSpPr>
        <p:spPr>
          <a:xfrm>
            <a:off x="123824" y="1581831"/>
            <a:ext cx="1178242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ZŠ</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základní školy včetně škol s vyššími vzdělávacími stupni (celkem 4 216 škol);  </a:t>
            </a: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Š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střední školy včetně škol s vyššími vzdělávacími stupni (celkem 1 113 šk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eferenční databáze celkem obsahuje údaje od 5 329 škol</a:t>
            </a:r>
          </a:p>
        </p:txBody>
      </p:sp>
      <p:sp>
        <p:nvSpPr>
          <p:cNvPr id="2" name="Šipka: dolů 1">
            <a:extLst>
              <a:ext uri="{FF2B5EF4-FFF2-40B4-BE49-F238E27FC236}">
                <a16:creationId xmlns:a16="http://schemas.microsoft.com/office/drawing/2014/main" id="{BB9518A2-9395-4844-BDE2-70BA84C02B9E}"/>
              </a:ext>
            </a:extLst>
          </p:cNvPr>
          <p:cNvSpPr/>
          <p:nvPr/>
        </p:nvSpPr>
        <p:spPr>
          <a:xfrm>
            <a:off x="5176726" y="6478049"/>
            <a:ext cx="1318661" cy="3272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8" name="Tabulka 7">
            <a:extLst>
              <a:ext uri="{FF2B5EF4-FFF2-40B4-BE49-F238E27FC236}">
                <a16:creationId xmlns:a16="http://schemas.microsoft.com/office/drawing/2014/main" id="{04814A63-78ED-44BC-98A7-00CD2C3E77A7}"/>
              </a:ext>
            </a:extLst>
          </p:cNvPr>
          <p:cNvGraphicFramePr>
            <a:graphicFrameLocks noGrp="1"/>
          </p:cNvGraphicFramePr>
          <p:nvPr>
            <p:custDataLst>
              <p:tags r:id="rId2"/>
            </p:custDataLst>
            <p:extLst>
              <p:ext uri="{D42A27DB-BD31-4B8C-83A1-F6EECF244321}">
                <p14:modId xmlns:p14="http://schemas.microsoft.com/office/powerpoint/2010/main" val="2003384562"/>
              </p:ext>
            </p:extLst>
          </p:nvPr>
        </p:nvGraphicFramePr>
        <p:xfrm>
          <a:off x="123824" y="2015218"/>
          <a:ext cx="11424467" cy="4185832"/>
        </p:xfrm>
        <a:graphic>
          <a:graphicData uri="http://schemas.openxmlformats.org/drawingml/2006/table">
            <a:tbl>
              <a:tblPr/>
              <a:tblGrid>
                <a:gridCol w="4302388">
                  <a:extLst>
                    <a:ext uri="{9D8B030D-6E8A-4147-A177-3AD203B41FA5}">
                      <a16:colId xmlns:a16="http://schemas.microsoft.com/office/drawing/2014/main" val="3299177384"/>
                    </a:ext>
                  </a:extLst>
                </a:gridCol>
                <a:gridCol w="752199">
                  <a:extLst>
                    <a:ext uri="{9D8B030D-6E8A-4147-A177-3AD203B41FA5}">
                      <a16:colId xmlns:a16="http://schemas.microsoft.com/office/drawing/2014/main" val="2331141329"/>
                    </a:ext>
                  </a:extLst>
                </a:gridCol>
                <a:gridCol w="796235">
                  <a:extLst>
                    <a:ext uri="{9D8B030D-6E8A-4147-A177-3AD203B41FA5}">
                      <a16:colId xmlns:a16="http://schemas.microsoft.com/office/drawing/2014/main" val="745149811"/>
                    </a:ext>
                  </a:extLst>
                </a:gridCol>
                <a:gridCol w="796235">
                  <a:extLst>
                    <a:ext uri="{9D8B030D-6E8A-4147-A177-3AD203B41FA5}">
                      <a16:colId xmlns:a16="http://schemas.microsoft.com/office/drawing/2014/main" val="4212641602"/>
                    </a:ext>
                  </a:extLst>
                </a:gridCol>
                <a:gridCol w="796235">
                  <a:extLst>
                    <a:ext uri="{9D8B030D-6E8A-4147-A177-3AD203B41FA5}">
                      <a16:colId xmlns:a16="http://schemas.microsoft.com/office/drawing/2014/main" val="2163944013"/>
                    </a:ext>
                  </a:extLst>
                </a:gridCol>
                <a:gridCol w="796235">
                  <a:extLst>
                    <a:ext uri="{9D8B030D-6E8A-4147-A177-3AD203B41FA5}">
                      <a16:colId xmlns:a16="http://schemas.microsoft.com/office/drawing/2014/main" val="1095221279"/>
                    </a:ext>
                  </a:extLst>
                </a:gridCol>
                <a:gridCol w="796235">
                  <a:extLst>
                    <a:ext uri="{9D8B030D-6E8A-4147-A177-3AD203B41FA5}">
                      <a16:colId xmlns:a16="http://schemas.microsoft.com/office/drawing/2014/main" val="1683024521"/>
                    </a:ext>
                  </a:extLst>
                </a:gridCol>
                <a:gridCol w="796235">
                  <a:extLst>
                    <a:ext uri="{9D8B030D-6E8A-4147-A177-3AD203B41FA5}">
                      <a16:colId xmlns:a16="http://schemas.microsoft.com/office/drawing/2014/main" val="235073149"/>
                    </a:ext>
                  </a:extLst>
                </a:gridCol>
                <a:gridCol w="796235">
                  <a:extLst>
                    <a:ext uri="{9D8B030D-6E8A-4147-A177-3AD203B41FA5}">
                      <a16:colId xmlns:a16="http://schemas.microsoft.com/office/drawing/2014/main" val="2595701267"/>
                    </a:ext>
                  </a:extLst>
                </a:gridCol>
                <a:gridCol w="796235">
                  <a:extLst>
                    <a:ext uri="{9D8B030D-6E8A-4147-A177-3AD203B41FA5}">
                      <a16:colId xmlns:a16="http://schemas.microsoft.com/office/drawing/2014/main" val="4209820186"/>
                    </a:ext>
                  </a:extLst>
                </a:gridCol>
              </a:tblGrid>
              <a:tr h="334453">
                <a:tc rowSpan="2">
                  <a:txBody>
                    <a:bodyPr/>
                    <a:lstStyle/>
                    <a:p>
                      <a:pPr algn="l" fontAlgn="b"/>
                      <a:r>
                        <a:rPr lang="cs-CZ" sz="1400" b="1" i="0" u="none" strike="noStrike" dirty="0">
                          <a:solidFill>
                            <a:srgbClr val="0000FF"/>
                          </a:solidFill>
                          <a:effectLst/>
                          <a:latin typeface="Calibri" panose="020F0502020204030204" pitchFamily="34" charset="0"/>
                        </a:rPr>
                        <a:t>Primární testy ve školách a jejich výsledky </a:t>
                      </a:r>
                    </a:p>
                    <a:p>
                      <a:pPr algn="l" fontAlgn="b"/>
                      <a:r>
                        <a:rPr lang="cs-CZ" sz="1400" b="1" i="0" u="none" strike="noStrike" dirty="0">
                          <a:solidFill>
                            <a:srgbClr val="0000FF"/>
                          </a:solidFill>
                          <a:effectLst/>
                          <a:latin typeface="Calibri" panose="020F0502020204030204" pitchFamily="34" charset="0"/>
                        </a:rPr>
                        <a:t>u žáků a studentů / testy 13.1. 2022</a:t>
                      </a:r>
                    </a:p>
                    <a:p>
                      <a:pPr algn="l" fontAlgn="b"/>
                      <a:r>
                        <a:rPr lang="cs-CZ" sz="1400" b="0" i="0" u="none" strike="noStrike" dirty="0">
                          <a:solidFill>
                            <a:srgbClr val="000000"/>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gridSpan="3">
                  <a:txBody>
                    <a:bodyPr/>
                    <a:lstStyle/>
                    <a:p>
                      <a:pPr algn="ctr" fontAlgn="ctr"/>
                      <a:r>
                        <a:rPr lang="cs-CZ" sz="1400" b="1" i="0" u="none" strike="noStrike" dirty="0">
                          <a:solidFill>
                            <a:srgbClr val="000000"/>
                          </a:solidFill>
                          <a:effectLst/>
                          <a:latin typeface="Calibri" panose="020F0502020204030204" pitchFamily="34" charset="0"/>
                        </a:rPr>
                        <a:t>ZŠ</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tc gridSpan="3">
                  <a:txBody>
                    <a:bodyPr/>
                    <a:lstStyle/>
                    <a:p>
                      <a:pPr algn="ctr" fontAlgn="ctr"/>
                      <a:r>
                        <a:rPr lang="cs-CZ" sz="1400" b="1" i="0" u="none" strike="noStrike" dirty="0">
                          <a:solidFill>
                            <a:srgbClr val="000000"/>
                          </a:solidFill>
                          <a:effectLst/>
                          <a:latin typeface="Calibri" panose="020F0502020204030204" pitchFamily="34" charset="0"/>
                        </a:rPr>
                        <a:t>SŠ</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tc gridSpan="3">
                  <a:txBody>
                    <a:bodyPr/>
                    <a:lstStyle/>
                    <a:p>
                      <a:pPr algn="ctr" fontAlgn="ctr"/>
                      <a:r>
                        <a:rPr lang="cs-CZ" sz="14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322645024"/>
                  </a:ext>
                </a:extLst>
              </a:tr>
              <a:tr h="326249">
                <a:tc vMerge="1">
                  <a:txBody>
                    <a:bodyPr/>
                    <a:lstStyle/>
                    <a:p>
                      <a:pPr algn="l" fontAlgn="b"/>
                      <a:r>
                        <a:rPr lang="cs-CZ" sz="1400" b="0" i="0" u="none" strike="noStrike" dirty="0">
                          <a:solidFill>
                            <a:srgbClr val="000000"/>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err="1">
                          <a:solidFill>
                            <a:srgbClr val="000000"/>
                          </a:solidFill>
                          <a:effectLst/>
                          <a:latin typeface="Calibri" panose="020F0502020204030204" pitchFamily="34" charset="0"/>
                        </a:rPr>
                        <a:t>Ag</a:t>
                      </a:r>
                      <a:r>
                        <a:rPr lang="cs-CZ" sz="1400" b="1" i="0" u="none" strike="noStrike" dirty="0">
                          <a:solidFill>
                            <a:srgbClr val="000000"/>
                          </a:solidFill>
                          <a:effectLst/>
                          <a:latin typeface="Calibri" panose="020F0502020204030204" pitchFamily="34" charset="0"/>
                        </a:rPr>
                        <a:t> </a:t>
                      </a:r>
                    </a:p>
                    <a:p>
                      <a:pPr algn="ctr" fontAlgn="ctr"/>
                      <a:r>
                        <a:rPr lang="cs-CZ" sz="1400" b="1" i="0" u="none" strike="noStrike" dirty="0">
                          <a:solidFill>
                            <a:srgbClr val="000000"/>
                          </a:solidFill>
                          <a:effectLst/>
                          <a:latin typeface="Calibri" panose="020F0502020204030204" pitchFamily="34" charset="0"/>
                        </a:rPr>
                        <a:t>test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PCR test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Celkem</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err="1">
                          <a:solidFill>
                            <a:srgbClr val="000000"/>
                          </a:solidFill>
                          <a:effectLst/>
                          <a:latin typeface="Calibri" panose="020F0502020204030204" pitchFamily="34" charset="0"/>
                        </a:rPr>
                        <a:t>Ag</a:t>
                      </a:r>
                      <a:r>
                        <a:rPr lang="cs-CZ" sz="1400" b="1" i="0" u="none" strike="noStrike" dirty="0">
                          <a:solidFill>
                            <a:srgbClr val="000000"/>
                          </a:solidFill>
                          <a:effectLst/>
                          <a:latin typeface="Calibri" panose="020F0502020204030204" pitchFamily="34" charset="0"/>
                        </a:rPr>
                        <a:t> </a:t>
                      </a:r>
                    </a:p>
                    <a:p>
                      <a:pPr algn="ctr" fontAlgn="ctr"/>
                      <a:r>
                        <a:rPr lang="cs-CZ" sz="1400" b="1" i="0" u="none" strike="noStrike" dirty="0">
                          <a:solidFill>
                            <a:srgbClr val="000000"/>
                          </a:solidFill>
                          <a:effectLst/>
                          <a:latin typeface="Calibri" panose="020F0502020204030204" pitchFamily="34" charset="0"/>
                        </a:rPr>
                        <a:t>testy*</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PCR testy*</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Celkem</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err="1">
                          <a:solidFill>
                            <a:srgbClr val="000000"/>
                          </a:solidFill>
                          <a:effectLst/>
                          <a:latin typeface="Calibri" panose="020F0502020204030204" pitchFamily="34" charset="0"/>
                        </a:rPr>
                        <a:t>Ag</a:t>
                      </a:r>
                      <a:r>
                        <a:rPr lang="cs-CZ" sz="1400" b="1" i="0" u="none" strike="noStrike" dirty="0">
                          <a:solidFill>
                            <a:srgbClr val="000000"/>
                          </a:solidFill>
                          <a:effectLst/>
                          <a:latin typeface="Calibri" panose="020F0502020204030204" pitchFamily="34" charset="0"/>
                        </a:rPr>
                        <a:t> </a:t>
                      </a:r>
                    </a:p>
                    <a:p>
                      <a:pPr algn="ctr" fontAlgn="ctr"/>
                      <a:r>
                        <a:rPr lang="cs-CZ" sz="1400" b="1" i="0" u="none" strike="noStrike" dirty="0">
                          <a:solidFill>
                            <a:srgbClr val="000000"/>
                          </a:solidFill>
                          <a:effectLst/>
                          <a:latin typeface="Calibri" panose="020F0502020204030204" pitchFamily="34" charset="0"/>
                        </a:rPr>
                        <a:t>testy*</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PCR testy*</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Celkem</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3000303989"/>
                  </a:ext>
                </a:extLst>
              </a:tr>
              <a:tr h="477048">
                <a:tc>
                  <a:txBody>
                    <a:bodyPr/>
                    <a:lstStyle/>
                    <a:p>
                      <a:pPr algn="l" fontAlgn="ctr"/>
                      <a:r>
                        <a:rPr lang="cs-CZ" sz="1400" b="1" i="0" u="none" strike="noStrike" dirty="0">
                          <a:solidFill>
                            <a:srgbClr val="000000"/>
                          </a:solidFill>
                          <a:effectLst/>
                          <a:latin typeface="Calibri" panose="020F0502020204030204" pitchFamily="34" charset="0"/>
                        </a:rPr>
                        <a:t>Školy, které nahlásily testy do CFA:     </a:t>
                      </a:r>
                    </a:p>
                    <a:p>
                      <a:pPr algn="l" fontAlgn="ctr"/>
                      <a:r>
                        <a:rPr lang="cs-CZ" sz="1400" b="1" i="0" u="none" strike="noStrike" dirty="0">
                          <a:solidFill>
                            <a:srgbClr val="000000"/>
                          </a:solidFill>
                          <a:effectLst/>
                          <a:latin typeface="Calibri" panose="020F0502020204030204" pitchFamily="34" charset="0"/>
                        </a:rPr>
                        <a:t>dle typu testu a 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9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983</a:t>
                      </a:r>
                      <a:br>
                        <a:rPr lang="cs-CZ" sz="1400" b="0" i="0" u="none" strike="noStrike">
                          <a:solidFill>
                            <a:srgbClr val="000000"/>
                          </a:solidFill>
                          <a:effectLst/>
                          <a:latin typeface="Calibri" panose="020F0502020204030204" pitchFamily="34" charset="0"/>
                        </a:rPr>
                      </a:br>
                      <a:r>
                        <a:rPr lang="cs-CZ" sz="1400" b="0" i="0" u="none" strike="noStrike">
                          <a:solidFill>
                            <a:srgbClr val="000000"/>
                          </a:solidFill>
                          <a:effectLst/>
                          <a:latin typeface="Calibri" panose="020F0502020204030204" pitchFamily="34" charset="0"/>
                        </a:rPr>
                        <a:t>(94,5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49</a:t>
                      </a:r>
                      <a:br>
                        <a:rPr lang="cs-CZ" sz="1400" b="0" i="0" u="none" strike="noStrike">
                          <a:solidFill>
                            <a:srgbClr val="000000"/>
                          </a:solidFill>
                          <a:effectLst/>
                          <a:latin typeface="Calibri" panose="020F0502020204030204" pitchFamily="34" charset="0"/>
                        </a:rPr>
                      </a:br>
                      <a:r>
                        <a:rPr lang="cs-CZ" sz="1400" b="0" i="0" u="none" strike="noStrike">
                          <a:solidFill>
                            <a:srgbClr val="000000"/>
                          </a:solidFill>
                          <a:effectLst/>
                          <a:latin typeface="Calibri" panose="020F0502020204030204" pitchFamily="34" charset="0"/>
                        </a:rPr>
                        <a:t>(94,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0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 032</a:t>
                      </a:r>
                      <a:br>
                        <a:rPr lang="cs-CZ" sz="1400" b="1" i="0" u="none" strike="noStrike">
                          <a:solidFill>
                            <a:srgbClr val="000000"/>
                          </a:solidFill>
                          <a:effectLst/>
                          <a:latin typeface="Calibri" panose="020F0502020204030204" pitchFamily="34" charset="0"/>
                        </a:rPr>
                      </a:br>
                      <a:r>
                        <a:rPr lang="cs-CZ" sz="1400" b="1" i="0" u="none" strike="noStrike">
                          <a:solidFill>
                            <a:srgbClr val="000000"/>
                          </a:solidFill>
                          <a:effectLst/>
                          <a:latin typeface="Calibri" panose="020F0502020204030204" pitchFamily="34" charset="0"/>
                        </a:rPr>
                        <a:t>(94,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8886391"/>
                  </a:ext>
                </a:extLst>
              </a:tr>
              <a:tr h="326249">
                <a:tc>
                  <a:txBody>
                    <a:bodyPr/>
                    <a:lstStyle/>
                    <a:p>
                      <a:pPr algn="l" fontAlgn="ctr"/>
                      <a:r>
                        <a:rPr lang="cs-CZ" sz="1400" b="1" i="0" u="none" strike="noStrike" dirty="0">
                          <a:solidFill>
                            <a:srgbClr val="000000"/>
                          </a:solidFill>
                          <a:effectLst/>
                          <a:latin typeface="Calibri" panose="020F0502020204030204" pitchFamily="34" charset="0"/>
                        </a:rPr>
                        <a:t>Počet nahlášených test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27 49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02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32 52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47 6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7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48 56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175 1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89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 181 09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300495690"/>
                  </a:ext>
                </a:extLst>
              </a:tr>
              <a:tr h="326249">
                <a:tc>
                  <a:txBody>
                    <a:bodyPr/>
                    <a:lstStyle/>
                    <a:p>
                      <a:pPr algn="l" fontAlgn="ctr"/>
                      <a:r>
                        <a:rPr lang="cs-CZ" sz="1400" b="1" i="0" u="none" strike="noStrike" dirty="0">
                          <a:solidFill>
                            <a:srgbClr val="000000"/>
                          </a:solidFill>
                          <a:effectLst/>
                          <a:latin typeface="Calibri" panose="020F0502020204030204" pitchFamily="34" charset="0"/>
                        </a:rPr>
                        <a:t>Testy ve škole: počet pozitivních výsledk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4 1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22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6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63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6 8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6 86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740528614"/>
                  </a:ext>
                </a:extLst>
              </a:tr>
              <a:tr h="326249">
                <a:tc>
                  <a:txBody>
                    <a:bodyPr/>
                    <a:lstStyle/>
                    <a:p>
                      <a:pPr algn="l" fontAlgn="ctr"/>
                      <a:r>
                        <a:rPr lang="cs-CZ" sz="1400" b="1" i="0" u="none" strike="noStrike" dirty="0">
                          <a:solidFill>
                            <a:srgbClr val="000000"/>
                          </a:solidFill>
                          <a:effectLst/>
                          <a:latin typeface="Calibri" panose="020F0502020204030204" pitchFamily="34" charset="0"/>
                        </a:rPr>
                        <a:t>Testy ve škole: pozitivní výsledky na 100 tis. test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0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55,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07,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5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32,1</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56,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8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96,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581,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233596"/>
                  </a:ext>
                </a:extLst>
              </a:tr>
              <a:tr h="328094">
                <a:tc>
                  <a:txBody>
                    <a:bodyPr/>
                    <a:lstStyle/>
                    <a:p>
                      <a:pPr algn="l" fontAlgn="b"/>
                      <a:r>
                        <a:rPr lang="cs-CZ" sz="1400" b="1" i="0" u="none" strike="noStrike" dirty="0">
                          <a:solidFill>
                            <a:srgbClr val="0000FF"/>
                          </a:solidFill>
                          <a:effectLst/>
                          <a:latin typeface="Calibri" panose="020F0502020204030204" pitchFamily="34" charset="0"/>
                        </a:rPr>
                        <a:t>Výsledné pozitivní záchyty dle PC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3">
                  <a:txBody>
                    <a:bodyPr/>
                    <a:lstStyle/>
                    <a:p>
                      <a:pPr algn="ctr" fontAlgn="ctr"/>
                      <a:r>
                        <a:rPr lang="cs-CZ" sz="1400" b="1" i="0" u="none" strike="noStrike" dirty="0">
                          <a:solidFill>
                            <a:srgbClr val="000000"/>
                          </a:solidFill>
                          <a:effectLst/>
                          <a:latin typeface="Calibri" panose="020F0502020204030204" pitchFamily="34" charset="0"/>
                        </a:rPr>
                        <a:t>ZŠ</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cs-CZ" sz="1400" b="1" i="0" u="none" strike="noStrike" dirty="0">
                          <a:solidFill>
                            <a:srgbClr val="000000"/>
                          </a:solidFill>
                          <a:effectLst/>
                          <a:latin typeface="Calibri" panose="020F0502020204030204" pitchFamily="34" charset="0"/>
                        </a:rPr>
                        <a:t>SŠ</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cs-CZ" sz="14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805126"/>
                  </a:ext>
                </a:extLst>
              </a:tr>
              <a:tr h="326249">
                <a:tc>
                  <a:txBody>
                    <a:bodyPr/>
                    <a:lstStyle/>
                    <a:p>
                      <a:pPr algn="l" fontAlgn="ctr"/>
                      <a:r>
                        <a:rPr lang="cs-CZ" sz="1600" b="1" i="0" u="none" strike="noStrike" dirty="0">
                          <a:solidFill>
                            <a:srgbClr val="FF0000"/>
                          </a:solidFill>
                          <a:effectLst/>
                          <a:latin typeface="Calibri" panose="020F0502020204030204" pitchFamily="34" charset="0"/>
                        </a:rPr>
                        <a:t>Počet škol s potvrzenými pozitivními záchyty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cs-CZ" sz="1800" b="1" i="0" u="none" strike="noStrike" dirty="0">
                          <a:solidFill>
                            <a:srgbClr val="FF0000"/>
                          </a:solidFill>
                          <a:effectLst/>
                          <a:latin typeface="Calibri" panose="020F0502020204030204" pitchFamily="34" charset="0"/>
                        </a:rPr>
                        <a:t>818 (19,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tc gridSpan="3">
                  <a:txBody>
                    <a:bodyPr/>
                    <a:lstStyle/>
                    <a:p>
                      <a:pPr algn="ctr" fontAlgn="ctr"/>
                      <a:r>
                        <a:rPr lang="cs-CZ" sz="1800" b="1" i="0" u="none" strike="noStrike" dirty="0">
                          <a:solidFill>
                            <a:srgbClr val="FF0000"/>
                          </a:solidFill>
                          <a:effectLst/>
                          <a:latin typeface="Calibri" panose="020F0502020204030204" pitchFamily="34" charset="0"/>
                        </a:rPr>
                        <a:t>492 (44,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tc gridSpan="3">
                  <a:txBody>
                    <a:bodyPr/>
                    <a:lstStyle/>
                    <a:p>
                      <a:pPr algn="ctr" fontAlgn="ctr"/>
                      <a:r>
                        <a:rPr lang="cs-CZ" sz="1800" b="1" i="0" u="none" strike="noStrike" dirty="0">
                          <a:solidFill>
                            <a:srgbClr val="FF0000"/>
                          </a:solidFill>
                          <a:effectLst/>
                          <a:latin typeface="Calibri" panose="020F0502020204030204" pitchFamily="34" charset="0"/>
                        </a:rPr>
                        <a:t>1 310 (24,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17111198"/>
                  </a:ext>
                </a:extLst>
              </a:tr>
              <a:tr h="326249">
                <a:tc>
                  <a:txBody>
                    <a:bodyPr/>
                    <a:lstStyle/>
                    <a:p>
                      <a:pPr algn="l" fontAlgn="ctr"/>
                      <a:r>
                        <a:rPr lang="cs-CZ" sz="1400" b="1" i="0" u="none" strike="noStrike" dirty="0">
                          <a:solidFill>
                            <a:srgbClr val="000000"/>
                          </a:solidFill>
                          <a:effectLst/>
                          <a:latin typeface="Calibri" panose="020F0502020204030204" pitchFamily="34" charset="0"/>
                        </a:rPr>
                        <a:t>                   s více než 10 pozitivními záchyty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cs-CZ" sz="1400" b="0" i="0" u="none" strike="noStrike" dirty="0">
                          <a:solidFill>
                            <a:srgbClr val="000000"/>
                          </a:solidFill>
                          <a:effectLst/>
                          <a:latin typeface="Calibri" panose="020F0502020204030204" pitchFamily="34" charset="0"/>
                        </a:rPr>
                        <a:t>7 (0,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tc gridSpan="3">
                  <a:txBody>
                    <a:bodyPr/>
                    <a:lstStyle/>
                    <a:p>
                      <a:pPr algn="ctr" fontAlgn="ctr"/>
                      <a:r>
                        <a:rPr lang="cs-CZ" sz="1400" b="0" i="0" u="none" strike="noStrike">
                          <a:solidFill>
                            <a:srgbClr val="000000"/>
                          </a:solidFill>
                          <a:effectLst/>
                          <a:latin typeface="Calibri" panose="020F0502020204030204" pitchFamily="34" charset="0"/>
                        </a:rPr>
                        <a:t>10 (0,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tc gridSpan="3">
                  <a:txBody>
                    <a:bodyPr/>
                    <a:lstStyle/>
                    <a:p>
                      <a:pPr algn="ctr" fontAlgn="ctr"/>
                      <a:r>
                        <a:rPr lang="cs-CZ" sz="1400" b="0" i="0" u="none" strike="noStrike">
                          <a:solidFill>
                            <a:srgbClr val="000000"/>
                          </a:solidFill>
                          <a:effectLst/>
                          <a:latin typeface="Calibri" panose="020F0502020204030204" pitchFamily="34" charset="0"/>
                        </a:rPr>
                        <a:t>17 (0,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111204872"/>
                  </a:ext>
                </a:extLst>
              </a:tr>
              <a:tr h="326249">
                <a:tc>
                  <a:txBody>
                    <a:bodyPr/>
                    <a:lstStyle/>
                    <a:p>
                      <a:pPr algn="l" fontAlgn="ctr"/>
                      <a:r>
                        <a:rPr lang="cs-CZ" sz="1400" b="1" i="0" u="none" strike="noStrike" dirty="0">
                          <a:solidFill>
                            <a:srgbClr val="000000"/>
                          </a:solidFill>
                          <a:effectLst/>
                          <a:latin typeface="Calibri" panose="020F0502020204030204" pitchFamily="34" charset="0"/>
                        </a:rPr>
                        <a:t>                   s 5–10 pozitivními záchyty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cs-CZ" sz="1400" b="0" i="0" u="none" strike="noStrike">
                          <a:solidFill>
                            <a:srgbClr val="000000"/>
                          </a:solidFill>
                          <a:effectLst/>
                          <a:latin typeface="Calibri" panose="020F0502020204030204" pitchFamily="34" charset="0"/>
                        </a:rPr>
                        <a:t>74 (9,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tc gridSpan="3">
                  <a:txBody>
                    <a:bodyPr/>
                    <a:lstStyle/>
                    <a:p>
                      <a:pPr algn="ctr" fontAlgn="ctr"/>
                      <a:r>
                        <a:rPr lang="cs-CZ" sz="1400" b="0" i="0" u="none" strike="noStrike">
                          <a:solidFill>
                            <a:srgbClr val="000000"/>
                          </a:solidFill>
                          <a:effectLst/>
                          <a:latin typeface="Calibri" panose="020F0502020204030204" pitchFamily="34" charset="0"/>
                        </a:rPr>
                        <a:t>56 (11,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tc gridSpan="3">
                  <a:txBody>
                    <a:bodyPr/>
                    <a:lstStyle/>
                    <a:p>
                      <a:pPr algn="ctr" fontAlgn="ctr"/>
                      <a:r>
                        <a:rPr lang="cs-CZ" sz="1400" b="0" i="0" u="none" strike="noStrike">
                          <a:solidFill>
                            <a:srgbClr val="000000"/>
                          </a:solidFill>
                          <a:effectLst/>
                          <a:latin typeface="Calibri" panose="020F0502020204030204" pitchFamily="34" charset="0"/>
                        </a:rPr>
                        <a:t>130 (9,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618777368"/>
                  </a:ext>
                </a:extLst>
              </a:tr>
              <a:tr h="326249">
                <a:tc>
                  <a:txBody>
                    <a:bodyPr/>
                    <a:lstStyle/>
                    <a:p>
                      <a:pPr algn="l" fontAlgn="ctr"/>
                      <a:r>
                        <a:rPr lang="cs-CZ" sz="1400" b="1" i="0" u="none" strike="noStrike" dirty="0">
                          <a:solidFill>
                            <a:schemeClr val="tx1"/>
                          </a:solidFill>
                          <a:effectLst/>
                          <a:latin typeface="Calibri" panose="020F0502020204030204" pitchFamily="34" charset="0"/>
                        </a:rPr>
                        <a:t>Počet PCR potvrzených záchytů nákazy CELKEM**</a:t>
                      </a:r>
                      <a:endParaRPr lang="cs-CZ" sz="1200" b="0"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3">
                  <a:txBody>
                    <a:bodyPr/>
                    <a:lstStyle/>
                    <a:p>
                      <a:pPr algn="ctr" fontAlgn="ctr"/>
                      <a:r>
                        <a:rPr lang="cs-CZ" sz="1400" b="0" i="0" u="none" strike="noStrike" dirty="0">
                          <a:solidFill>
                            <a:schemeClr val="tx1"/>
                          </a:solidFill>
                          <a:effectLst/>
                          <a:latin typeface="Calibri" panose="020F0502020204030204" pitchFamily="34" charset="0"/>
                        </a:rPr>
                        <a:t>1 7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3">
                  <a:txBody>
                    <a:bodyPr/>
                    <a:lstStyle/>
                    <a:p>
                      <a:pPr algn="ctr" fontAlgn="ctr"/>
                      <a:r>
                        <a:rPr lang="cs-CZ" sz="1400" b="0" i="0" u="none" strike="noStrike" dirty="0">
                          <a:solidFill>
                            <a:schemeClr val="tx1"/>
                          </a:solidFill>
                          <a:effectLst/>
                          <a:latin typeface="Calibri" panose="020F0502020204030204" pitchFamily="34" charset="0"/>
                        </a:rPr>
                        <a:t>1 2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3">
                  <a:txBody>
                    <a:bodyPr/>
                    <a:lstStyle/>
                    <a:p>
                      <a:pPr algn="ctr" fontAlgn="ctr"/>
                      <a:r>
                        <a:rPr lang="cs-CZ" sz="1400" b="1" i="0" u="none" strike="noStrike" dirty="0">
                          <a:solidFill>
                            <a:schemeClr val="tx1"/>
                          </a:solidFill>
                          <a:effectLst/>
                          <a:latin typeface="Calibri" panose="020F0502020204030204" pitchFamily="34" charset="0"/>
                        </a:rPr>
                        <a:t>3 0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73054340"/>
                  </a:ext>
                </a:extLst>
              </a:tr>
              <a:tr h="326249">
                <a:tc>
                  <a:txBody>
                    <a:bodyPr/>
                    <a:lstStyle/>
                    <a:p>
                      <a:pPr algn="l" fontAlgn="ctr"/>
                      <a:r>
                        <a:rPr lang="cs-CZ" sz="1600" b="1" i="0" u="none" strike="noStrike" dirty="0">
                          <a:solidFill>
                            <a:srgbClr val="FF0000"/>
                          </a:solidFill>
                          <a:effectLst/>
                          <a:latin typeface="Calibri" panose="020F0502020204030204" pitchFamily="34" charset="0"/>
                        </a:rPr>
                        <a:t>Počet PCR potvrzených záchytů na 100 tis. test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fontAlgn="ctr"/>
                      <a:r>
                        <a:rPr lang="cs-CZ" sz="1800" b="1" i="0" u="none" strike="noStrike" dirty="0">
                          <a:solidFill>
                            <a:srgbClr val="FF0000"/>
                          </a:solidFill>
                          <a:effectLst/>
                          <a:latin typeface="Calibri" panose="020F0502020204030204" pitchFamily="34" charset="0"/>
                        </a:rPr>
                        <a:t>21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fontAlgn="ctr"/>
                      <a:r>
                        <a:rPr lang="cs-CZ" sz="1800" b="1" i="0" u="none" strike="noStrike" dirty="0">
                          <a:solidFill>
                            <a:srgbClr val="FF0000"/>
                          </a:solidFill>
                          <a:effectLst/>
                          <a:latin typeface="Calibri" panose="020F0502020204030204" pitchFamily="34" charset="0"/>
                        </a:rPr>
                        <a:t>36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fontAlgn="ctr"/>
                      <a:r>
                        <a:rPr lang="cs-CZ" sz="1800" b="1" i="0" u="none" strike="noStrike" dirty="0">
                          <a:solidFill>
                            <a:srgbClr val="FF0000"/>
                          </a:solidFill>
                          <a:effectLst/>
                          <a:latin typeface="Calibri" panose="020F0502020204030204" pitchFamily="34" charset="0"/>
                        </a:rPr>
                        <a:t>25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cs-CZ"/>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10357399"/>
                  </a:ext>
                </a:extLst>
              </a:tr>
            </a:tbl>
          </a:graphicData>
        </a:graphic>
      </p:graphicFrame>
      <p:sp>
        <p:nvSpPr>
          <p:cNvPr id="3" name="TextovéPole 2">
            <a:extLst>
              <a:ext uri="{FF2B5EF4-FFF2-40B4-BE49-F238E27FC236}">
                <a16:creationId xmlns:a16="http://schemas.microsoft.com/office/drawing/2014/main" id="{D90FB9EF-B9AE-4DCD-A3EB-FEDDECC1382A}"/>
              </a:ext>
            </a:extLst>
          </p:cNvPr>
          <p:cNvSpPr txBox="1"/>
          <p:nvPr/>
        </p:nvSpPr>
        <p:spPr>
          <a:xfrm>
            <a:off x="378643" y="980696"/>
            <a:ext cx="11434714" cy="523220"/>
          </a:xfrm>
          <a:prstGeom prst="rect">
            <a:avLst/>
          </a:prstGeom>
          <a:solidFill>
            <a:schemeClr val="accent1">
              <a:lumMod val="75000"/>
            </a:schemeClr>
          </a:solidFill>
        </p:spPr>
        <p:txBody>
          <a:bodyPr wrap="square" rtlCol="0">
            <a:spAutoFit/>
          </a:bodyPr>
          <a:lstStyle/>
          <a:p>
            <a:pPr algn="ctr"/>
            <a:r>
              <a:rPr lang="cs-CZ" sz="2800" dirty="0">
                <a:solidFill>
                  <a:schemeClr val="bg1"/>
                </a:solidFill>
              </a:rPr>
              <a:t>Každé kolo cca 1 200 tis. </a:t>
            </a:r>
            <a:r>
              <a:rPr lang="cs-CZ" sz="2800" dirty="0" err="1">
                <a:solidFill>
                  <a:schemeClr val="bg1"/>
                </a:solidFill>
              </a:rPr>
              <a:t>Ag</a:t>
            </a:r>
            <a:r>
              <a:rPr lang="cs-CZ" sz="2800" dirty="0">
                <a:solidFill>
                  <a:schemeClr val="bg1"/>
                </a:solidFill>
              </a:rPr>
              <a:t> testů u žáků a 180 tis. </a:t>
            </a:r>
            <a:r>
              <a:rPr lang="cs-CZ" sz="2800" dirty="0" err="1">
                <a:solidFill>
                  <a:schemeClr val="bg1"/>
                </a:solidFill>
              </a:rPr>
              <a:t>Ag</a:t>
            </a:r>
            <a:r>
              <a:rPr lang="cs-CZ" sz="2800" dirty="0">
                <a:solidFill>
                  <a:schemeClr val="bg1"/>
                </a:solidFill>
              </a:rPr>
              <a:t> testů u zaměstnanců  </a:t>
            </a:r>
            <a:endParaRPr lang="en-US" sz="2800" dirty="0">
              <a:solidFill>
                <a:schemeClr val="bg1"/>
              </a:solidFill>
            </a:endParaRPr>
          </a:p>
        </p:txBody>
      </p:sp>
    </p:spTree>
    <p:extLst>
      <p:ext uri="{BB962C8B-B14F-4D97-AF65-F5344CB8AC3E}">
        <p14:creationId xmlns:p14="http://schemas.microsoft.com/office/powerpoint/2010/main" val="5101762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41CA6B5F-74B0-45C8-A87A-7B026D20959F}"/>
              </a:ext>
            </a:extLst>
          </p:cNvPr>
          <p:cNvPicPr>
            <a:picLocks noChangeAspect="1"/>
          </p:cNvPicPr>
          <p:nvPr/>
        </p:nvPicPr>
        <p:blipFill>
          <a:blip r:embed="rId3"/>
          <a:stretch>
            <a:fillRect/>
          </a:stretch>
        </p:blipFill>
        <p:spPr>
          <a:xfrm>
            <a:off x="812328" y="2184966"/>
            <a:ext cx="7285126" cy="3384000"/>
          </a:xfrm>
          <a:prstGeom prst="rect">
            <a:avLst/>
          </a:prstGeom>
        </p:spPr>
      </p:pic>
      <p:sp>
        <p:nvSpPr>
          <p:cNvPr id="23" name="TextovéPole 12">
            <a:extLst>
              <a:ext uri="{FF2B5EF4-FFF2-40B4-BE49-F238E27FC236}">
                <a16:creationId xmlns:a16="http://schemas.microsoft.com/office/drawing/2014/main" id="{9119B67F-49E4-4A7A-BA36-DAE66AAD4855}"/>
              </a:ext>
            </a:extLst>
          </p:cNvPr>
          <p:cNvSpPr txBox="1"/>
          <p:nvPr/>
        </p:nvSpPr>
        <p:spPr>
          <a:xfrm rot="16200000">
            <a:off x="-814628" y="3752190"/>
            <a:ext cx="3032408"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Nové případy onemocnění za den</a:t>
            </a:r>
          </a:p>
        </p:txBody>
      </p:sp>
      <p:sp>
        <p:nvSpPr>
          <p:cNvPr id="16" name="TextovéPole 15">
            <a:extLst>
              <a:ext uri="{FF2B5EF4-FFF2-40B4-BE49-F238E27FC236}">
                <a16:creationId xmlns:a16="http://schemas.microsoft.com/office/drawing/2014/main" id="{C11F9500-ED81-45FD-AF3C-90840EEBF1C3}"/>
              </a:ext>
            </a:extLst>
          </p:cNvPr>
          <p:cNvSpPr txBox="1"/>
          <p:nvPr/>
        </p:nvSpPr>
        <p:spPr>
          <a:xfrm>
            <a:off x="169916" y="6054090"/>
            <a:ext cx="80344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Snímek prezentuje výsledky simulace prostřednictvím epidemiologického modelu </a:t>
            </a:r>
            <a:r>
              <a:rPr kumimoji="0" lang="cs-CZ" sz="1100" b="0" i="1" u="none" strike="noStrike" kern="1200" cap="none" spc="0" normalizeH="0" baseline="0" noProof="0" dirty="0" err="1">
                <a:ln>
                  <a:noFill/>
                </a:ln>
                <a:solidFill>
                  <a:prstClr val="black"/>
                </a:solidFill>
                <a:effectLst/>
                <a:uLnTx/>
                <a:uFillTx/>
                <a:latin typeface="Arial" panose="020B0604020202020204"/>
                <a:ea typeface="+mn-ea"/>
                <a:cs typeface="+mn-cs"/>
              </a:rPr>
              <a:t>SEIRV</a:t>
            </a: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 který zahrnuje vybrané předpoklady a slouží ke zkoumání dopadu změny různých parametrů epidemie. Vzhledem k neurčitostem ve struktuře modelu (například limitované znalosti o skutečné vnímavosti populace k viru a k jeho novým variantám) je nezbytné výsledky brát jako orientační, umožňující zejména celkové srovnávání jednotlivých scénářů, nikoli konkrétní předpověď pro určité období. </a:t>
            </a:r>
          </a:p>
        </p:txBody>
      </p:sp>
      <p:graphicFrame>
        <p:nvGraphicFramePr>
          <p:cNvPr id="21" name="Tabulka 10">
            <a:extLst>
              <a:ext uri="{FF2B5EF4-FFF2-40B4-BE49-F238E27FC236}">
                <a16:creationId xmlns:a16="http://schemas.microsoft.com/office/drawing/2014/main" id="{E5273A5B-6F76-4409-B5F3-FB52F2CC9C0A}"/>
              </a:ext>
            </a:extLst>
          </p:cNvPr>
          <p:cNvGraphicFramePr>
            <a:graphicFrameLocks noGrp="1"/>
          </p:cNvGraphicFramePr>
          <p:nvPr/>
        </p:nvGraphicFramePr>
        <p:xfrm>
          <a:off x="206492" y="5457290"/>
          <a:ext cx="7738918" cy="555387"/>
        </p:xfrm>
        <a:graphic>
          <a:graphicData uri="http://schemas.openxmlformats.org/drawingml/2006/table">
            <a:tbl>
              <a:tblPr firstRow="1" bandRow="1">
                <a:tableStyleId>{5C22544A-7EE6-4342-B048-85BDC9FD1C3A}</a:tableStyleId>
              </a:tblPr>
              <a:tblGrid>
                <a:gridCol w="1165108">
                  <a:extLst>
                    <a:ext uri="{9D8B030D-6E8A-4147-A177-3AD203B41FA5}">
                      <a16:colId xmlns:a16="http://schemas.microsoft.com/office/drawing/2014/main" val="2668584180"/>
                    </a:ext>
                  </a:extLst>
                </a:gridCol>
                <a:gridCol w="1314762">
                  <a:extLst>
                    <a:ext uri="{9D8B030D-6E8A-4147-A177-3AD203B41FA5}">
                      <a16:colId xmlns:a16="http://schemas.microsoft.com/office/drawing/2014/main" val="805271721"/>
                    </a:ext>
                  </a:extLst>
                </a:gridCol>
                <a:gridCol w="1314762">
                  <a:extLst>
                    <a:ext uri="{9D8B030D-6E8A-4147-A177-3AD203B41FA5}">
                      <a16:colId xmlns:a16="http://schemas.microsoft.com/office/drawing/2014/main" val="148378157"/>
                    </a:ext>
                  </a:extLst>
                </a:gridCol>
                <a:gridCol w="1314762">
                  <a:extLst>
                    <a:ext uri="{9D8B030D-6E8A-4147-A177-3AD203B41FA5}">
                      <a16:colId xmlns:a16="http://schemas.microsoft.com/office/drawing/2014/main" val="3981597030"/>
                    </a:ext>
                  </a:extLst>
                </a:gridCol>
                <a:gridCol w="1314762">
                  <a:extLst>
                    <a:ext uri="{9D8B030D-6E8A-4147-A177-3AD203B41FA5}">
                      <a16:colId xmlns:a16="http://schemas.microsoft.com/office/drawing/2014/main" val="2471926991"/>
                    </a:ext>
                  </a:extLst>
                </a:gridCol>
                <a:gridCol w="1314762">
                  <a:extLst>
                    <a:ext uri="{9D8B030D-6E8A-4147-A177-3AD203B41FA5}">
                      <a16:colId xmlns:a16="http://schemas.microsoft.com/office/drawing/2014/main" val="3338665376"/>
                    </a:ext>
                  </a:extLst>
                </a:gridCol>
              </a:tblGrid>
              <a:tr h="275016">
                <a:tc>
                  <a:txBody>
                    <a:bodyPr/>
                    <a:lstStyle/>
                    <a:p>
                      <a:pPr algn="ctr" fontAlgn="b"/>
                      <a:endParaRPr lang="cs-CZ" sz="1400" b="1" i="0" u="none" strike="noStrike" noProof="0" dirty="0">
                        <a:solidFill>
                          <a:schemeClr val="tx1"/>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září</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říj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listopa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prosinec</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en-US" sz="1400" b="0" i="0" u="none" strike="noStrike" dirty="0" err="1">
                          <a:solidFill>
                            <a:srgbClr val="000000"/>
                          </a:solidFill>
                          <a:effectLst/>
                          <a:latin typeface="Calibri" panose="020F0502020204030204" pitchFamily="34" charset="0"/>
                        </a:rPr>
                        <a:t>leden</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3408861870"/>
                  </a:ext>
                </a:extLst>
              </a:tr>
              <a:tr h="280371">
                <a:tc>
                  <a:txBody>
                    <a:bodyPr/>
                    <a:lstStyle/>
                    <a:p>
                      <a:pPr algn="ctr" fontAlgn="b"/>
                      <a:r>
                        <a:rPr lang="cs-CZ" sz="1400" b="1" i="0" u="none" strike="noStrike" noProof="0">
                          <a:solidFill>
                            <a:schemeClr val="tx1"/>
                          </a:solidFill>
                          <a:effectLst/>
                          <a:latin typeface="Calibri" panose="020F0502020204030204" pitchFamily="34" charset="0"/>
                        </a:rPr>
                        <a:t>Nově za měsíc</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4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16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Calibri" panose="020F0502020204030204" pitchFamily="34" charset="0"/>
                        </a:rPr>
                        <a:t>450 000</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30</a:t>
                      </a:r>
                      <a:r>
                        <a:rPr lang="en-US" sz="1400" b="0" i="0" u="none" strike="noStrike" dirty="0">
                          <a:solidFill>
                            <a:srgbClr val="000000"/>
                          </a:solidFill>
                          <a:effectLst/>
                          <a:latin typeface="Calibri" panose="020F0502020204030204" pitchFamily="34" charset="0"/>
                        </a:rPr>
                        <a:t>0</a:t>
                      </a:r>
                      <a:r>
                        <a:rPr lang="cs-CZ" sz="1400" b="0" i="0" u="none" strike="noStrike" dirty="0">
                          <a:solidFill>
                            <a:srgbClr val="000000"/>
                          </a:solidFill>
                          <a:effectLst/>
                          <a:latin typeface="Calibri" panose="020F0502020204030204" pitchFamily="34" charset="0"/>
                        </a:rPr>
                        <a:t>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373950241"/>
                  </a:ext>
                </a:extLst>
              </a:tr>
            </a:tbl>
          </a:graphicData>
        </a:graphic>
      </p:graphicFrame>
      <p:sp>
        <p:nvSpPr>
          <p:cNvPr id="20" name="TextovéPole 19">
            <a:extLst>
              <a:ext uri="{FF2B5EF4-FFF2-40B4-BE49-F238E27FC236}">
                <a16:creationId xmlns:a16="http://schemas.microsoft.com/office/drawing/2014/main" id="{560D8AF0-08BD-4D53-B2D7-47FDBF81B7A1}"/>
              </a:ext>
            </a:extLst>
          </p:cNvPr>
          <p:cNvSpPr txBox="1"/>
          <p:nvPr/>
        </p:nvSpPr>
        <p:spPr>
          <a:xfrm>
            <a:off x="200608" y="198705"/>
            <a:ext cx="11796603" cy="400110"/>
          </a:xfrm>
          <a:prstGeom prst="rect">
            <a:avLst/>
          </a:prstGeom>
          <a:solidFill>
            <a:srgbClr val="D3114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Základní výstup simulačního modelu: scénář C – scénář 2 kalkulující se všemi rizikovými parametry Omikronu</a:t>
            </a:r>
          </a:p>
        </p:txBody>
      </p:sp>
      <p:sp>
        <p:nvSpPr>
          <p:cNvPr id="22" name="TextovéPole 25">
            <a:extLst>
              <a:ext uri="{FF2B5EF4-FFF2-40B4-BE49-F238E27FC236}">
                <a16:creationId xmlns:a16="http://schemas.microsoft.com/office/drawing/2014/main" id="{FA8D0941-D842-4560-9B0D-7D37319DDC3B}"/>
              </a:ext>
            </a:extLst>
          </p:cNvPr>
          <p:cNvSpPr txBox="1"/>
          <p:nvPr/>
        </p:nvSpPr>
        <p:spPr>
          <a:xfrm>
            <a:off x="338328" y="1428086"/>
            <a:ext cx="4869176" cy="276999"/>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bez periodicity v rámci týdne, odpovídá cca týdenním klouzavým průměrům</a:t>
            </a:r>
          </a:p>
        </p:txBody>
      </p:sp>
      <p:cxnSp>
        <p:nvCxnSpPr>
          <p:cNvPr id="24" name="Přímá spojnice 23">
            <a:extLst>
              <a:ext uri="{FF2B5EF4-FFF2-40B4-BE49-F238E27FC236}">
                <a16:creationId xmlns:a16="http://schemas.microsoft.com/office/drawing/2014/main" id="{339410D1-6402-42CF-8410-02673F354A9F}"/>
              </a:ext>
            </a:extLst>
          </p:cNvPr>
          <p:cNvCxnSpPr/>
          <p:nvPr/>
        </p:nvCxnSpPr>
        <p:spPr>
          <a:xfrm>
            <a:off x="5641449" y="1294480"/>
            <a:ext cx="496389" cy="174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5" name="TextovéPole 24">
            <a:extLst>
              <a:ext uri="{FF2B5EF4-FFF2-40B4-BE49-F238E27FC236}">
                <a16:creationId xmlns:a16="http://schemas.microsoft.com/office/drawing/2014/main" id="{4F5966C3-E48B-449D-B23A-3D7D0C336AD2}"/>
              </a:ext>
            </a:extLst>
          </p:cNvPr>
          <p:cNvSpPr txBox="1"/>
          <p:nvPr/>
        </p:nvSpPr>
        <p:spPr>
          <a:xfrm>
            <a:off x="6172672" y="1132016"/>
            <a:ext cx="2010177"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Model (simulace)</a:t>
            </a:r>
          </a:p>
        </p:txBody>
      </p:sp>
      <p:sp>
        <p:nvSpPr>
          <p:cNvPr id="26" name="TextovéPole 25">
            <a:extLst>
              <a:ext uri="{FF2B5EF4-FFF2-40B4-BE49-F238E27FC236}">
                <a16:creationId xmlns:a16="http://schemas.microsoft.com/office/drawing/2014/main" id="{54DA9903-4313-45C3-965F-4696F2D5D194}"/>
              </a:ext>
            </a:extLst>
          </p:cNvPr>
          <p:cNvSpPr txBox="1"/>
          <p:nvPr/>
        </p:nvSpPr>
        <p:spPr>
          <a:xfrm>
            <a:off x="338328" y="957028"/>
            <a:ext cx="54251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FFC000"/>
                </a:solidFill>
                <a:effectLst/>
                <a:uLnTx/>
                <a:uFillTx/>
                <a:latin typeface="Calibri" panose="020F0502020204030204"/>
                <a:ea typeface="+mn-ea"/>
                <a:cs typeface="+mn-cs"/>
              </a:rPr>
              <a:t>oranžově</a:t>
            </a: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dosud pozorovaná reálná data</a:t>
            </a:r>
            <a:b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7denní klouzavý průměr, časové </a:t>
            </a:r>
            <a:r>
              <a:rPr kumimoji="0" lang="cs-CZ" sz="1200" b="0" i="0" u="sng" strike="noStrike" kern="1200" cap="none" spc="0" normalizeH="0" baseline="0" noProof="0" dirty="0">
                <a:ln>
                  <a:noFill/>
                </a:ln>
                <a:solidFill>
                  <a:prstClr val="black"/>
                </a:solidFill>
                <a:effectLst/>
                <a:uLnTx/>
                <a:uFillTx/>
                <a:latin typeface="Calibri" panose="020F0502020204030204"/>
                <a:ea typeface="+mn-ea"/>
                <a:cs typeface="+mn-cs"/>
              </a:rPr>
              <a:t>zpoždění k hlášení 4 dny</a:t>
            </a:r>
            <a:endParaRPr kumimoji="0" lang="cs-CZ" sz="16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ovéPole 11">
            <a:extLst>
              <a:ext uri="{FF2B5EF4-FFF2-40B4-BE49-F238E27FC236}">
                <a16:creationId xmlns:a16="http://schemas.microsoft.com/office/drawing/2014/main" id="{FF2EC051-E4E6-4A66-B5DE-119EA9C05828}"/>
              </a:ext>
            </a:extLst>
          </p:cNvPr>
          <p:cNvSpPr txBox="1"/>
          <p:nvPr/>
        </p:nvSpPr>
        <p:spPr>
          <a:xfrm>
            <a:off x="8995129" y="680749"/>
            <a:ext cx="3002082" cy="369332"/>
          </a:xfrm>
          <a:prstGeom prst="rect">
            <a:avLst/>
          </a:prstGeom>
          <a:solidFill>
            <a:srgbClr val="D3114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Scénář rizikový</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Podnadpis 2">
            <a:extLst>
              <a:ext uri="{FF2B5EF4-FFF2-40B4-BE49-F238E27FC236}">
                <a16:creationId xmlns:a16="http://schemas.microsoft.com/office/drawing/2014/main" id="{71EB9734-F5BC-4D02-A404-FE5B262E3E4F}"/>
              </a:ext>
            </a:extLst>
          </p:cNvPr>
          <p:cNvSpPr txBox="1">
            <a:spLocks/>
          </p:cNvSpPr>
          <p:nvPr>
            <p:custDataLst>
              <p:tags r:id="rId1"/>
            </p:custDataLst>
          </p:nvPr>
        </p:nvSpPr>
        <p:spPr>
          <a:xfrm>
            <a:off x="8204340" y="1865433"/>
            <a:ext cx="3831783" cy="45134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Model simulující situaci s navýšením základní reprodukce viru o 200%, spojeno s předpokladem počtu rizikových kontaktů v populaci bez redukce. Vstupy modelu dále kalkulují se schopností viru unikat vakcinaci a prolamovat post-infekční imunitu: potenciál nákazy až 6 mil. osob, z toho &gt; 1mil. zdravotně zranitelných. Výstup simuluje maximální rizikový potenciál </a:t>
            </a:r>
            <a:r>
              <a:rPr kumimoji="0" lang="cs-CZ" sz="2000" b="1" i="0" u="none" strike="noStrike" kern="1200" cap="none" spc="0" normalizeH="0" baseline="0" noProof="0" dirty="0" err="1">
                <a:ln>
                  <a:noFill/>
                </a:ln>
                <a:solidFill>
                  <a:srgbClr val="0000FF"/>
                </a:solidFill>
                <a:effectLst/>
                <a:uLnTx/>
                <a:uFillTx/>
                <a:latin typeface="Calibri" panose="020F0502020204030204"/>
                <a:ea typeface="+mn-ea"/>
                <a:cs typeface="+mn-cs"/>
              </a:rPr>
              <a:t>Omicronu</a:t>
            </a: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 z hlediska nakažlivosti. Průběh vlny by byl velmi rychlý, s vysokým rizikem zatížení nemocnic (i při významném snížení rizika těžkého průběhu). </a:t>
            </a:r>
          </a:p>
        </p:txBody>
      </p:sp>
    </p:spTree>
    <p:extLst>
      <p:ext uri="{BB962C8B-B14F-4D97-AF65-F5344CB8AC3E}">
        <p14:creationId xmlns:p14="http://schemas.microsoft.com/office/powerpoint/2010/main" val="6873173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09608445-3353-4419-BE04-37F32A543FE3}"/>
              </a:ext>
            </a:extLst>
          </p:cNvPr>
          <p:cNvPicPr>
            <a:picLocks noChangeAspect="1"/>
          </p:cNvPicPr>
          <p:nvPr/>
        </p:nvPicPr>
        <p:blipFill>
          <a:blip r:embed="rId3"/>
          <a:stretch>
            <a:fillRect/>
          </a:stretch>
        </p:blipFill>
        <p:spPr>
          <a:xfrm>
            <a:off x="813231" y="2181710"/>
            <a:ext cx="7285126" cy="3384000"/>
          </a:xfrm>
          <a:prstGeom prst="rect">
            <a:avLst/>
          </a:prstGeom>
        </p:spPr>
      </p:pic>
      <p:sp>
        <p:nvSpPr>
          <p:cNvPr id="23" name="TextovéPole 12">
            <a:extLst>
              <a:ext uri="{FF2B5EF4-FFF2-40B4-BE49-F238E27FC236}">
                <a16:creationId xmlns:a16="http://schemas.microsoft.com/office/drawing/2014/main" id="{9119B67F-49E4-4A7A-BA36-DAE66AAD4855}"/>
              </a:ext>
            </a:extLst>
          </p:cNvPr>
          <p:cNvSpPr txBox="1"/>
          <p:nvPr/>
        </p:nvSpPr>
        <p:spPr>
          <a:xfrm rot="16200000">
            <a:off x="-814628" y="3752190"/>
            <a:ext cx="3032408"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Nové případy onemocnění za den</a:t>
            </a:r>
          </a:p>
        </p:txBody>
      </p:sp>
      <p:sp>
        <p:nvSpPr>
          <p:cNvPr id="16" name="TextovéPole 15">
            <a:extLst>
              <a:ext uri="{FF2B5EF4-FFF2-40B4-BE49-F238E27FC236}">
                <a16:creationId xmlns:a16="http://schemas.microsoft.com/office/drawing/2014/main" id="{C11F9500-ED81-45FD-AF3C-90840EEBF1C3}"/>
              </a:ext>
            </a:extLst>
          </p:cNvPr>
          <p:cNvSpPr txBox="1"/>
          <p:nvPr/>
        </p:nvSpPr>
        <p:spPr>
          <a:xfrm>
            <a:off x="169916" y="6054090"/>
            <a:ext cx="80344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Snímek prezentuje výsledky simulace prostřednictvím epidemiologického modelu </a:t>
            </a:r>
            <a:r>
              <a:rPr kumimoji="0" lang="cs-CZ" sz="1100" b="0" i="1" u="none" strike="noStrike" kern="1200" cap="none" spc="0" normalizeH="0" baseline="0" noProof="0" dirty="0" err="1">
                <a:ln>
                  <a:noFill/>
                </a:ln>
                <a:solidFill>
                  <a:prstClr val="black"/>
                </a:solidFill>
                <a:effectLst/>
                <a:uLnTx/>
                <a:uFillTx/>
                <a:latin typeface="Arial" panose="020B0604020202020204"/>
                <a:ea typeface="+mn-ea"/>
                <a:cs typeface="+mn-cs"/>
              </a:rPr>
              <a:t>SEIRV</a:t>
            </a:r>
            <a:r>
              <a:rPr kumimoji="0" lang="cs-CZ" sz="1100" b="0" i="1" u="none" strike="noStrike" kern="1200" cap="none" spc="0" normalizeH="0" baseline="0" noProof="0" dirty="0">
                <a:ln>
                  <a:noFill/>
                </a:ln>
                <a:solidFill>
                  <a:prstClr val="black"/>
                </a:solidFill>
                <a:effectLst/>
                <a:uLnTx/>
                <a:uFillTx/>
                <a:latin typeface="Arial" panose="020B0604020202020204"/>
                <a:ea typeface="+mn-ea"/>
                <a:cs typeface="+mn-cs"/>
              </a:rPr>
              <a:t>, který zahrnuje vybrané předpoklady a slouží ke zkoumání dopadu změny různých parametrů epidemie. Vzhledem k neurčitostem ve struktuře modelu (například limitované znalosti o skutečné vnímavosti populace k viru a k jeho novým variantám) je nezbytné výsledky brát jako orientační, umožňující zejména celkové srovnávání jednotlivých scénářů, nikoli konkrétní předpověď pro určité období. </a:t>
            </a:r>
          </a:p>
        </p:txBody>
      </p:sp>
      <p:graphicFrame>
        <p:nvGraphicFramePr>
          <p:cNvPr id="21" name="Tabulka 10">
            <a:extLst>
              <a:ext uri="{FF2B5EF4-FFF2-40B4-BE49-F238E27FC236}">
                <a16:creationId xmlns:a16="http://schemas.microsoft.com/office/drawing/2014/main" id="{E5273A5B-6F76-4409-B5F3-FB52F2CC9C0A}"/>
              </a:ext>
            </a:extLst>
          </p:cNvPr>
          <p:cNvGraphicFramePr>
            <a:graphicFrameLocks noGrp="1"/>
          </p:cNvGraphicFramePr>
          <p:nvPr/>
        </p:nvGraphicFramePr>
        <p:xfrm>
          <a:off x="206492" y="5457290"/>
          <a:ext cx="7738918" cy="555387"/>
        </p:xfrm>
        <a:graphic>
          <a:graphicData uri="http://schemas.openxmlformats.org/drawingml/2006/table">
            <a:tbl>
              <a:tblPr firstRow="1" bandRow="1">
                <a:tableStyleId>{5C22544A-7EE6-4342-B048-85BDC9FD1C3A}</a:tableStyleId>
              </a:tblPr>
              <a:tblGrid>
                <a:gridCol w="1165108">
                  <a:extLst>
                    <a:ext uri="{9D8B030D-6E8A-4147-A177-3AD203B41FA5}">
                      <a16:colId xmlns:a16="http://schemas.microsoft.com/office/drawing/2014/main" val="2668584180"/>
                    </a:ext>
                  </a:extLst>
                </a:gridCol>
                <a:gridCol w="1314762">
                  <a:extLst>
                    <a:ext uri="{9D8B030D-6E8A-4147-A177-3AD203B41FA5}">
                      <a16:colId xmlns:a16="http://schemas.microsoft.com/office/drawing/2014/main" val="805271721"/>
                    </a:ext>
                  </a:extLst>
                </a:gridCol>
                <a:gridCol w="1314762">
                  <a:extLst>
                    <a:ext uri="{9D8B030D-6E8A-4147-A177-3AD203B41FA5}">
                      <a16:colId xmlns:a16="http://schemas.microsoft.com/office/drawing/2014/main" val="148378157"/>
                    </a:ext>
                  </a:extLst>
                </a:gridCol>
                <a:gridCol w="1314762">
                  <a:extLst>
                    <a:ext uri="{9D8B030D-6E8A-4147-A177-3AD203B41FA5}">
                      <a16:colId xmlns:a16="http://schemas.microsoft.com/office/drawing/2014/main" val="3981597030"/>
                    </a:ext>
                  </a:extLst>
                </a:gridCol>
                <a:gridCol w="1314762">
                  <a:extLst>
                    <a:ext uri="{9D8B030D-6E8A-4147-A177-3AD203B41FA5}">
                      <a16:colId xmlns:a16="http://schemas.microsoft.com/office/drawing/2014/main" val="2471926991"/>
                    </a:ext>
                  </a:extLst>
                </a:gridCol>
                <a:gridCol w="1314762">
                  <a:extLst>
                    <a:ext uri="{9D8B030D-6E8A-4147-A177-3AD203B41FA5}">
                      <a16:colId xmlns:a16="http://schemas.microsoft.com/office/drawing/2014/main" val="3338665376"/>
                    </a:ext>
                  </a:extLst>
                </a:gridCol>
              </a:tblGrid>
              <a:tr h="275016">
                <a:tc>
                  <a:txBody>
                    <a:bodyPr/>
                    <a:lstStyle/>
                    <a:p>
                      <a:pPr algn="ctr" fontAlgn="b"/>
                      <a:endParaRPr lang="cs-CZ" sz="1400" b="1" i="0" u="none" strike="noStrike" noProof="0" dirty="0">
                        <a:solidFill>
                          <a:schemeClr val="tx1"/>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září</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říj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listopa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prosinec</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en-US" sz="1400" b="0" i="0" u="none" strike="noStrike" dirty="0" err="1">
                          <a:solidFill>
                            <a:srgbClr val="000000"/>
                          </a:solidFill>
                          <a:effectLst/>
                          <a:latin typeface="Calibri" panose="020F0502020204030204" pitchFamily="34" charset="0"/>
                        </a:rPr>
                        <a:t>leden</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3408861870"/>
                  </a:ext>
                </a:extLst>
              </a:tr>
              <a:tr h="280371">
                <a:tc>
                  <a:txBody>
                    <a:bodyPr/>
                    <a:lstStyle/>
                    <a:p>
                      <a:pPr algn="ctr" fontAlgn="b"/>
                      <a:r>
                        <a:rPr lang="cs-CZ" sz="1400" b="1" i="0" u="none" strike="noStrike" noProof="0">
                          <a:solidFill>
                            <a:schemeClr val="tx1"/>
                          </a:solidFill>
                          <a:effectLst/>
                          <a:latin typeface="Calibri" panose="020F0502020204030204" pitchFamily="34" charset="0"/>
                        </a:rPr>
                        <a:t>Nově za měsíc</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4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116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Calibri" panose="020F0502020204030204" pitchFamily="34" charset="0"/>
                        </a:rPr>
                        <a:t>450 000</a:t>
                      </a:r>
                      <a:endParaRPr lang="cs-CZ" sz="14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30</a:t>
                      </a:r>
                      <a:r>
                        <a:rPr lang="en-US" sz="1400" b="0" i="0" u="none" strike="noStrike" dirty="0">
                          <a:solidFill>
                            <a:srgbClr val="000000"/>
                          </a:solidFill>
                          <a:effectLst/>
                          <a:latin typeface="Calibri" panose="020F0502020204030204" pitchFamily="34" charset="0"/>
                        </a:rPr>
                        <a:t>0</a:t>
                      </a:r>
                      <a:r>
                        <a:rPr lang="cs-CZ" sz="1400" b="0" i="0" u="none" strike="noStrike" dirty="0">
                          <a:solidFill>
                            <a:srgbClr val="000000"/>
                          </a:solidFill>
                          <a:effectLst/>
                          <a:latin typeface="Calibri" panose="020F0502020204030204" pitchFamily="34" charset="0"/>
                        </a:rPr>
                        <a:t> 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cs-CZ" sz="1400" b="0" i="0" u="none" strike="noStrike" dirty="0">
                          <a:solidFill>
                            <a:srgbClr val="000000"/>
                          </a:solidFill>
                          <a:effectLst/>
                          <a:latin typeface="Calibri" panose="020F0502020204030204" pitchFamily="34"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373950241"/>
                  </a:ext>
                </a:extLst>
              </a:tr>
            </a:tbl>
          </a:graphicData>
        </a:graphic>
      </p:graphicFrame>
      <p:sp>
        <p:nvSpPr>
          <p:cNvPr id="20" name="TextovéPole 19">
            <a:extLst>
              <a:ext uri="{FF2B5EF4-FFF2-40B4-BE49-F238E27FC236}">
                <a16:creationId xmlns:a16="http://schemas.microsoft.com/office/drawing/2014/main" id="{560D8AF0-08BD-4D53-B2D7-47FDBF81B7A1}"/>
              </a:ext>
            </a:extLst>
          </p:cNvPr>
          <p:cNvSpPr txBox="1"/>
          <p:nvPr/>
        </p:nvSpPr>
        <p:spPr>
          <a:xfrm>
            <a:off x="200608" y="198705"/>
            <a:ext cx="11796603" cy="400110"/>
          </a:xfrm>
          <a:prstGeom prst="rect">
            <a:avLst/>
          </a:prstGeom>
          <a:solidFill>
            <a:srgbClr val="D3114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Základní výstup simulačního modelu: scénář C – scénář 2 kalkulující se všemi rizikovými parametry Omikronu</a:t>
            </a:r>
          </a:p>
        </p:txBody>
      </p:sp>
      <p:sp>
        <p:nvSpPr>
          <p:cNvPr id="22" name="TextovéPole 25">
            <a:extLst>
              <a:ext uri="{FF2B5EF4-FFF2-40B4-BE49-F238E27FC236}">
                <a16:creationId xmlns:a16="http://schemas.microsoft.com/office/drawing/2014/main" id="{FA8D0941-D842-4560-9B0D-7D37319DDC3B}"/>
              </a:ext>
            </a:extLst>
          </p:cNvPr>
          <p:cNvSpPr txBox="1"/>
          <p:nvPr/>
        </p:nvSpPr>
        <p:spPr>
          <a:xfrm>
            <a:off x="338328" y="1428086"/>
            <a:ext cx="4869176" cy="276999"/>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bez periodicity v rámci týdne, odpovídá cca týdenním klouzavým průměrům</a:t>
            </a:r>
          </a:p>
        </p:txBody>
      </p:sp>
      <p:cxnSp>
        <p:nvCxnSpPr>
          <p:cNvPr id="24" name="Přímá spojnice 23">
            <a:extLst>
              <a:ext uri="{FF2B5EF4-FFF2-40B4-BE49-F238E27FC236}">
                <a16:creationId xmlns:a16="http://schemas.microsoft.com/office/drawing/2014/main" id="{339410D1-6402-42CF-8410-02673F354A9F}"/>
              </a:ext>
            </a:extLst>
          </p:cNvPr>
          <p:cNvCxnSpPr/>
          <p:nvPr/>
        </p:nvCxnSpPr>
        <p:spPr>
          <a:xfrm>
            <a:off x="5641449" y="1294480"/>
            <a:ext cx="496389" cy="174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5" name="TextovéPole 24">
            <a:extLst>
              <a:ext uri="{FF2B5EF4-FFF2-40B4-BE49-F238E27FC236}">
                <a16:creationId xmlns:a16="http://schemas.microsoft.com/office/drawing/2014/main" id="{4F5966C3-E48B-449D-B23A-3D7D0C336AD2}"/>
              </a:ext>
            </a:extLst>
          </p:cNvPr>
          <p:cNvSpPr txBox="1"/>
          <p:nvPr/>
        </p:nvSpPr>
        <p:spPr>
          <a:xfrm>
            <a:off x="6172672" y="1132016"/>
            <a:ext cx="2010177" cy="338554"/>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Model (simulace)</a:t>
            </a:r>
          </a:p>
        </p:txBody>
      </p:sp>
      <p:sp>
        <p:nvSpPr>
          <p:cNvPr id="26" name="TextovéPole 25">
            <a:extLst>
              <a:ext uri="{FF2B5EF4-FFF2-40B4-BE49-F238E27FC236}">
                <a16:creationId xmlns:a16="http://schemas.microsoft.com/office/drawing/2014/main" id="{54DA9903-4313-45C3-965F-4696F2D5D194}"/>
              </a:ext>
            </a:extLst>
          </p:cNvPr>
          <p:cNvSpPr txBox="1"/>
          <p:nvPr/>
        </p:nvSpPr>
        <p:spPr>
          <a:xfrm>
            <a:off x="338328" y="957028"/>
            <a:ext cx="54251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FFC000"/>
                </a:solidFill>
                <a:effectLst/>
                <a:uLnTx/>
                <a:uFillTx/>
                <a:latin typeface="Calibri" panose="020F0502020204030204"/>
                <a:ea typeface="+mn-ea"/>
                <a:cs typeface="+mn-cs"/>
              </a:rPr>
              <a:t>oranžově</a:t>
            </a: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dosud pozorovaná reálná data</a:t>
            </a:r>
            <a:b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0" i="0" u="sng" strike="noStrike" kern="1200" cap="none" spc="0" normalizeH="0" baseline="0" noProof="0" dirty="0" err="1">
                <a:ln>
                  <a:noFill/>
                </a:ln>
                <a:solidFill>
                  <a:prstClr val="black"/>
                </a:solidFill>
                <a:effectLst/>
                <a:uLnTx/>
                <a:uFillTx/>
                <a:latin typeface="Calibri" panose="020F0502020204030204"/>
                <a:ea typeface="+mn-ea"/>
                <a:cs typeface="+mn-cs"/>
              </a:rPr>
              <a:t>pracovn</a:t>
            </a:r>
            <a:r>
              <a:rPr kumimoji="0" lang="cs-CZ" sz="1200" b="0" i="0" u="sng" strike="noStrike" kern="1200" cap="none" spc="0" normalizeH="0" baseline="0" noProof="0" dirty="0">
                <a:ln>
                  <a:noFill/>
                </a:ln>
                <a:solidFill>
                  <a:prstClr val="black"/>
                </a:solidFill>
                <a:effectLst/>
                <a:uLnTx/>
                <a:uFillTx/>
                <a:latin typeface="Calibri" panose="020F0502020204030204"/>
                <a:ea typeface="+mn-ea"/>
                <a:cs typeface="+mn-cs"/>
              </a:rPr>
              <a:t>í dny</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časové </a:t>
            </a:r>
            <a:r>
              <a:rPr kumimoji="0" lang="cs-CZ" sz="1200" b="0" i="0" u="sng" strike="noStrike" kern="1200" cap="none" spc="0" normalizeH="0" baseline="0" noProof="0" dirty="0">
                <a:ln>
                  <a:noFill/>
                </a:ln>
                <a:solidFill>
                  <a:prstClr val="black"/>
                </a:solidFill>
                <a:effectLst/>
                <a:uLnTx/>
                <a:uFillTx/>
                <a:latin typeface="Calibri" panose="020F0502020204030204"/>
                <a:ea typeface="+mn-ea"/>
                <a:cs typeface="+mn-cs"/>
              </a:rPr>
              <a:t>zpoždění k hlášení 4 dny</a:t>
            </a:r>
            <a:endParaRPr kumimoji="0" lang="cs-CZ" sz="16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ovéPole 11">
            <a:extLst>
              <a:ext uri="{FF2B5EF4-FFF2-40B4-BE49-F238E27FC236}">
                <a16:creationId xmlns:a16="http://schemas.microsoft.com/office/drawing/2014/main" id="{FF2EC051-E4E6-4A66-B5DE-119EA9C05828}"/>
              </a:ext>
            </a:extLst>
          </p:cNvPr>
          <p:cNvSpPr txBox="1"/>
          <p:nvPr/>
        </p:nvSpPr>
        <p:spPr>
          <a:xfrm>
            <a:off x="8995129" y="680749"/>
            <a:ext cx="3002082" cy="369332"/>
          </a:xfrm>
          <a:prstGeom prst="rect">
            <a:avLst/>
          </a:prstGeom>
          <a:solidFill>
            <a:srgbClr val="D3114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Scénář rizikový</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Podnadpis 2">
            <a:extLst>
              <a:ext uri="{FF2B5EF4-FFF2-40B4-BE49-F238E27FC236}">
                <a16:creationId xmlns:a16="http://schemas.microsoft.com/office/drawing/2014/main" id="{71EB9734-F5BC-4D02-A404-FE5B262E3E4F}"/>
              </a:ext>
            </a:extLst>
          </p:cNvPr>
          <p:cNvSpPr txBox="1">
            <a:spLocks/>
          </p:cNvSpPr>
          <p:nvPr>
            <p:custDataLst>
              <p:tags r:id="rId1"/>
            </p:custDataLst>
          </p:nvPr>
        </p:nvSpPr>
        <p:spPr>
          <a:xfrm>
            <a:off x="8204340" y="1865433"/>
            <a:ext cx="3831783" cy="45134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Model simulující situaci s navýšením základní reprodukce viru o 200%, spojeno s předpokladem počtu rizikových kontaktů v populaci bez redukce. Vstupy modelu dále kalkulují se schopností viru unikat vakcinaci a prolamovat post-infekční imunitu: potenciál nákazy až 6 mil. osob, z toho &gt; 1mil. zdravotně zranitelných. Výstup simuluje maximální rizikový potenciál </a:t>
            </a:r>
            <a:r>
              <a:rPr kumimoji="0" lang="cs-CZ" sz="2000" b="1" i="0" u="none" strike="noStrike" kern="1200" cap="none" spc="0" normalizeH="0" baseline="0" noProof="0" dirty="0" err="1">
                <a:ln>
                  <a:noFill/>
                </a:ln>
                <a:solidFill>
                  <a:srgbClr val="0000FF"/>
                </a:solidFill>
                <a:effectLst/>
                <a:uLnTx/>
                <a:uFillTx/>
                <a:latin typeface="Calibri" panose="020F0502020204030204"/>
                <a:ea typeface="+mn-ea"/>
                <a:cs typeface="+mn-cs"/>
              </a:rPr>
              <a:t>Omicronu</a:t>
            </a:r>
            <a:r>
              <a:rPr kumimoji="0" lang="cs-CZ" sz="2000" b="1" i="0" u="none" strike="noStrike" kern="1200" cap="none" spc="0" normalizeH="0" baseline="0" noProof="0" dirty="0">
                <a:ln>
                  <a:noFill/>
                </a:ln>
                <a:solidFill>
                  <a:srgbClr val="0000FF"/>
                </a:solidFill>
                <a:effectLst/>
                <a:uLnTx/>
                <a:uFillTx/>
                <a:latin typeface="Calibri" panose="020F0502020204030204"/>
                <a:ea typeface="+mn-ea"/>
                <a:cs typeface="+mn-cs"/>
              </a:rPr>
              <a:t> z hlediska nakažlivosti. Průběh vlny by byl velmi rychlý, s vysokým rizikem zatížení nemocnic (i při významném snížení rizika těžkého průběhu). </a:t>
            </a:r>
          </a:p>
        </p:txBody>
      </p:sp>
    </p:spTree>
    <p:extLst>
      <p:ext uri="{BB962C8B-B14F-4D97-AF65-F5344CB8AC3E}">
        <p14:creationId xmlns:p14="http://schemas.microsoft.com/office/powerpoint/2010/main" val="28207790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custDataLst>
              <p:tags r:id="rId1"/>
            </p:custDataLst>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custDataLst>
              <p:tags r:id="rId2"/>
            </p:custDataLst>
          </p:nvPr>
        </p:nvSpPr>
        <p:spPr>
          <a:xfrm>
            <a:off x="273804" y="3693109"/>
            <a:ext cx="11644392" cy="2317166"/>
          </a:xfrm>
        </p:spPr>
        <p:txBody>
          <a:bodyPr>
            <a:normAutofit/>
          </a:bodyPr>
          <a:lstStyle/>
          <a:p>
            <a:r>
              <a:rPr lang="cs-CZ" sz="4800" b="1" dirty="0"/>
              <a:t>Základní faktory determinující šíření Omikronu: stav imunizace populace, mobilita obyvatel a ochranný efekt vakcinace</a:t>
            </a:r>
            <a:endParaRPr lang="cs-CZ" sz="4600" i="1" dirty="0"/>
          </a:p>
        </p:txBody>
      </p:sp>
    </p:spTree>
    <p:extLst>
      <p:ext uri="{BB962C8B-B14F-4D97-AF65-F5344CB8AC3E}">
        <p14:creationId xmlns:p14="http://schemas.microsoft.com/office/powerpoint/2010/main" val="19953375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E673707-12E2-4D1E-AB03-FD25BE4817A5}"/>
              </a:ext>
            </a:extLst>
          </p:cNvPr>
          <p:cNvSpPr>
            <a:spLocks noGrp="1"/>
          </p:cNvSpPr>
          <p:nvPr>
            <p:ph type="title"/>
            <p:custDataLst>
              <p:tags r:id="rId1"/>
            </p:custDataLst>
          </p:nvPr>
        </p:nvSpPr>
        <p:spPr>
          <a:xfrm>
            <a:off x="75501" y="2"/>
            <a:ext cx="9370157" cy="576000"/>
          </a:xfrm>
        </p:spPr>
        <p:txBody>
          <a:bodyPr/>
          <a:lstStyle/>
          <a:p>
            <a:r>
              <a:rPr lang="cs-CZ" sz="2400" dirty="0">
                <a:latin typeface="+mn-lt"/>
              </a:rPr>
              <a:t>Nový trend: rostoucí počet a podíl suspektních </a:t>
            </a:r>
            <a:r>
              <a:rPr lang="en-US" sz="2400" dirty="0" err="1">
                <a:latin typeface="+mn-lt"/>
              </a:rPr>
              <a:t>reinfekc</a:t>
            </a:r>
            <a:r>
              <a:rPr lang="cs-CZ" sz="2400" dirty="0">
                <a:latin typeface="+mn-lt"/>
              </a:rPr>
              <a:t>í v čase</a:t>
            </a:r>
          </a:p>
        </p:txBody>
      </p:sp>
      <p:sp>
        <p:nvSpPr>
          <p:cNvPr id="12" name="TextovéPole 11">
            <a:extLst>
              <a:ext uri="{FF2B5EF4-FFF2-40B4-BE49-F238E27FC236}">
                <a16:creationId xmlns:a16="http://schemas.microsoft.com/office/drawing/2014/main" id="{CC555464-C1F2-4124-821F-660B522ED9C8}"/>
              </a:ext>
            </a:extLst>
          </p:cNvPr>
          <p:cNvSpPr txBox="1"/>
          <p:nvPr>
            <p:custDataLst>
              <p:tags r:id="rId2"/>
            </p:custDataLst>
          </p:nvPr>
        </p:nvSpPr>
        <p:spPr>
          <a:xfrm rot="16200000">
            <a:off x="-966233" y="4583948"/>
            <a:ext cx="2752724"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díl suspektních reinfekcí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 všech zachycených případech v ČR</a:t>
            </a:r>
          </a:p>
        </p:txBody>
      </p:sp>
      <p:graphicFrame>
        <p:nvGraphicFramePr>
          <p:cNvPr id="8" name="Chart 4">
            <a:extLst>
              <a:ext uri="{FF2B5EF4-FFF2-40B4-BE49-F238E27FC236}">
                <a16:creationId xmlns:a16="http://schemas.microsoft.com/office/drawing/2014/main" id="{39BAAB7D-7F4E-4BB9-AEF3-507FD738A4FC}"/>
              </a:ext>
            </a:extLst>
          </p:cNvPr>
          <p:cNvGraphicFramePr/>
          <p:nvPr>
            <p:custDataLst>
              <p:tags r:id="rId3"/>
            </p:custDataLst>
          </p:nvPr>
        </p:nvGraphicFramePr>
        <p:xfrm>
          <a:off x="671739" y="576002"/>
          <a:ext cx="11010187" cy="3166782"/>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ovéPole 8">
            <a:extLst>
              <a:ext uri="{FF2B5EF4-FFF2-40B4-BE49-F238E27FC236}">
                <a16:creationId xmlns:a16="http://schemas.microsoft.com/office/drawing/2014/main" id="{454E060B-DFCE-4278-9839-B2D2BB5355C9}"/>
              </a:ext>
            </a:extLst>
          </p:cNvPr>
          <p:cNvSpPr txBox="1"/>
          <p:nvPr>
            <p:custDataLst>
              <p:tags r:id="rId4"/>
            </p:custDataLst>
          </p:nvPr>
        </p:nvSpPr>
        <p:spPr>
          <a:xfrm rot="16200000">
            <a:off x="-966233" y="1690754"/>
            <a:ext cx="275272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a:t>
            </a:r>
            <a:r>
              <a:rPr kumimoji="0" lang="cs-CZ"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č</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t</a:t>
            </a:r>
            <a:r>
              <a:rPr kumimoji="0" lang="cs-CZ"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uspektní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infekcí v ČR</a:t>
            </a:r>
          </a:p>
        </p:txBody>
      </p:sp>
      <p:sp>
        <p:nvSpPr>
          <p:cNvPr id="3" name="TextovéPole 2">
            <a:extLst>
              <a:ext uri="{FF2B5EF4-FFF2-40B4-BE49-F238E27FC236}">
                <a16:creationId xmlns:a16="http://schemas.microsoft.com/office/drawing/2014/main" id="{B192BE77-CAD2-401C-B7B4-ECD2663D7CEF}"/>
              </a:ext>
            </a:extLst>
          </p:cNvPr>
          <p:cNvSpPr txBox="1"/>
          <p:nvPr/>
        </p:nvSpPr>
        <p:spPr>
          <a:xfrm>
            <a:off x="3510879" y="890392"/>
            <a:ext cx="517024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Růst hodnot v posledním týdnu je jasným signálem nastupující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ominance varianty Omikron </a:t>
            </a:r>
            <a:endPar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 name="Chart 4">
            <a:extLst>
              <a:ext uri="{FF2B5EF4-FFF2-40B4-BE49-F238E27FC236}">
                <a16:creationId xmlns:a16="http://schemas.microsoft.com/office/drawing/2014/main" id="{E0E5ED1D-7FA0-4AC4-A698-8673FFB16253}"/>
              </a:ext>
            </a:extLst>
          </p:cNvPr>
          <p:cNvGraphicFramePr/>
          <p:nvPr>
            <p:custDataLst>
              <p:tags r:id="rId5"/>
            </p:custDataLst>
          </p:nvPr>
        </p:nvGraphicFramePr>
        <p:xfrm>
          <a:off x="590905" y="3691216"/>
          <a:ext cx="11010187" cy="316678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840465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ovéPole 8">
            <a:extLst>
              <a:ext uri="{FF2B5EF4-FFF2-40B4-BE49-F238E27FC236}">
                <a16:creationId xmlns:a16="http://schemas.microsoft.com/office/drawing/2014/main" id="{A338CCE3-5676-40F7-AB2D-9C68067124F7}"/>
              </a:ext>
            </a:extLst>
          </p:cNvPr>
          <p:cNvSpPr txBox="1"/>
          <p:nvPr/>
        </p:nvSpPr>
        <p:spPr>
          <a:xfrm>
            <a:off x="78232" y="2188734"/>
            <a:ext cx="11960994" cy="1815882"/>
          </a:xfrm>
          <a:prstGeom prst="rect">
            <a:avLst/>
          </a:prstGeom>
          <a:noFill/>
        </p:spPr>
        <p:txBody>
          <a:bodyPr wrap="square" rtlCol="0">
            <a:spAutoFit/>
          </a:bodyPr>
          <a:lstStyle/>
          <a:p>
            <a:pPr algn="ctr"/>
            <a:r>
              <a:rPr lang="cs-CZ" sz="2800" b="1" dirty="0">
                <a:solidFill>
                  <a:srgbClr val="0000FF"/>
                </a:solidFill>
              </a:rPr>
              <a:t>Ochranný efekt vakcinace je stále zásadní a vysoký. Klesá sice ochrana proti nákaze samotné u očkování dvěma  dávkami, ale posilující dávka ji vrací zpět na více než 82%. Ochrana proti těžkému průběhu nemoci je trvalá,</a:t>
            </a:r>
          </a:p>
          <a:p>
            <a:pPr algn="ctr"/>
            <a:r>
              <a:rPr lang="cs-CZ" sz="2800" b="1" dirty="0">
                <a:solidFill>
                  <a:srgbClr val="0000FF"/>
                </a:solidFill>
              </a:rPr>
              <a:t>u zranitelných skupin vyšší než 90%.</a:t>
            </a:r>
            <a:endParaRPr lang="en-US" sz="2800" b="1" dirty="0">
              <a:solidFill>
                <a:srgbClr val="0000FF"/>
              </a:solidFill>
            </a:endParaRPr>
          </a:p>
        </p:txBody>
      </p:sp>
      <p:sp>
        <p:nvSpPr>
          <p:cNvPr id="4" name="Šipka: dolů 3">
            <a:extLst>
              <a:ext uri="{FF2B5EF4-FFF2-40B4-BE49-F238E27FC236}">
                <a16:creationId xmlns:a16="http://schemas.microsoft.com/office/drawing/2014/main" id="{DC120E18-942E-46B4-B850-DA276A093EE5}"/>
              </a:ext>
            </a:extLst>
          </p:cNvPr>
          <p:cNvSpPr/>
          <p:nvPr/>
        </p:nvSpPr>
        <p:spPr>
          <a:xfrm>
            <a:off x="5380148" y="4379494"/>
            <a:ext cx="1357162" cy="45238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739233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p:cNvSpPr/>
          <p:nvPr/>
        </p:nvSpPr>
        <p:spPr>
          <a:xfrm>
            <a:off x="152773" y="0"/>
            <a:ext cx="11886453"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0" cap="none" spc="0" normalizeH="0" baseline="0" noProof="0" dirty="0">
                <a:ln>
                  <a:noFill/>
                </a:ln>
                <a:solidFill>
                  <a:prstClr val="black"/>
                </a:solidFill>
                <a:effectLst/>
                <a:uLnTx/>
                <a:uFillTx/>
                <a:latin typeface="Calibri" panose="020F0502020204030204"/>
                <a:ea typeface="+mn-ea"/>
                <a:cs typeface="+mn-cs"/>
              </a:rPr>
              <a:t>Klíčové ukazatele a rizikové faktory po posouzení vývoje epidemie</a:t>
            </a:r>
            <a:endParaRPr kumimoji="0" lang="cs-CZ" sz="3000" b="0" i="1"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7AB9AA42-9893-4DC8-9834-A988484D529E}"/>
              </a:ext>
            </a:extLst>
          </p:cNvPr>
          <p:cNvSpPr txBox="1"/>
          <p:nvPr>
            <p:custDataLst>
              <p:tags r:id="rId1"/>
            </p:custDataLst>
          </p:nvPr>
        </p:nvSpPr>
        <p:spPr>
          <a:xfrm>
            <a:off x="92328" y="647308"/>
            <a:ext cx="1125629" cy="369332"/>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15.1.2022</a:t>
            </a:r>
          </a:p>
        </p:txBody>
      </p:sp>
      <p:graphicFrame>
        <p:nvGraphicFramePr>
          <p:cNvPr id="18" name="Tabulka 17">
            <a:extLst>
              <a:ext uri="{FF2B5EF4-FFF2-40B4-BE49-F238E27FC236}">
                <a16:creationId xmlns:a16="http://schemas.microsoft.com/office/drawing/2014/main" id="{71279A58-EE01-4841-B0E7-0798CE7A7666}"/>
              </a:ext>
            </a:extLst>
          </p:cNvPr>
          <p:cNvGraphicFramePr>
            <a:graphicFrameLocks noGrp="1"/>
          </p:cNvGraphicFramePr>
          <p:nvPr>
            <p:custDataLst>
              <p:tags r:id="rId2"/>
            </p:custDataLst>
            <p:extLst>
              <p:ext uri="{D42A27DB-BD31-4B8C-83A1-F6EECF244321}">
                <p14:modId xmlns:p14="http://schemas.microsoft.com/office/powerpoint/2010/main" val="266831499"/>
              </p:ext>
            </p:extLst>
          </p:nvPr>
        </p:nvGraphicFramePr>
        <p:xfrm>
          <a:off x="4143455" y="1330535"/>
          <a:ext cx="3846989" cy="5021479"/>
        </p:xfrm>
        <a:graphic>
          <a:graphicData uri="http://schemas.openxmlformats.org/drawingml/2006/table">
            <a:tbl>
              <a:tblPr firstRow="1" firstCol="1" bandRow="1">
                <a:tableStyleId>{5C22544A-7EE6-4342-B048-85BDC9FD1C3A}</a:tableStyleId>
              </a:tblPr>
              <a:tblGrid>
                <a:gridCol w="3055150">
                  <a:extLst>
                    <a:ext uri="{9D8B030D-6E8A-4147-A177-3AD203B41FA5}">
                      <a16:colId xmlns:a16="http://schemas.microsoft.com/office/drawing/2014/main" val="1039761853"/>
                    </a:ext>
                  </a:extLst>
                </a:gridCol>
                <a:gridCol w="791839">
                  <a:extLst>
                    <a:ext uri="{9D8B030D-6E8A-4147-A177-3AD203B41FA5}">
                      <a16:colId xmlns:a16="http://schemas.microsoft.com/office/drawing/2014/main" val="3581028306"/>
                    </a:ext>
                  </a:extLst>
                </a:gridCol>
              </a:tblGrid>
              <a:tr h="424542">
                <a:tc>
                  <a:txBody>
                    <a:bodyPr/>
                    <a:lstStyle/>
                    <a:p>
                      <a:pPr marL="0" indent="0" algn="l">
                        <a:lnSpc>
                          <a:spcPct val="107000"/>
                        </a:lnSpc>
                        <a:spcAft>
                          <a:spcPts val="0"/>
                        </a:spcAft>
                      </a:pPr>
                      <a:r>
                        <a:rPr lang="cs-CZ" sz="1600" dirty="0">
                          <a:solidFill>
                            <a:schemeClr val="tx1">
                              <a:lumMod val="95000"/>
                              <a:lumOff val="5000"/>
                            </a:schemeClr>
                          </a:solidFill>
                          <a:effectLst/>
                        </a:rPr>
                        <a:t>POPULACE S DOKONČENÝM OČKOVÁNÍM BEZ POSILUJÍCÍ DÁVKY</a:t>
                      </a:r>
                      <a:endParaRPr lang="cs-CZ" sz="16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0"/>
                        </a:spcAft>
                      </a:pPr>
                      <a:r>
                        <a:rPr lang="en-US" sz="1400" dirty="0" err="1">
                          <a:solidFill>
                            <a:schemeClr val="tx1">
                              <a:lumMod val="95000"/>
                              <a:lumOff val="5000"/>
                            </a:schemeClr>
                          </a:solidFill>
                          <a:effectLst/>
                        </a:rPr>
                        <a:t>Hodnota</a:t>
                      </a:r>
                      <a:endParaRPr lang="cs-CZ" sz="14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1481214"/>
                  </a:ext>
                </a:extLst>
              </a:tr>
              <a:tr h="529179">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7denní počet případů po dokončeném očkování / 100tis. obyv. s dokončeným očkování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dirty="0">
                          <a:solidFill>
                            <a:srgbClr val="000000"/>
                          </a:solidFill>
                          <a:effectLst/>
                          <a:latin typeface="Arial" panose="020B0604020202020204" pitchFamily="34" charset="0"/>
                        </a:rPr>
                        <a:t>74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7558024"/>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symptomatických případů / 100 tis. obyv. s dokončeným očkování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22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3973997"/>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Relativní pozitivita (</a:t>
                      </a:r>
                      <a:r>
                        <a:rPr lang="cs-CZ" sz="1100" b="0" i="0" u="none" strike="noStrike" dirty="0" err="1">
                          <a:solidFill>
                            <a:srgbClr val="000000"/>
                          </a:solidFill>
                          <a:effectLst/>
                          <a:latin typeface="Arial" panose="020B0604020202020204" pitchFamily="34" charset="0"/>
                        </a:rPr>
                        <a:t>Dg+Epi</a:t>
                      </a:r>
                      <a:r>
                        <a:rPr lang="cs-CZ" sz="1100" b="0" i="0" u="none" strike="noStrike" dirty="0">
                          <a:solidFill>
                            <a:srgbClr val="000000"/>
                          </a:solidFill>
                          <a:effectLst/>
                          <a:latin typeface="Arial" panose="020B0604020202020204" pitchFamily="34" charset="0"/>
                        </a:rPr>
                        <a:t>) indikovaných test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8,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3029391"/>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případů 65+/ 100tis. obyv. 65+ s dokončeným očkování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7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6009103"/>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Relativní pozitivita indikovaných (</a:t>
                      </a:r>
                      <a:r>
                        <a:rPr lang="cs-CZ" sz="1100" b="0" i="0" u="none" strike="noStrike" dirty="0" err="1">
                          <a:solidFill>
                            <a:srgbClr val="000000"/>
                          </a:solidFill>
                          <a:effectLst/>
                          <a:latin typeface="Arial" panose="020B0604020202020204" pitchFamily="34" charset="0"/>
                        </a:rPr>
                        <a:t>Dg+Epi</a:t>
                      </a:r>
                      <a:r>
                        <a:rPr lang="cs-CZ" sz="1100" b="0" i="0" u="none" strike="noStrike" dirty="0">
                          <a:solidFill>
                            <a:srgbClr val="000000"/>
                          </a:solidFill>
                          <a:effectLst/>
                          <a:latin typeface="Arial" panose="020B0604020202020204" pitchFamily="34" charset="0"/>
                        </a:rPr>
                        <a:t>) testů 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58811140"/>
                  </a:ext>
                </a:extLst>
              </a:tr>
              <a:tr h="356064">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nových příjmů do nemocnic / 100tis. obyv. s dokončeným očkováním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7462542"/>
                  </a:ext>
                </a:extLst>
              </a:tr>
              <a:tr h="529179">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nových příjmů na JIP (včetně překladů) / 100tis. obyv. s dokončeným očkováním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7521848"/>
                  </a:ext>
                </a:extLst>
              </a:tr>
              <a:tr h="356064">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Hospitalizovaní na JIP k danému dni / 100 tis. obyv. s dokončeným očkováním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7752783"/>
                  </a:ext>
                </a:extLst>
              </a:tr>
              <a:tr h="356064">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Počet pacientů na UPV/ECMO k danému dni / 100 tis. obyv. s dokončeným očkováním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8833963"/>
                  </a:ext>
                </a:extLst>
              </a:tr>
              <a:tr h="356064">
                <a:tc>
                  <a:txBody>
                    <a:bodyPr/>
                    <a:lstStyle/>
                    <a:p>
                      <a:pPr algn="l" fontAlgn="ctr"/>
                      <a:r>
                        <a:rPr lang="cs-CZ" sz="1200" b="0" i="0" u="none" strike="noStrike" dirty="0">
                          <a:solidFill>
                            <a:srgbClr val="000000"/>
                          </a:solidFill>
                          <a:effectLst/>
                          <a:latin typeface="Arial" panose="020B0604020202020204" pitchFamily="34" charset="0"/>
                        </a:rPr>
                        <a:t>7denní počet klinicky a diagnosticky indikovaných PCR testů / 100tis. obyv. s dokončeným očkováním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dirty="0">
                          <a:solidFill>
                            <a:srgbClr val="000000"/>
                          </a:solidFill>
                          <a:effectLst/>
                          <a:latin typeface="Arial" panose="020B0604020202020204" pitchFamily="34" charset="0"/>
                        </a:rPr>
                        <a:t>227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985309"/>
                  </a:ext>
                </a:extLst>
              </a:tr>
            </a:tbl>
          </a:graphicData>
        </a:graphic>
      </p:graphicFrame>
      <p:graphicFrame>
        <p:nvGraphicFramePr>
          <p:cNvPr id="19" name="Tabulka 18">
            <a:extLst>
              <a:ext uri="{FF2B5EF4-FFF2-40B4-BE49-F238E27FC236}">
                <a16:creationId xmlns:a16="http://schemas.microsoft.com/office/drawing/2014/main" id="{B102A7D5-F339-4D7E-8FBA-D43F9E4CB0DA}"/>
              </a:ext>
            </a:extLst>
          </p:cNvPr>
          <p:cNvGraphicFramePr>
            <a:graphicFrameLocks noGrp="1"/>
          </p:cNvGraphicFramePr>
          <p:nvPr>
            <p:custDataLst>
              <p:tags r:id="rId3"/>
            </p:custDataLst>
            <p:extLst>
              <p:ext uri="{D42A27DB-BD31-4B8C-83A1-F6EECF244321}">
                <p14:modId xmlns:p14="http://schemas.microsoft.com/office/powerpoint/2010/main" val="3206993935"/>
              </p:ext>
            </p:extLst>
          </p:nvPr>
        </p:nvGraphicFramePr>
        <p:xfrm>
          <a:off x="84945" y="1335437"/>
          <a:ext cx="3846989" cy="5053664"/>
        </p:xfrm>
        <a:graphic>
          <a:graphicData uri="http://schemas.openxmlformats.org/drawingml/2006/table">
            <a:tbl>
              <a:tblPr firstRow="1" firstCol="1" bandRow="1">
                <a:tableStyleId>{5C22544A-7EE6-4342-B048-85BDC9FD1C3A}</a:tableStyleId>
              </a:tblPr>
              <a:tblGrid>
                <a:gridCol w="3055150">
                  <a:extLst>
                    <a:ext uri="{9D8B030D-6E8A-4147-A177-3AD203B41FA5}">
                      <a16:colId xmlns:a16="http://schemas.microsoft.com/office/drawing/2014/main" val="1039761853"/>
                    </a:ext>
                  </a:extLst>
                </a:gridCol>
                <a:gridCol w="791839">
                  <a:extLst>
                    <a:ext uri="{9D8B030D-6E8A-4147-A177-3AD203B41FA5}">
                      <a16:colId xmlns:a16="http://schemas.microsoft.com/office/drawing/2014/main" val="3581028306"/>
                    </a:ext>
                  </a:extLst>
                </a:gridCol>
              </a:tblGrid>
              <a:tr h="803329">
                <a:tc>
                  <a:txBody>
                    <a:bodyPr/>
                    <a:lstStyle/>
                    <a:p>
                      <a:pPr marL="0" indent="0" algn="l">
                        <a:lnSpc>
                          <a:spcPct val="107000"/>
                        </a:lnSpc>
                        <a:spcAft>
                          <a:spcPts val="0"/>
                        </a:spcAft>
                      </a:pPr>
                      <a:r>
                        <a:rPr lang="cs-CZ" sz="1600" dirty="0">
                          <a:solidFill>
                            <a:schemeClr val="tx1">
                              <a:lumMod val="95000"/>
                              <a:lumOff val="5000"/>
                            </a:schemeClr>
                          </a:solidFill>
                          <a:effectLst/>
                        </a:rPr>
                        <a:t>POPULACE NEOČKOVANÁ NEBO S NEDOKONČENÝM OČKOVÁNÍM</a:t>
                      </a:r>
                      <a:endParaRPr lang="cs-CZ" sz="16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0"/>
                        </a:spcAft>
                      </a:pPr>
                      <a:r>
                        <a:rPr lang="en-US" sz="1400" dirty="0" err="1">
                          <a:solidFill>
                            <a:schemeClr val="tx1">
                              <a:lumMod val="95000"/>
                              <a:lumOff val="5000"/>
                            </a:schemeClr>
                          </a:solidFill>
                          <a:effectLst/>
                        </a:rPr>
                        <a:t>Hodnota</a:t>
                      </a:r>
                      <a:endParaRPr lang="cs-CZ" sz="14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1481214"/>
                  </a:ext>
                </a:extLst>
              </a:tr>
              <a:tr h="529179">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7denní počet případů </a:t>
                      </a:r>
                      <a:r>
                        <a:rPr lang="en-US" sz="1100" b="0" i="0" u="none" strike="noStrike" dirty="0">
                          <a:solidFill>
                            <a:srgbClr val="000000"/>
                          </a:solidFill>
                          <a:effectLst/>
                          <a:latin typeface="Arial" panose="020B0604020202020204" pitchFamily="34" charset="0"/>
                        </a:rPr>
                        <a:t>bez </a:t>
                      </a:r>
                      <a:r>
                        <a:rPr lang="cs-CZ" sz="1100" b="0" i="0" u="none" strike="noStrike" dirty="0">
                          <a:solidFill>
                            <a:srgbClr val="000000"/>
                          </a:solidFill>
                          <a:effectLst/>
                          <a:latin typeface="Arial" panose="020B0604020202020204" pitchFamily="34" charset="0"/>
                        </a:rPr>
                        <a:t>dokončené</a:t>
                      </a:r>
                      <a:r>
                        <a:rPr lang="en-US" sz="1100" b="0" i="0" u="none" strike="noStrike" dirty="0">
                          <a:solidFill>
                            <a:srgbClr val="000000"/>
                          </a:solidFill>
                          <a:effectLst/>
                          <a:latin typeface="Arial" panose="020B0604020202020204" pitchFamily="34" charset="0"/>
                        </a:rPr>
                        <a:t>ho </a:t>
                      </a:r>
                      <a:r>
                        <a:rPr lang="cs-CZ" sz="1100" b="0" i="0" u="none" strike="noStrike" dirty="0">
                          <a:solidFill>
                            <a:srgbClr val="000000"/>
                          </a:solidFill>
                          <a:effectLst/>
                          <a:latin typeface="Arial" panose="020B0604020202020204" pitchFamily="34" charset="0"/>
                        </a:rPr>
                        <a:t>očkování / 100tis. obyv. </a:t>
                      </a:r>
                      <a:r>
                        <a:rPr lang="en-US" sz="1100" b="0" i="0" u="none" strike="noStrike" dirty="0">
                          <a:solidFill>
                            <a:srgbClr val="000000"/>
                          </a:solidFill>
                          <a:effectLst/>
                          <a:latin typeface="Arial" panose="020B0604020202020204" pitchFamily="34" charset="0"/>
                        </a:rPr>
                        <a:t>bez </a:t>
                      </a:r>
                      <a:r>
                        <a:rPr lang="cs-CZ" sz="1100" b="0" i="0" u="none" strike="noStrike" dirty="0">
                          <a:solidFill>
                            <a:srgbClr val="000000"/>
                          </a:solidFill>
                          <a:effectLst/>
                          <a:latin typeface="Arial" panose="020B0604020202020204" pitchFamily="34" charset="0"/>
                        </a:rPr>
                        <a:t>dokončené</a:t>
                      </a:r>
                      <a:r>
                        <a:rPr lang="en-US" sz="1100" b="0" i="0" u="none" strike="noStrike" dirty="0">
                          <a:solidFill>
                            <a:srgbClr val="000000"/>
                          </a:solidFill>
                          <a:effectLst/>
                          <a:latin typeface="Arial" panose="020B0604020202020204" pitchFamily="34" charset="0"/>
                        </a:rPr>
                        <a:t>ho </a:t>
                      </a:r>
                      <a:r>
                        <a:rPr lang="cs-CZ" sz="1100" b="0" i="0" u="none" strike="noStrike" dirty="0">
                          <a:solidFill>
                            <a:srgbClr val="000000"/>
                          </a:solidFill>
                          <a:effectLst/>
                          <a:latin typeface="Arial" panose="020B0604020202020204" pitchFamily="34" charset="0"/>
                        </a:rPr>
                        <a:t>očko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dirty="0">
                          <a:solidFill>
                            <a:srgbClr val="000000"/>
                          </a:solidFill>
                          <a:effectLst/>
                          <a:latin typeface="Arial" panose="020B0604020202020204" pitchFamily="34" charset="0"/>
                        </a:rPr>
                        <a:t>78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7558024"/>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symptomatických případů / 100 tis. obyv. </a:t>
                      </a:r>
                      <a:r>
                        <a:rPr lang="en-US" sz="1100" b="0" i="0" u="none" strike="noStrike" dirty="0">
                          <a:solidFill>
                            <a:srgbClr val="000000"/>
                          </a:solidFill>
                          <a:effectLst/>
                          <a:latin typeface="Arial" panose="020B0604020202020204" pitchFamily="34" charset="0"/>
                        </a:rPr>
                        <a:t>bez </a:t>
                      </a:r>
                      <a:r>
                        <a:rPr lang="cs-CZ" sz="1100" b="0" i="0" u="none" strike="noStrike" dirty="0">
                          <a:solidFill>
                            <a:srgbClr val="000000"/>
                          </a:solidFill>
                          <a:effectLst/>
                          <a:latin typeface="Arial" panose="020B0604020202020204" pitchFamily="34" charset="0"/>
                        </a:rPr>
                        <a:t>dokončené</a:t>
                      </a:r>
                      <a:r>
                        <a:rPr lang="en-US" sz="1100" b="0" i="0" u="none" strike="noStrike" dirty="0">
                          <a:solidFill>
                            <a:srgbClr val="000000"/>
                          </a:solidFill>
                          <a:effectLst/>
                          <a:latin typeface="Arial" panose="020B0604020202020204" pitchFamily="34" charset="0"/>
                        </a:rPr>
                        <a:t>ho </a:t>
                      </a:r>
                      <a:r>
                        <a:rPr lang="cs-CZ" sz="1100" b="0" i="0" u="none" strike="noStrike" dirty="0">
                          <a:solidFill>
                            <a:srgbClr val="000000"/>
                          </a:solidFill>
                          <a:effectLst/>
                          <a:latin typeface="Arial" panose="020B0604020202020204" pitchFamily="34" charset="0"/>
                        </a:rPr>
                        <a:t>očko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31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3973997"/>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Relativní pozitivita (</a:t>
                      </a:r>
                      <a:r>
                        <a:rPr lang="cs-CZ" sz="1100" b="0" i="0" u="none" strike="noStrike" dirty="0" err="1">
                          <a:solidFill>
                            <a:srgbClr val="000000"/>
                          </a:solidFill>
                          <a:effectLst/>
                          <a:latin typeface="Arial" panose="020B0604020202020204" pitchFamily="34" charset="0"/>
                        </a:rPr>
                        <a:t>Dg+Epi</a:t>
                      </a:r>
                      <a:r>
                        <a:rPr lang="cs-CZ" sz="1100" b="0" i="0" u="none" strike="noStrike" dirty="0">
                          <a:solidFill>
                            <a:srgbClr val="000000"/>
                          </a:solidFill>
                          <a:effectLst/>
                          <a:latin typeface="Arial" panose="020B0604020202020204" pitchFamily="34" charset="0"/>
                        </a:rPr>
                        <a:t>) indikovaných test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3029391"/>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případů 65+/ 100tis. obyv. 65+ </a:t>
                      </a:r>
                      <a:r>
                        <a:rPr lang="en-US" sz="1100" b="0" i="0" u="none" strike="noStrike" dirty="0">
                          <a:solidFill>
                            <a:srgbClr val="000000"/>
                          </a:solidFill>
                          <a:effectLst/>
                          <a:latin typeface="Arial" panose="020B0604020202020204" pitchFamily="34" charset="0"/>
                        </a:rPr>
                        <a:t>bez </a:t>
                      </a:r>
                      <a:r>
                        <a:rPr lang="cs-CZ" sz="1100" b="0" i="0" u="none" strike="noStrike" dirty="0">
                          <a:solidFill>
                            <a:srgbClr val="000000"/>
                          </a:solidFill>
                          <a:effectLst/>
                          <a:latin typeface="Arial" panose="020B0604020202020204" pitchFamily="34" charset="0"/>
                        </a:rPr>
                        <a:t>dokončené</a:t>
                      </a:r>
                      <a:r>
                        <a:rPr lang="en-US" sz="1100" b="0" i="0" u="none" strike="noStrike" dirty="0">
                          <a:solidFill>
                            <a:srgbClr val="000000"/>
                          </a:solidFill>
                          <a:effectLst/>
                          <a:latin typeface="Arial" panose="020B0604020202020204" pitchFamily="34" charset="0"/>
                        </a:rPr>
                        <a:t>ho </a:t>
                      </a:r>
                      <a:r>
                        <a:rPr lang="cs-CZ" sz="1100" b="0" i="0" u="none" strike="noStrike" dirty="0">
                          <a:solidFill>
                            <a:srgbClr val="000000"/>
                          </a:solidFill>
                          <a:effectLst/>
                          <a:latin typeface="Arial" panose="020B0604020202020204" pitchFamily="34" charset="0"/>
                        </a:rPr>
                        <a:t>očko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dirty="0">
                          <a:solidFill>
                            <a:srgbClr val="000000"/>
                          </a:solidFill>
                          <a:effectLst/>
                          <a:latin typeface="Arial" panose="020B0604020202020204" pitchFamily="34" charset="0"/>
                        </a:rPr>
                        <a:t>32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6009103"/>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Relativní pozitivita indikovaných (</a:t>
                      </a:r>
                      <a:r>
                        <a:rPr lang="cs-CZ" sz="1100" b="0" i="0" u="none" strike="noStrike" dirty="0" err="1">
                          <a:solidFill>
                            <a:srgbClr val="000000"/>
                          </a:solidFill>
                          <a:effectLst/>
                          <a:latin typeface="Arial" panose="020B0604020202020204" pitchFamily="34" charset="0"/>
                        </a:rPr>
                        <a:t>Dg+Epi</a:t>
                      </a:r>
                      <a:r>
                        <a:rPr lang="cs-CZ" sz="1100" b="0" i="0" u="none" strike="noStrike" dirty="0">
                          <a:solidFill>
                            <a:srgbClr val="000000"/>
                          </a:solidFill>
                          <a:effectLst/>
                          <a:latin typeface="Arial" panose="020B0604020202020204" pitchFamily="34" charset="0"/>
                        </a:rPr>
                        <a:t>) testů 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2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58811140"/>
                  </a:ext>
                </a:extLst>
              </a:tr>
              <a:tr h="356064">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nových příjmů do nemocnic / 100tis. obyv. </a:t>
                      </a:r>
                      <a:r>
                        <a:rPr lang="en-US" sz="1100" b="0" i="0" u="none" strike="noStrike" dirty="0">
                          <a:solidFill>
                            <a:srgbClr val="000000"/>
                          </a:solidFill>
                          <a:effectLst/>
                          <a:latin typeface="Arial" panose="020B0604020202020204" pitchFamily="34" charset="0"/>
                        </a:rPr>
                        <a:t>bez </a:t>
                      </a:r>
                      <a:r>
                        <a:rPr lang="cs-CZ" sz="1100" b="0" i="0" u="none" strike="noStrike" dirty="0">
                          <a:solidFill>
                            <a:srgbClr val="000000"/>
                          </a:solidFill>
                          <a:effectLst/>
                          <a:latin typeface="Arial" panose="020B0604020202020204" pitchFamily="34" charset="0"/>
                        </a:rPr>
                        <a:t>dokončené</a:t>
                      </a:r>
                      <a:r>
                        <a:rPr lang="en-US" sz="1100" b="0" i="0" u="none" strike="noStrike" dirty="0">
                          <a:solidFill>
                            <a:srgbClr val="000000"/>
                          </a:solidFill>
                          <a:effectLst/>
                          <a:latin typeface="Arial" panose="020B0604020202020204" pitchFamily="34" charset="0"/>
                        </a:rPr>
                        <a:t>ho </a:t>
                      </a:r>
                      <a:r>
                        <a:rPr lang="cs-CZ" sz="1100" b="0" i="0" u="none" strike="noStrike" dirty="0">
                          <a:solidFill>
                            <a:srgbClr val="000000"/>
                          </a:solidFill>
                          <a:effectLst/>
                          <a:latin typeface="Arial" panose="020B0604020202020204" pitchFamily="34" charset="0"/>
                        </a:rPr>
                        <a:t>očko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dirty="0">
                          <a:solidFill>
                            <a:srgbClr val="000000"/>
                          </a:solidFill>
                          <a:effectLst/>
                          <a:latin typeface="Arial" panose="020B0604020202020204" pitchFamily="34" charset="0"/>
                        </a:rPr>
                        <a:t>2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7462542"/>
                  </a:ext>
                </a:extLst>
              </a:tr>
              <a:tr h="529179">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nových příjmů na JIP (včetně překladů) / 100tis. obyv. </a:t>
                      </a:r>
                      <a:r>
                        <a:rPr lang="en-US" sz="1100" b="0" i="0" u="none" strike="noStrike" dirty="0">
                          <a:solidFill>
                            <a:srgbClr val="000000"/>
                          </a:solidFill>
                          <a:effectLst/>
                          <a:latin typeface="Arial" panose="020B0604020202020204" pitchFamily="34" charset="0"/>
                        </a:rPr>
                        <a:t>bez </a:t>
                      </a:r>
                      <a:r>
                        <a:rPr lang="cs-CZ" sz="1100" b="0" i="0" u="none" strike="noStrike" dirty="0">
                          <a:solidFill>
                            <a:srgbClr val="000000"/>
                          </a:solidFill>
                          <a:effectLst/>
                          <a:latin typeface="Arial" panose="020B0604020202020204" pitchFamily="34" charset="0"/>
                        </a:rPr>
                        <a:t>dokončené</a:t>
                      </a:r>
                      <a:r>
                        <a:rPr lang="en-US" sz="1100" b="0" i="0" u="none" strike="noStrike" dirty="0">
                          <a:solidFill>
                            <a:srgbClr val="000000"/>
                          </a:solidFill>
                          <a:effectLst/>
                          <a:latin typeface="Arial" panose="020B0604020202020204" pitchFamily="34" charset="0"/>
                        </a:rPr>
                        <a:t>ho </a:t>
                      </a:r>
                      <a:r>
                        <a:rPr lang="cs-CZ" sz="1100" b="0" i="0" u="none" strike="noStrike" dirty="0">
                          <a:solidFill>
                            <a:srgbClr val="000000"/>
                          </a:solidFill>
                          <a:effectLst/>
                          <a:latin typeface="Arial" panose="020B0604020202020204" pitchFamily="34" charset="0"/>
                        </a:rPr>
                        <a:t>očko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7521848"/>
                  </a:ext>
                </a:extLst>
              </a:tr>
              <a:tr h="356064">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Hospitalizovaní na JIP k danému dni / 100 tis. obyv. </a:t>
                      </a:r>
                      <a:r>
                        <a:rPr lang="en-US" sz="1100" b="0" i="0" u="none" strike="noStrike" dirty="0">
                          <a:solidFill>
                            <a:srgbClr val="000000"/>
                          </a:solidFill>
                          <a:effectLst/>
                          <a:latin typeface="Arial" panose="020B0604020202020204" pitchFamily="34" charset="0"/>
                        </a:rPr>
                        <a:t>bez </a:t>
                      </a:r>
                      <a:r>
                        <a:rPr lang="cs-CZ" sz="1100" b="0" i="0" u="none" strike="noStrike" dirty="0">
                          <a:solidFill>
                            <a:srgbClr val="000000"/>
                          </a:solidFill>
                          <a:effectLst/>
                          <a:latin typeface="Arial" panose="020B0604020202020204" pitchFamily="34" charset="0"/>
                        </a:rPr>
                        <a:t>dokončené</a:t>
                      </a:r>
                      <a:r>
                        <a:rPr lang="en-US" sz="1100" b="0" i="0" u="none" strike="noStrike" dirty="0">
                          <a:solidFill>
                            <a:srgbClr val="000000"/>
                          </a:solidFill>
                          <a:effectLst/>
                          <a:latin typeface="Arial" panose="020B0604020202020204" pitchFamily="34" charset="0"/>
                        </a:rPr>
                        <a:t>ho </a:t>
                      </a:r>
                      <a:r>
                        <a:rPr lang="cs-CZ" sz="1100" b="0" i="0" u="none" strike="noStrike" dirty="0">
                          <a:solidFill>
                            <a:srgbClr val="000000"/>
                          </a:solidFill>
                          <a:effectLst/>
                          <a:latin typeface="Arial" panose="020B0604020202020204" pitchFamily="34" charset="0"/>
                        </a:rPr>
                        <a:t>očko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dirty="0">
                          <a:solidFill>
                            <a:srgbClr val="000000"/>
                          </a:solidFill>
                          <a:effectLst/>
                          <a:latin typeface="Arial" panose="020B0604020202020204" pitchFamily="34" charset="0"/>
                        </a:rPr>
                        <a:t>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7752783"/>
                  </a:ext>
                </a:extLst>
              </a:tr>
              <a:tr h="356064">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Počet pacientů na UPV/ECMO k danému dni / 100 tis. obyv. </a:t>
                      </a:r>
                      <a:r>
                        <a:rPr lang="en-US" sz="1100" b="0" i="0" u="none" strike="noStrike" dirty="0">
                          <a:solidFill>
                            <a:srgbClr val="000000"/>
                          </a:solidFill>
                          <a:effectLst/>
                          <a:latin typeface="Arial" panose="020B0604020202020204" pitchFamily="34" charset="0"/>
                        </a:rPr>
                        <a:t>bez </a:t>
                      </a:r>
                      <a:r>
                        <a:rPr lang="cs-CZ" sz="1100" b="0" i="0" u="none" strike="noStrike" dirty="0">
                          <a:solidFill>
                            <a:srgbClr val="000000"/>
                          </a:solidFill>
                          <a:effectLst/>
                          <a:latin typeface="Arial" panose="020B0604020202020204" pitchFamily="34" charset="0"/>
                        </a:rPr>
                        <a:t>dokončené</a:t>
                      </a:r>
                      <a:r>
                        <a:rPr lang="en-US" sz="1100" b="0" i="0" u="none" strike="noStrike" dirty="0">
                          <a:solidFill>
                            <a:srgbClr val="000000"/>
                          </a:solidFill>
                          <a:effectLst/>
                          <a:latin typeface="Arial" panose="020B0604020202020204" pitchFamily="34" charset="0"/>
                        </a:rPr>
                        <a:t>ho </a:t>
                      </a:r>
                      <a:r>
                        <a:rPr lang="cs-CZ" sz="1100" b="0" i="0" u="none" strike="noStrike" dirty="0">
                          <a:solidFill>
                            <a:srgbClr val="000000"/>
                          </a:solidFill>
                          <a:effectLst/>
                          <a:latin typeface="Arial" panose="020B0604020202020204" pitchFamily="34" charset="0"/>
                        </a:rPr>
                        <a:t>očko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dirty="0">
                          <a:solidFill>
                            <a:srgbClr val="000000"/>
                          </a:solidFill>
                          <a:effectLst/>
                          <a:latin typeface="Arial" panose="020B0604020202020204" pitchFamily="34" charset="0"/>
                        </a:rPr>
                        <a:t>5,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0073058"/>
                  </a:ext>
                </a:extLst>
              </a:tr>
              <a:tr h="356064">
                <a:tc>
                  <a:txBody>
                    <a:bodyPr/>
                    <a:lstStyle/>
                    <a:p>
                      <a:pPr algn="l" fontAlgn="ctr"/>
                      <a:r>
                        <a:rPr lang="cs-CZ" sz="1200" b="0" i="0" u="none" strike="noStrike" dirty="0">
                          <a:solidFill>
                            <a:srgbClr val="000000"/>
                          </a:solidFill>
                          <a:effectLst/>
                          <a:latin typeface="Arial" panose="020B0604020202020204" pitchFamily="34" charset="0"/>
                        </a:rPr>
                        <a:t>7denní počet klinicky a diagnosticky indikovaných PCR testů / 100tis. obyv. </a:t>
                      </a:r>
                      <a:r>
                        <a:rPr lang="en-US" sz="1200" b="0" i="0" u="none" strike="noStrike" dirty="0">
                          <a:solidFill>
                            <a:srgbClr val="000000"/>
                          </a:solidFill>
                          <a:effectLst/>
                          <a:latin typeface="Arial" panose="020B0604020202020204" pitchFamily="34" charset="0"/>
                        </a:rPr>
                        <a:t>bez </a:t>
                      </a:r>
                      <a:r>
                        <a:rPr lang="cs-CZ" sz="1200" b="0" i="0" u="none" strike="noStrike" dirty="0">
                          <a:solidFill>
                            <a:srgbClr val="000000"/>
                          </a:solidFill>
                          <a:effectLst/>
                          <a:latin typeface="Arial" panose="020B0604020202020204" pitchFamily="34" charset="0"/>
                        </a:rPr>
                        <a:t>dokončené</a:t>
                      </a:r>
                      <a:r>
                        <a:rPr lang="en-US" sz="1200" b="0" i="0" u="none" strike="noStrike" dirty="0">
                          <a:solidFill>
                            <a:srgbClr val="000000"/>
                          </a:solidFill>
                          <a:effectLst/>
                          <a:latin typeface="Arial" panose="020B0604020202020204" pitchFamily="34" charset="0"/>
                        </a:rPr>
                        <a:t>ho </a:t>
                      </a:r>
                      <a:r>
                        <a:rPr lang="cs-CZ" sz="1200" b="0" i="0" u="none" strike="noStrike" dirty="0">
                          <a:solidFill>
                            <a:srgbClr val="000000"/>
                          </a:solidFill>
                          <a:effectLst/>
                          <a:latin typeface="Arial" panose="020B0604020202020204" pitchFamily="34" charset="0"/>
                        </a:rPr>
                        <a:t>očko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dirty="0">
                          <a:solidFill>
                            <a:srgbClr val="000000"/>
                          </a:solidFill>
                          <a:effectLst/>
                          <a:latin typeface="Arial" panose="020B0604020202020204" pitchFamily="34" charset="0"/>
                        </a:rPr>
                        <a:t>409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492037"/>
                  </a:ext>
                </a:extLst>
              </a:tr>
            </a:tbl>
          </a:graphicData>
        </a:graphic>
      </p:graphicFrame>
      <p:graphicFrame>
        <p:nvGraphicFramePr>
          <p:cNvPr id="20" name="Tabulka 19">
            <a:extLst>
              <a:ext uri="{FF2B5EF4-FFF2-40B4-BE49-F238E27FC236}">
                <a16:creationId xmlns:a16="http://schemas.microsoft.com/office/drawing/2014/main" id="{7408C767-D0F8-4BB4-9111-1C265BE7958B}"/>
              </a:ext>
            </a:extLst>
          </p:cNvPr>
          <p:cNvGraphicFramePr>
            <a:graphicFrameLocks noGrp="1"/>
          </p:cNvGraphicFramePr>
          <p:nvPr>
            <p:custDataLst>
              <p:tags r:id="rId4"/>
            </p:custDataLst>
            <p:extLst>
              <p:ext uri="{D42A27DB-BD31-4B8C-83A1-F6EECF244321}">
                <p14:modId xmlns:p14="http://schemas.microsoft.com/office/powerpoint/2010/main" val="3142868950"/>
              </p:ext>
            </p:extLst>
          </p:nvPr>
        </p:nvGraphicFramePr>
        <p:xfrm>
          <a:off x="8192238" y="1322089"/>
          <a:ext cx="3846988" cy="5021479"/>
        </p:xfrm>
        <a:graphic>
          <a:graphicData uri="http://schemas.openxmlformats.org/drawingml/2006/table">
            <a:tbl>
              <a:tblPr firstRow="1" firstCol="1" bandRow="1">
                <a:tableStyleId>{5C22544A-7EE6-4342-B048-85BDC9FD1C3A}</a:tableStyleId>
              </a:tblPr>
              <a:tblGrid>
                <a:gridCol w="3055149">
                  <a:extLst>
                    <a:ext uri="{9D8B030D-6E8A-4147-A177-3AD203B41FA5}">
                      <a16:colId xmlns:a16="http://schemas.microsoft.com/office/drawing/2014/main" val="1039761853"/>
                    </a:ext>
                  </a:extLst>
                </a:gridCol>
                <a:gridCol w="791839">
                  <a:extLst>
                    <a:ext uri="{9D8B030D-6E8A-4147-A177-3AD203B41FA5}">
                      <a16:colId xmlns:a16="http://schemas.microsoft.com/office/drawing/2014/main" val="3581028306"/>
                    </a:ext>
                  </a:extLst>
                </a:gridCol>
              </a:tblGrid>
              <a:tr h="424542">
                <a:tc>
                  <a:txBody>
                    <a:bodyPr/>
                    <a:lstStyle/>
                    <a:p>
                      <a:pPr marL="0" indent="0" algn="l">
                        <a:lnSpc>
                          <a:spcPct val="107000"/>
                        </a:lnSpc>
                        <a:spcAft>
                          <a:spcPts val="0"/>
                        </a:spcAft>
                      </a:pPr>
                      <a:r>
                        <a:rPr lang="cs-CZ" sz="1600" dirty="0">
                          <a:solidFill>
                            <a:schemeClr val="tx1">
                              <a:lumMod val="95000"/>
                              <a:lumOff val="5000"/>
                            </a:schemeClr>
                          </a:solidFill>
                          <a:effectLst/>
                        </a:rPr>
                        <a:t>POPULACE S DOKONČENÝM OČKOVÁNÍM S POSILUJÍCÍ DÁVKOU</a:t>
                      </a:r>
                      <a:endParaRPr lang="cs-CZ" sz="16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0"/>
                        </a:spcAft>
                      </a:pPr>
                      <a:r>
                        <a:rPr lang="en-US" sz="1400" dirty="0" err="1">
                          <a:solidFill>
                            <a:schemeClr val="tx1">
                              <a:lumMod val="95000"/>
                              <a:lumOff val="5000"/>
                            </a:schemeClr>
                          </a:solidFill>
                          <a:effectLst/>
                        </a:rPr>
                        <a:t>Hodnota</a:t>
                      </a:r>
                      <a:endParaRPr lang="cs-CZ" sz="14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1481214"/>
                  </a:ext>
                </a:extLst>
              </a:tr>
              <a:tr h="529179">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7denní počet případů po dokončeném očkování / 100tis. obyv. po posilující dáv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dirty="0">
                          <a:solidFill>
                            <a:srgbClr val="000000"/>
                          </a:solidFill>
                          <a:effectLst/>
                          <a:latin typeface="Arial" panose="020B0604020202020204" pitchFamily="34" charset="0"/>
                        </a:rPr>
                        <a:t>18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7558024"/>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symptomatických případů / 100 tis. obyv. po posilující dáv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5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3973997"/>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Relativní pozitivita (</a:t>
                      </a:r>
                      <a:r>
                        <a:rPr lang="cs-CZ" sz="1100" b="0" i="0" u="none" strike="noStrike" dirty="0" err="1">
                          <a:solidFill>
                            <a:srgbClr val="000000"/>
                          </a:solidFill>
                          <a:effectLst/>
                          <a:latin typeface="Arial" panose="020B0604020202020204" pitchFamily="34" charset="0"/>
                        </a:rPr>
                        <a:t>Dg+Epi</a:t>
                      </a:r>
                      <a:r>
                        <a:rPr lang="cs-CZ" sz="1100" b="0" i="0" u="none" strike="noStrike" dirty="0">
                          <a:solidFill>
                            <a:srgbClr val="000000"/>
                          </a:solidFill>
                          <a:effectLst/>
                          <a:latin typeface="Arial" panose="020B0604020202020204" pitchFamily="34" charset="0"/>
                        </a:rPr>
                        <a:t>) indikovaných test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3029391"/>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případů 65+/ 100tis. obyv. 65+ po posilující dáv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86,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6009103"/>
                  </a:ext>
                </a:extLst>
              </a:tr>
              <a:tr h="391405">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Relativní pozitivita indikovaných (</a:t>
                      </a:r>
                      <a:r>
                        <a:rPr lang="cs-CZ" sz="1100" b="0" i="0" u="none" strike="noStrike" dirty="0" err="1">
                          <a:solidFill>
                            <a:srgbClr val="000000"/>
                          </a:solidFill>
                          <a:effectLst/>
                          <a:latin typeface="Arial" panose="020B0604020202020204" pitchFamily="34" charset="0"/>
                        </a:rPr>
                        <a:t>Dg+Epi</a:t>
                      </a:r>
                      <a:r>
                        <a:rPr lang="cs-CZ" sz="1100" b="0" i="0" u="none" strike="noStrike" dirty="0">
                          <a:solidFill>
                            <a:srgbClr val="000000"/>
                          </a:solidFill>
                          <a:effectLst/>
                          <a:latin typeface="Arial" panose="020B0604020202020204" pitchFamily="34" charset="0"/>
                        </a:rPr>
                        <a:t>) testů 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8,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58811140"/>
                  </a:ext>
                </a:extLst>
              </a:tr>
              <a:tr h="356064">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nových příjmů do nemocnic / 100tis. obyv. po posilující dáv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7462542"/>
                  </a:ext>
                </a:extLst>
              </a:tr>
              <a:tr h="529179">
                <a:tc>
                  <a:txBody>
                    <a:bodyPr/>
                    <a:lstStyle/>
                    <a:p>
                      <a:pPr algn="l" fontAlgn="ctr">
                        <a:buClr>
                          <a:srgbClr val="000000"/>
                        </a:buClr>
                        <a:buSzPts val="1200"/>
                        <a:buFont typeface="Arial" panose="020B0604020202020204" pitchFamily="34" charset="0"/>
                        <a:buNone/>
                      </a:pPr>
                      <a:r>
                        <a:rPr lang="cs-CZ" sz="1100" b="0" i="0" u="none" strike="noStrike" dirty="0">
                          <a:solidFill>
                            <a:srgbClr val="000000"/>
                          </a:solidFill>
                          <a:effectLst/>
                          <a:latin typeface="Arial" panose="020B0604020202020204" pitchFamily="34" charset="0"/>
                        </a:rPr>
                        <a:t>7denní počet nových příjmů na JIP (včetně překladů) / 100tis. obyv. po posilující dáv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7521848"/>
                  </a:ext>
                </a:extLst>
              </a:tr>
              <a:tr h="356064">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Hospitalizovaní na JIP k danému dni / 100 tis. obyv. po posilující dáv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7752783"/>
                  </a:ext>
                </a:extLst>
              </a:tr>
              <a:tr h="356064">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100" b="0" i="0" u="none" strike="noStrike" dirty="0">
                          <a:solidFill>
                            <a:srgbClr val="000000"/>
                          </a:solidFill>
                          <a:effectLst/>
                          <a:latin typeface="Arial" panose="020B0604020202020204" pitchFamily="34" charset="0"/>
                        </a:rPr>
                        <a:t>Počet pacientů na UPV/ECMO k danému dni / 100 tis. obyv. po posilující dáv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8833963"/>
                  </a:ext>
                </a:extLst>
              </a:tr>
              <a:tr h="356064">
                <a:tc>
                  <a:txBody>
                    <a:bodyPr/>
                    <a:lstStyle/>
                    <a:p>
                      <a:pPr algn="l" fontAlgn="ctr"/>
                      <a:r>
                        <a:rPr lang="cs-CZ" sz="1200" b="0" i="0" u="none" strike="noStrike" dirty="0">
                          <a:solidFill>
                            <a:srgbClr val="000000"/>
                          </a:solidFill>
                          <a:effectLst/>
                          <a:latin typeface="Arial" panose="020B0604020202020204" pitchFamily="34" charset="0"/>
                        </a:rPr>
                        <a:t>7denní počet klinicky a diagnosticky indikovaných PCR testů / 100tis. obyv. po posilující dáv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dirty="0">
                          <a:solidFill>
                            <a:srgbClr val="000000"/>
                          </a:solidFill>
                          <a:effectLst/>
                          <a:latin typeface="Arial" panose="020B0604020202020204" pitchFamily="34" charset="0"/>
                        </a:rPr>
                        <a:t>109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985309"/>
                  </a:ext>
                </a:extLst>
              </a:tr>
            </a:tbl>
          </a:graphicData>
        </a:graphic>
      </p:graphicFrame>
      <p:sp>
        <p:nvSpPr>
          <p:cNvPr id="8" name="Šipka: doprava 7">
            <a:extLst>
              <a:ext uri="{FF2B5EF4-FFF2-40B4-BE49-F238E27FC236}">
                <a16:creationId xmlns:a16="http://schemas.microsoft.com/office/drawing/2014/main" id="{7CC56CFD-444A-4E74-AF7B-209C14074EC8}"/>
              </a:ext>
            </a:extLst>
          </p:cNvPr>
          <p:cNvSpPr/>
          <p:nvPr/>
        </p:nvSpPr>
        <p:spPr>
          <a:xfrm>
            <a:off x="7879820" y="2247254"/>
            <a:ext cx="211521" cy="79041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Šipka: doprava 8">
            <a:extLst>
              <a:ext uri="{FF2B5EF4-FFF2-40B4-BE49-F238E27FC236}">
                <a16:creationId xmlns:a16="http://schemas.microsoft.com/office/drawing/2014/main" id="{36CCD9C9-6A1E-4E7F-B07D-05B54CB3CFA8}"/>
              </a:ext>
            </a:extLst>
          </p:cNvPr>
          <p:cNvSpPr/>
          <p:nvPr/>
        </p:nvSpPr>
        <p:spPr>
          <a:xfrm>
            <a:off x="3859451" y="4894881"/>
            <a:ext cx="211521" cy="79041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Šipka: doprava 9">
            <a:extLst>
              <a:ext uri="{FF2B5EF4-FFF2-40B4-BE49-F238E27FC236}">
                <a16:creationId xmlns:a16="http://schemas.microsoft.com/office/drawing/2014/main" id="{C9AFB944-1DDC-450B-B92D-BB35E1254328}"/>
              </a:ext>
            </a:extLst>
          </p:cNvPr>
          <p:cNvSpPr/>
          <p:nvPr/>
        </p:nvSpPr>
        <p:spPr>
          <a:xfrm>
            <a:off x="7908234" y="4894880"/>
            <a:ext cx="211521" cy="79041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55097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p:cNvSpPr/>
          <p:nvPr/>
        </p:nvSpPr>
        <p:spPr>
          <a:xfrm>
            <a:off x="152773" y="42511"/>
            <a:ext cx="11886453"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0" cap="none" spc="0" normalizeH="0" baseline="0" noProof="0" dirty="0">
                <a:ln>
                  <a:noFill/>
                </a:ln>
                <a:solidFill>
                  <a:prstClr val="black"/>
                </a:solidFill>
                <a:effectLst/>
                <a:uLnTx/>
                <a:uFillTx/>
                <a:latin typeface="Calibri" panose="020F0502020204030204"/>
                <a:ea typeface="+mn-ea"/>
                <a:cs typeface="+mn-cs"/>
              </a:rPr>
              <a:t>Zásadním faktorem pro kontrolu epidemie je i v éře Omikronu očkování </a:t>
            </a:r>
            <a:endParaRPr kumimoji="0" lang="cs-CZ" sz="3000" b="0" i="1"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7" name="TextovéPole 36">
            <a:extLst>
              <a:ext uri="{FF2B5EF4-FFF2-40B4-BE49-F238E27FC236}">
                <a16:creationId xmlns:a16="http://schemas.microsoft.com/office/drawing/2014/main" id="{8A13EED6-7BE9-4DD5-B41D-847758B5E561}"/>
              </a:ext>
            </a:extLst>
          </p:cNvPr>
          <p:cNvSpPr txBox="1"/>
          <p:nvPr/>
        </p:nvSpPr>
        <p:spPr>
          <a:xfrm>
            <a:off x="778933" y="6567132"/>
            <a:ext cx="958587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Kalkulováno ze 7denních kumulativních počtů případů onemocnění; vždy ve srovnání populace s dokončeným očkováním vs. populace neočkovaná</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D829E4AD-1E0E-47D0-A000-819EF489F2FA}"/>
              </a:ext>
            </a:extLst>
          </p:cNvPr>
          <p:cNvSpPr txBox="1"/>
          <p:nvPr>
            <p:custDataLst>
              <p:tags r:id="rId1"/>
            </p:custDataLst>
          </p:nvPr>
        </p:nvSpPr>
        <p:spPr>
          <a:xfrm>
            <a:off x="254523" y="596509"/>
            <a:ext cx="1127158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FF"/>
                </a:solidFill>
                <a:effectLst/>
                <a:uLnTx/>
                <a:uFillTx/>
                <a:latin typeface="Calibri" panose="020F0502020204030204"/>
                <a:ea typeface="+mn-ea"/>
                <a:cs typeface="+mn-cs"/>
              </a:rPr>
              <a:t>V čase sice významně klesá ochranný efekt dokončené dvou-dávkové vakcinace proti nákaze, posilující dávka avšak ochranu vrací zpět nad 70%. Zcela zásadní je ale ochranný efekt očkování proti těžkému průběhu nemoci, který se drží i u základního očkování. Posilující dávka jej zvyšuje významně nad 95%. </a:t>
            </a:r>
            <a:endParaRPr kumimoji="0" lang="en-US" sz="1600" b="1" i="0" u="none" strike="noStrike" kern="1200" cap="none" spc="0" normalizeH="0" baseline="0" noProof="0" dirty="0">
              <a:ln>
                <a:noFill/>
              </a:ln>
              <a:solidFill>
                <a:srgbClr val="0000FF"/>
              </a:solidFill>
              <a:effectLst/>
              <a:uLnTx/>
              <a:uFillTx/>
              <a:latin typeface="Calibri" panose="020F0502020204030204"/>
              <a:ea typeface="+mn-ea"/>
              <a:cs typeface="+mn-cs"/>
            </a:endParaRPr>
          </a:p>
        </p:txBody>
      </p:sp>
      <p:sp>
        <p:nvSpPr>
          <p:cNvPr id="2" name="Šipka: dolů 1">
            <a:extLst>
              <a:ext uri="{FF2B5EF4-FFF2-40B4-BE49-F238E27FC236}">
                <a16:creationId xmlns:a16="http://schemas.microsoft.com/office/drawing/2014/main" id="{349009E5-FE1B-47E7-8056-2D250042195C}"/>
              </a:ext>
            </a:extLst>
          </p:cNvPr>
          <p:cNvSpPr/>
          <p:nvPr/>
        </p:nvSpPr>
        <p:spPr>
          <a:xfrm>
            <a:off x="1944303" y="1187170"/>
            <a:ext cx="847023" cy="30579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Šipka: dolů 7">
            <a:extLst>
              <a:ext uri="{FF2B5EF4-FFF2-40B4-BE49-F238E27FC236}">
                <a16:creationId xmlns:a16="http://schemas.microsoft.com/office/drawing/2014/main" id="{71073DF3-D898-47B7-A46F-251E6DD43148}"/>
              </a:ext>
            </a:extLst>
          </p:cNvPr>
          <p:cNvSpPr/>
          <p:nvPr/>
        </p:nvSpPr>
        <p:spPr>
          <a:xfrm>
            <a:off x="8680383" y="1187169"/>
            <a:ext cx="847023" cy="30579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ulka 8">
            <a:extLst>
              <a:ext uri="{FF2B5EF4-FFF2-40B4-BE49-F238E27FC236}">
                <a16:creationId xmlns:a16="http://schemas.microsoft.com/office/drawing/2014/main" id="{68DC9D2A-A1DE-4D20-99B4-B1C3E8D7B315}"/>
              </a:ext>
            </a:extLst>
          </p:cNvPr>
          <p:cNvGraphicFramePr>
            <a:graphicFrameLocks noGrp="1"/>
          </p:cNvGraphicFramePr>
          <p:nvPr>
            <p:custDataLst>
              <p:tags r:id="rId2"/>
            </p:custDataLst>
            <p:extLst>
              <p:ext uri="{D42A27DB-BD31-4B8C-83A1-F6EECF244321}">
                <p14:modId xmlns:p14="http://schemas.microsoft.com/office/powerpoint/2010/main" val="3187529402"/>
              </p:ext>
            </p:extLst>
          </p:nvPr>
        </p:nvGraphicFramePr>
        <p:xfrm>
          <a:off x="486701" y="1642773"/>
          <a:ext cx="5188234" cy="4927708"/>
        </p:xfrm>
        <a:graphic>
          <a:graphicData uri="http://schemas.openxmlformats.org/drawingml/2006/table">
            <a:tbl>
              <a:tblPr firstRow="1" firstCol="1" bandRow="1">
                <a:tableStyleId>{5C22544A-7EE6-4342-B048-85BDC9FD1C3A}</a:tableStyleId>
              </a:tblPr>
              <a:tblGrid>
                <a:gridCol w="3299871">
                  <a:extLst>
                    <a:ext uri="{9D8B030D-6E8A-4147-A177-3AD203B41FA5}">
                      <a16:colId xmlns:a16="http://schemas.microsoft.com/office/drawing/2014/main" val="1039761853"/>
                    </a:ext>
                  </a:extLst>
                </a:gridCol>
                <a:gridCol w="1888363">
                  <a:extLst>
                    <a:ext uri="{9D8B030D-6E8A-4147-A177-3AD203B41FA5}">
                      <a16:colId xmlns:a16="http://schemas.microsoft.com/office/drawing/2014/main" val="1107678429"/>
                    </a:ext>
                  </a:extLst>
                </a:gridCol>
              </a:tblGrid>
              <a:tr h="672237">
                <a:tc>
                  <a:txBody>
                    <a:bodyPr/>
                    <a:lstStyle/>
                    <a:p>
                      <a:pPr marL="0" indent="0" algn="l">
                        <a:lnSpc>
                          <a:spcPct val="107000"/>
                        </a:lnSpc>
                        <a:spcAft>
                          <a:spcPts val="0"/>
                        </a:spcAft>
                      </a:pPr>
                      <a:r>
                        <a:rPr lang="cs-CZ" sz="1200" u="sng" dirty="0">
                          <a:solidFill>
                            <a:schemeClr val="tx1">
                              <a:lumMod val="95000"/>
                              <a:lumOff val="5000"/>
                            </a:schemeClr>
                          </a:solidFill>
                          <a:effectLst/>
                        </a:rPr>
                        <a:t>CELÁ POPULACE</a:t>
                      </a:r>
                      <a:r>
                        <a:rPr lang="cs-CZ" sz="1200" dirty="0">
                          <a:solidFill>
                            <a:schemeClr val="tx1">
                              <a:lumMod val="95000"/>
                              <a:lumOff val="5000"/>
                            </a:schemeClr>
                          </a:solidFill>
                          <a:effectLst/>
                        </a:rPr>
                        <a:t> </a:t>
                      </a:r>
                    </a:p>
                    <a:p>
                      <a:pPr marL="0" indent="0" algn="l">
                        <a:lnSpc>
                          <a:spcPct val="107000"/>
                        </a:lnSpc>
                        <a:spcAft>
                          <a:spcPts val="0"/>
                        </a:spcAft>
                      </a:pPr>
                      <a:r>
                        <a:rPr lang="cs-CZ" sz="1200" dirty="0">
                          <a:solidFill>
                            <a:schemeClr val="tx1">
                              <a:lumMod val="95000"/>
                              <a:lumOff val="5000"/>
                            </a:schemeClr>
                          </a:solidFill>
                          <a:effectLst/>
                        </a:rPr>
                        <a:t>OCHRANNÝ EFEKT (OE) DOKONČENÉHO OČKOVÁNÍ </a:t>
                      </a:r>
                      <a:r>
                        <a:rPr lang="cs-CZ" sz="1200" dirty="0">
                          <a:solidFill>
                            <a:srgbClr val="FF0000"/>
                          </a:solidFill>
                          <a:effectLst/>
                        </a:rPr>
                        <a:t>BEZ POSILUJÍCÍ DÁVKY </a:t>
                      </a:r>
                      <a:r>
                        <a:rPr lang="cs-CZ" sz="1200" dirty="0">
                          <a:solidFill>
                            <a:schemeClr val="tx1">
                              <a:lumMod val="95000"/>
                              <a:lumOff val="5000"/>
                            </a:schemeClr>
                          </a:solidFill>
                          <a:effectLst/>
                        </a:rPr>
                        <a:t>*</a:t>
                      </a:r>
                      <a:endParaRPr lang="cs-CZ" sz="12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000000"/>
                          </a:solidFill>
                          <a:effectLst/>
                          <a:latin typeface="Calibri" panose="020F0502020204030204" pitchFamily="34" charset="0"/>
                        </a:rPr>
                        <a:t>Oproti neočkovaný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1481214"/>
                  </a:ext>
                </a:extLst>
              </a:tr>
              <a:tr h="423558">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200" b="0" i="0" u="none" strike="noStrike" dirty="0">
                          <a:solidFill>
                            <a:srgbClr val="000000"/>
                          </a:solidFill>
                          <a:effectLst/>
                          <a:latin typeface="Arial" panose="020B0604020202020204" pitchFamily="34" charset="0"/>
                        </a:rPr>
                        <a:t>OE PROTI NÁKAZ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1027558024"/>
                  </a:ext>
                </a:extLst>
              </a:tr>
              <a:tr h="457335">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HOSPITALIZACI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75,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2823973997"/>
                  </a:ext>
                </a:extLst>
              </a:tr>
              <a:tr h="427011">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LÉČBĚ NA JIP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a:solidFill>
                            <a:srgbClr val="FFFFFF"/>
                          </a:solidFill>
                          <a:effectLst/>
                          <a:latin typeface="Arial" panose="020B0604020202020204" pitchFamily="34" charset="0"/>
                        </a:rPr>
                        <a:t>8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4183029391"/>
                  </a:ext>
                </a:extLst>
              </a:tr>
              <a:tr h="455066">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LÉČBĚ NA UPV/ECM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8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516009103"/>
                  </a:ext>
                </a:extLst>
              </a:tr>
              <a:tr h="672237">
                <a:tc>
                  <a:txBody>
                    <a:bodyPr/>
                    <a:lstStyle/>
                    <a:p>
                      <a:pPr marL="0" indent="0" algn="l">
                        <a:lnSpc>
                          <a:spcPct val="107000"/>
                        </a:lnSpc>
                        <a:spcAft>
                          <a:spcPts val="0"/>
                        </a:spcAft>
                      </a:pPr>
                      <a:r>
                        <a:rPr lang="cs-CZ" sz="1200" u="sng" dirty="0">
                          <a:solidFill>
                            <a:schemeClr val="tx1">
                              <a:lumMod val="95000"/>
                              <a:lumOff val="5000"/>
                            </a:schemeClr>
                          </a:solidFill>
                          <a:effectLst/>
                        </a:rPr>
                        <a:t>POPULACE 65+</a:t>
                      </a:r>
                      <a:endParaRPr lang="cs-CZ" sz="1200" dirty="0">
                        <a:solidFill>
                          <a:schemeClr val="tx1">
                            <a:lumMod val="95000"/>
                            <a:lumOff val="5000"/>
                          </a:schemeClr>
                        </a:solidFill>
                        <a:effectLst/>
                      </a:endParaRPr>
                    </a:p>
                    <a:p>
                      <a:pPr marL="0" indent="0" algn="l">
                        <a:lnSpc>
                          <a:spcPct val="107000"/>
                        </a:lnSpc>
                        <a:spcAft>
                          <a:spcPts val="0"/>
                        </a:spcAft>
                      </a:pPr>
                      <a:r>
                        <a:rPr lang="cs-CZ" sz="1200" dirty="0">
                          <a:solidFill>
                            <a:schemeClr val="tx1">
                              <a:lumMod val="95000"/>
                              <a:lumOff val="5000"/>
                            </a:schemeClr>
                          </a:solidFill>
                          <a:effectLst/>
                        </a:rPr>
                        <a:t>OCHRANNÝ EFEKT (OE) DOKONČENÉHO OČKOVÁNÍ </a:t>
                      </a:r>
                      <a:r>
                        <a:rPr lang="cs-CZ" sz="1200" dirty="0">
                          <a:solidFill>
                            <a:srgbClr val="FF0000"/>
                          </a:solidFill>
                          <a:effectLst/>
                        </a:rPr>
                        <a:t>BEZ POSILUJÍCÍ DÁVKY </a:t>
                      </a:r>
                      <a:r>
                        <a:rPr lang="cs-CZ" sz="1200" dirty="0">
                          <a:solidFill>
                            <a:schemeClr val="tx1">
                              <a:lumMod val="95000"/>
                              <a:lumOff val="5000"/>
                            </a:schemeClr>
                          </a:solidFill>
                          <a:effectLst/>
                        </a:rPr>
                        <a:t>*</a:t>
                      </a:r>
                      <a:endParaRPr lang="cs-CZ" sz="12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000000"/>
                          </a:solidFill>
                          <a:effectLst/>
                          <a:latin typeface="Calibri" panose="020F0502020204030204" pitchFamily="34" charset="0"/>
                        </a:rPr>
                        <a:t>Oproti neočkovaný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2513746"/>
                  </a:ext>
                </a:extLst>
              </a:tr>
              <a:tr h="455066">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200" b="0" i="0" u="none" strike="noStrike" dirty="0">
                          <a:solidFill>
                            <a:srgbClr val="000000"/>
                          </a:solidFill>
                          <a:effectLst/>
                          <a:latin typeface="Arial" panose="020B0604020202020204" pitchFamily="34" charset="0"/>
                        </a:rPr>
                        <a:t>OE PROTI NÁKAZ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4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2369978021"/>
                  </a:ext>
                </a:extLst>
              </a:tr>
              <a:tr h="455066">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HOSPITALIZACI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7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3940541005"/>
                  </a:ext>
                </a:extLst>
              </a:tr>
              <a:tr h="455066">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LÉČBĚ NA JIP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8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613588268"/>
                  </a:ext>
                </a:extLst>
              </a:tr>
              <a:tr h="455066">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LÉČBĚ NA UPV/ECM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8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1333129300"/>
                  </a:ext>
                </a:extLst>
              </a:tr>
            </a:tbl>
          </a:graphicData>
        </a:graphic>
      </p:graphicFrame>
      <p:graphicFrame>
        <p:nvGraphicFramePr>
          <p:cNvPr id="10" name="Tabulka 9">
            <a:extLst>
              <a:ext uri="{FF2B5EF4-FFF2-40B4-BE49-F238E27FC236}">
                <a16:creationId xmlns:a16="http://schemas.microsoft.com/office/drawing/2014/main" id="{738C0AF3-533A-4198-920F-EDEC413E6CEB}"/>
              </a:ext>
            </a:extLst>
          </p:cNvPr>
          <p:cNvGraphicFramePr>
            <a:graphicFrameLocks noGrp="1"/>
          </p:cNvGraphicFramePr>
          <p:nvPr>
            <p:custDataLst>
              <p:tags r:id="rId3"/>
            </p:custDataLst>
            <p:extLst>
              <p:ext uri="{D42A27DB-BD31-4B8C-83A1-F6EECF244321}">
                <p14:modId xmlns:p14="http://schemas.microsoft.com/office/powerpoint/2010/main" val="1466492955"/>
              </p:ext>
            </p:extLst>
          </p:nvPr>
        </p:nvGraphicFramePr>
        <p:xfrm>
          <a:off x="5803767" y="1641317"/>
          <a:ext cx="5200013" cy="4927708"/>
        </p:xfrm>
        <a:graphic>
          <a:graphicData uri="http://schemas.openxmlformats.org/drawingml/2006/table">
            <a:tbl>
              <a:tblPr firstRow="1" firstCol="1" bandRow="1">
                <a:tableStyleId>{5C22544A-7EE6-4342-B048-85BDC9FD1C3A}</a:tableStyleId>
              </a:tblPr>
              <a:tblGrid>
                <a:gridCol w="3311650">
                  <a:extLst>
                    <a:ext uri="{9D8B030D-6E8A-4147-A177-3AD203B41FA5}">
                      <a16:colId xmlns:a16="http://schemas.microsoft.com/office/drawing/2014/main" val="1039761853"/>
                    </a:ext>
                  </a:extLst>
                </a:gridCol>
                <a:gridCol w="1888363">
                  <a:extLst>
                    <a:ext uri="{9D8B030D-6E8A-4147-A177-3AD203B41FA5}">
                      <a16:colId xmlns:a16="http://schemas.microsoft.com/office/drawing/2014/main" val="1107678429"/>
                    </a:ext>
                  </a:extLst>
                </a:gridCol>
              </a:tblGrid>
              <a:tr h="672237">
                <a:tc>
                  <a:txBody>
                    <a:bodyPr/>
                    <a:lstStyle/>
                    <a:p>
                      <a:pPr marL="0" indent="0" algn="l">
                        <a:lnSpc>
                          <a:spcPct val="107000"/>
                        </a:lnSpc>
                        <a:spcAft>
                          <a:spcPts val="0"/>
                        </a:spcAft>
                      </a:pPr>
                      <a:r>
                        <a:rPr lang="cs-CZ" sz="1200" u="sng" dirty="0">
                          <a:solidFill>
                            <a:schemeClr val="tx1">
                              <a:lumMod val="95000"/>
                              <a:lumOff val="5000"/>
                            </a:schemeClr>
                          </a:solidFill>
                          <a:effectLst/>
                        </a:rPr>
                        <a:t>CELÁ POPULACE</a:t>
                      </a:r>
                      <a:r>
                        <a:rPr lang="cs-CZ" sz="1200" dirty="0">
                          <a:solidFill>
                            <a:schemeClr val="tx1">
                              <a:lumMod val="95000"/>
                              <a:lumOff val="5000"/>
                            </a:schemeClr>
                          </a:solidFill>
                          <a:effectLst/>
                        </a:rPr>
                        <a:t> </a:t>
                      </a:r>
                    </a:p>
                    <a:p>
                      <a:pPr marL="0" indent="0" algn="l">
                        <a:lnSpc>
                          <a:spcPct val="107000"/>
                        </a:lnSpc>
                        <a:spcAft>
                          <a:spcPts val="0"/>
                        </a:spcAft>
                      </a:pPr>
                      <a:r>
                        <a:rPr lang="cs-CZ" sz="1200" dirty="0">
                          <a:solidFill>
                            <a:schemeClr val="tx1">
                              <a:lumMod val="95000"/>
                              <a:lumOff val="5000"/>
                            </a:schemeClr>
                          </a:solidFill>
                          <a:effectLst/>
                        </a:rPr>
                        <a:t>OCHRANNÝ EFEKT (OE) DOKONČENÉHO OČKOVÁNÍ </a:t>
                      </a:r>
                      <a:r>
                        <a:rPr lang="cs-CZ" sz="1200" dirty="0">
                          <a:solidFill>
                            <a:srgbClr val="FF0000"/>
                          </a:solidFill>
                          <a:effectLst/>
                        </a:rPr>
                        <a:t>S POSILUJÍCÍ DÁVKOU </a:t>
                      </a:r>
                      <a:r>
                        <a:rPr lang="cs-CZ" sz="1200" dirty="0">
                          <a:solidFill>
                            <a:schemeClr val="tx1">
                              <a:lumMod val="95000"/>
                              <a:lumOff val="5000"/>
                            </a:schemeClr>
                          </a:solidFill>
                          <a:effectLst/>
                        </a:rPr>
                        <a:t>*</a:t>
                      </a:r>
                      <a:endParaRPr lang="cs-CZ" sz="12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000000"/>
                          </a:solidFill>
                          <a:effectLst/>
                          <a:latin typeface="Calibri" panose="020F0502020204030204" pitchFamily="34" charset="0"/>
                        </a:rPr>
                        <a:t>Oproti neočkovaný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1481214"/>
                  </a:ext>
                </a:extLst>
              </a:tr>
              <a:tr h="423558">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200" b="0" i="0" u="none" strike="noStrike" dirty="0">
                          <a:solidFill>
                            <a:srgbClr val="000000"/>
                          </a:solidFill>
                          <a:effectLst/>
                          <a:latin typeface="Arial" panose="020B0604020202020204" pitchFamily="34" charset="0"/>
                        </a:rPr>
                        <a:t>OE PROTI NÁKAZ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75,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1027558024"/>
                  </a:ext>
                </a:extLst>
              </a:tr>
              <a:tr h="457335">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HOSPITALIZACI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8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2823973997"/>
                  </a:ext>
                </a:extLst>
              </a:tr>
              <a:tr h="427011">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LÉČBĚ NA JIP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8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4183029391"/>
                  </a:ext>
                </a:extLst>
              </a:tr>
              <a:tr h="455066">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LÉČBĚ NA UPV/ECM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1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516009103"/>
                  </a:ext>
                </a:extLst>
              </a:tr>
              <a:tr h="672237">
                <a:tc>
                  <a:txBody>
                    <a:bodyPr/>
                    <a:lstStyle/>
                    <a:p>
                      <a:pPr marL="0" indent="0" algn="l">
                        <a:lnSpc>
                          <a:spcPct val="107000"/>
                        </a:lnSpc>
                        <a:spcAft>
                          <a:spcPts val="0"/>
                        </a:spcAft>
                      </a:pPr>
                      <a:r>
                        <a:rPr lang="cs-CZ" sz="1200" u="sng" dirty="0">
                          <a:solidFill>
                            <a:schemeClr val="tx1">
                              <a:lumMod val="95000"/>
                              <a:lumOff val="5000"/>
                            </a:schemeClr>
                          </a:solidFill>
                          <a:effectLst/>
                        </a:rPr>
                        <a:t>POPULACE 65+</a:t>
                      </a:r>
                      <a:endParaRPr lang="cs-CZ" sz="1200" dirty="0">
                        <a:solidFill>
                          <a:schemeClr val="tx1">
                            <a:lumMod val="95000"/>
                            <a:lumOff val="5000"/>
                          </a:schemeClr>
                        </a:solidFill>
                        <a:effectLst/>
                      </a:endParaRPr>
                    </a:p>
                    <a:p>
                      <a:pPr marL="0" indent="0" algn="l">
                        <a:lnSpc>
                          <a:spcPct val="107000"/>
                        </a:lnSpc>
                        <a:spcAft>
                          <a:spcPts val="0"/>
                        </a:spcAft>
                      </a:pPr>
                      <a:r>
                        <a:rPr lang="cs-CZ" sz="1200" dirty="0">
                          <a:solidFill>
                            <a:schemeClr val="tx1">
                              <a:lumMod val="95000"/>
                              <a:lumOff val="5000"/>
                            </a:schemeClr>
                          </a:solidFill>
                          <a:effectLst/>
                        </a:rPr>
                        <a:t>OCHRANNÝ EFEKT (OE) DOKONČENÉHO OČKOVÁNÍ </a:t>
                      </a:r>
                      <a:r>
                        <a:rPr lang="cs-CZ" sz="1200" dirty="0">
                          <a:solidFill>
                            <a:srgbClr val="FF0000"/>
                          </a:solidFill>
                          <a:effectLst/>
                        </a:rPr>
                        <a:t>S POSILUJÍCÍ DÁVKOU </a:t>
                      </a:r>
                      <a:r>
                        <a:rPr lang="cs-CZ" sz="1200" dirty="0">
                          <a:solidFill>
                            <a:schemeClr val="tx1">
                              <a:lumMod val="95000"/>
                              <a:lumOff val="5000"/>
                            </a:schemeClr>
                          </a:solidFill>
                          <a:effectLst/>
                        </a:rPr>
                        <a:t>*</a:t>
                      </a:r>
                      <a:endParaRPr lang="cs-CZ" sz="12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000000"/>
                          </a:solidFill>
                          <a:effectLst/>
                          <a:latin typeface="Calibri" panose="020F0502020204030204" pitchFamily="34" charset="0"/>
                        </a:rPr>
                        <a:t>Oproti neočkovaný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2513746"/>
                  </a:ext>
                </a:extLst>
              </a:tr>
              <a:tr h="455066">
                <a:tc>
                  <a:txBody>
                    <a:bodyPr/>
                    <a:lstStyle/>
                    <a:p>
                      <a:pPr marL="0" marR="0" lvl="0" indent="0" algn="l" defTabSz="914400" rtl="0" eaLnBrk="1" fontAlgn="ctr"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cs-CZ" sz="1200" b="0" i="0" u="none" strike="noStrike" dirty="0">
                          <a:solidFill>
                            <a:srgbClr val="000000"/>
                          </a:solidFill>
                          <a:effectLst/>
                          <a:latin typeface="Arial" panose="020B0604020202020204" pitchFamily="34" charset="0"/>
                        </a:rPr>
                        <a:t>OE PROTI NÁKAZ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7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2369978021"/>
                  </a:ext>
                </a:extLst>
              </a:tr>
              <a:tr h="455066">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HOSPITALIZACI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9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3940541005"/>
                  </a:ext>
                </a:extLst>
              </a:tr>
              <a:tr h="455066">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LÉČBĚ NA JIP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9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613588268"/>
                  </a:ext>
                </a:extLst>
              </a:tr>
              <a:tr h="455066">
                <a:tc>
                  <a:txBody>
                    <a:bodyPr/>
                    <a:lstStyle/>
                    <a:p>
                      <a:pPr algn="l" fontAlgn="ctr">
                        <a:buClr>
                          <a:srgbClr val="000000"/>
                        </a:buClr>
                        <a:buSzPts val="1200"/>
                        <a:buFont typeface="Arial" panose="020B0604020202020204" pitchFamily="34" charset="0"/>
                        <a:buNone/>
                      </a:pPr>
                      <a:r>
                        <a:rPr lang="cs-CZ" sz="1200" b="0" i="0" u="none" strike="noStrike" dirty="0">
                          <a:solidFill>
                            <a:srgbClr val="000000"/>
                          </a:solidFill>
                          <a:effectLst/>
                          <a:latin typeface="Arial" panose="020B0604020202020204" pitchFamily="34" charset="0"/>
                        </a:rPr>
                        <a:t>OE PROTI LÉČBĚ NA UPV/ECM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cs-CZ" sz="1200" b="1" i="0" u="none" strike="noStrike" dirty="0">
                          <a:solidFill>
                            <a:srgbClr val="FFFFFF"/>
                          </a:solidFill>
                          <a:effectLst/>
                          <a:latin typeface="Arial" panose="020B0604020202020204" pitchFamily="34" charset="0"/>
                        </a:rPr>
                        <a:t>1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FF"/>
                    </a:solidFill>
                  </a:tcPr>
                </a:tc>
                <a:extLst>
                  <a:ext uri="{0D108BD9-81ED-4DB2-BD59-A6C34878D82A}">
                    <a16:rowId xmlns:a16="http://schemas.microsoft.com/office/drawing/2014/main" val="1333129300"/>
                  </a:ext>
                </a:extLst>
              </a:tr>
            </a:tbl>
          </a:graphicData>
        </a:graphic>
      </p:graphicFrame>
    </p:spTree>
    <p:extLst>
      <p:ext uri="{BB962C8B-B14F-4D97-AF65-F5344CB8AC3E}">
        <p14:creationId xmlns:p14="http://schemas.microsoft.com/office/powerpoint/2010/main" val="37433352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ovéPole 31">
            <a:extLst>
              <a:ext uri="{FF2B5EF4-FFF2-40B4-BE49-F238E27FC236}">
                <a16:creationId xmlns:a16="http://schemas.microsoft.com/office/drawing/2014/main" id="{8EEC0A54-1B22-4157-9B8B-BDAA3D273EC8}"/>
              </a:ext>
            </a:extLst>
          </p:cNvPr>
          <p:cNvSpPr txBox="1"/>
          <p:nvPr>
            <p:custDataLst>
              <p:tags r:id="rId1"/>
            </p:custDataLst>
          </p:nvPr>
        </p:nvSpPr>
        <p:spPr>
          <a:xfrm>
            <a:off x="229131" y="163863"/>
            <a:ext cx="11675486" cy="3416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800" b="1" i="0" u="none" strike="noStrike" kern="1200" cap="none" spc="0" normalizeH="0" baseline="0" noProof="0" dirty="0">
                <a:ln>
                  <a:noFill/>
                </a:ln>
                <a:solidFill>
                  <a:srgbClr val="FF0000"/>
                </a:solidFill>
                <a:effectLst/>
                <a:uLnTx/>
                <a:uFillTx/>
                <a:latin typeface="Calibri" panose="020F0502020204030204"/>
                <a:ea typeface="+mn-ea"/>
                <a:cs typeface="+mn-cs"/>
              </a:rPr>
              <a:t>Počet nově hospitalizovaných s COVID-19 na JIP na 100tis. osob </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 očkované a neočkované populaci (</a:t>
            </a:r>
            <a:r>
              <a:rPr kumimoji="0" lang="cs-CZ" sz="1800" b="1" i="0" u="sng" strike="noStrike" kern="1200" cap="none" spc="0" normalizeH="0" baseline="0" noProof="0" dirty="0">
                <a:ln>
                  <a:noFill/>
                </a:ln>
                <a:solidFill>
                  <a:prstClr val="black"/>
                </a:solidFill>
                <a:effectLst/>
                <a:uLnTx/>
                <a:uFillTx/>
                <a:latin typeface="Calibri" panose="020F0502020204030204"/>
                <a:ea typeface="+mn-ea"/>
                <a:cs typeface="+mn-cs"/>
              </a:rPr>
              <a:t>populace 65+</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8" name="Graf 7">
            <a:extLst>
              <a:ext uri="{FF2B5EF4-FFF2-40B4-BE49-F238E27FC236}">
                <a16:creationId xmlns:a16="http://schemas.microsoft.com/office/drawing/2014/main" id="{750BEB04-CF14-4212-8481-97203DDCF60C}"/>
              </a:ext>
            </a:extLst>
          </p:cNvPr>
          <p:cNvGraphicFramePr/>
          <p:nvPr>
            <p:custDataLst>
              <p:tags r:id="rId2"/>
            </p:custDataLst>
            <p:extLst>
              <p:ext uri="{D42A27DB-BD31-4B8C-83A1-F6EECF244321}">
                <p14:modId xmlns:p14="http://schemas.microsoft.com/office/powerpoint/2010/main" val="3540679620"/>
              </p:ext>
            </p:extLst>
          </p:nvPr>
        </p:nvGraphicFramePr>
        <p:xfrm>
          <a:off x="287979" y="886720"/>
          <a:ext cx="11370005" cy="588335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Tabulka 6">
            <a:extLst>
              <a:ext uri="{FF2B5EF4-FFF2-40B4-BE49-F238E27FC236}">
                <a16:creationId xmlns:a16="http://schemas.microsoft.com/office/drawing/2014/main" id="{20A3D8B9-C724-48D3-B716-B7AAD9AE413F}"/>
              </a:ext>
            </a:extLst>
          </p:cNvPr>
          <p:cNvGraphicFramePr>
            <a:graphicFrameLocks noGrp="1"/>
          </p:cNvGraphicFramePr>
          <p:nvPr>
            <p:custDataLst>
              <p:tags r:id="rId3"/>
            </p:custDataLst>
          </p:nvPr>
        </p:nvGraphicFramePr>
        <p:xfrm>
          <a:off x="8949737" y="614447"/>
          <a:ext cx="2954284" cy="2103120"/>
        </p:xfrm>
        <a:graphic>
          <a:graphicData uri="http://schemas.openxmlformats.org/drawingml/2006/table">
            <a:tbl>
              <a:tblPr firstRow="1" bandRow="1">
                <a:tableStyleId>{2D5ABB26-0587-4C30-8999-92F81FD0307C}</a:tableStyleId>
              </a:tblPr>
              <a:tblGrid>
                <a:gridCol w="2954284">
                  <a:extLst>
                    <a:ext uri="{9D8B030D-6E8A-4147-A177-3AD203B41FA5}">
                      <a16:colId xmlns:a16="http://schemas.microsoft.com/office/drawing/2014/main" val="1141492901"/>
                    </a:ext>
                  </a:extLst>
                </a:gridCol>
              </a:tblGrid>
              <a:tr h="331376">
                <a:tc>
                  <a:txBody>
                    <a:bodyPr/>
                    <a:lstStyle/>
                    <a:p>
                      <a:r>
                        <a:rPr lang="cs-CZ" b="1" dirty="0"/>
                        <a:t>7 denní průměr</a:t>
                      </a:r>
                    </a:p>
                  </a:txBody>
                  <a:tcPr/>
                </a:tc>
                <a:extLst>
                  <a:ext uri="{0D108BD9-81ED-4DB2-BD59-A6C34878D82A}">
                    <a16:rowId xmlns:a16="http://schemas.microsoft.com/office/drawing/2014/main" val="4235391499"/>
                  </a:ext>
                </a:extLst>
              </a:tr>
              <a:tr h="571964">
                <a:tc>
                  <a:txBody>
                    <a:bodyPr/>
                    <a:lstStyle/>
                    <a:p>
                      <a:r>
                        <a:rPr lang="cs-CZ" sz="1600" dirty="0"/>
                        <a:t>Bez očkování nebo nedokončené očkování</a:t>
                      </a:r>
                    </a:p>
                  </a:txBody>
                  <a:tcPr/>
                </a:tc>
                <a:extLst>
                  <a:ext uri="{0D108BD9-81ED-4DB2-BD59-A6C34878D82A}">
                    <a16:rowId xmlns:a16="http://schemas.microsoft.com/office/drawing/2014/main" val="2868716768"/>
                  </a:ext>
                </a:extLst>
              </a:tr>
              <a:tr h="571964">
                <a:tc>
                  <a:txBody>
                    <a:bodyPr/>
                    <a:lstStyle/>
                    <a:p>
                      <a:r>
                        <a:rPr lang="cs-CZ" sz="1600" dirty="0"/>
                        <a:t>Ukončené očkování – bez posilující dávky</a:t>
                      </a:r>
                    </a:p>
                  </a:txBody>
                  <a:tcPr/>
                </a:tc>
                <a:extLst>
                  <a:ext uri="{0D108BD9-81ED-4DB2-BD59-A6C34878D82A}">
                    <a16:rowId xmlns:a16="http://schemas.microsoft.com/office/drawing/2014/main" val="707000598"/>
                  </a:ext>
                </a:extLst>
              </a:tr>
              <a:tr h="571964">
                <a:tc>
                  <a:txBody>
                    <a:bodyPr/>
                    <a:lstStyle/>
                    <a:p>
                      <a:r>
                        <a:rPr lang="cs-CZ" sz="1600" dirty="0"/>
                        <a:t>Ukončené očkování – s posilující dávkou</a:t>
                      </a:r>
                    </a:p>
                  </a:txBody>
                  <a:tcPr/>
                </a:tc>
                <a:extLst>
                  <a:ext uri="{0D108BD9-81ED-4DB2-BD59-A6C34878D82A}">
                    <a16:rowId xmlns:a16="http://schemas.microsoft.com/office/drawing/2014/main" val="2562753142"/>
                  </a:ext>
                </a:extLst>
              </a:tr>
            </a:tbl>
          </a:graphicData>
        </a:graphic>
      </p:graphicFrame>
      <p:grpSp>
        <p:nvGrpSpPr>
          <p:cNvPr id="11" name="Skupina 10">
            <a:extLst>
              <a:ext uri="{FF2B5EF4-FFF2-40B4-BE49-F238E27FC236}">
                <a16:creationId xmlns:a16="http://schemas.microsoft.com/office/drawing/2014/main" id="{00A553CE-7E2C-4955-9629-20919DFC9A87}"/>
              </a:ext>
            </a:extLst>
          </p:cNvPr>
          <p:cNvGrpSpPr/>
          <p:nvPr/>
        </p:nvGrpSpPr>
        <p:grpSpPr>
          <a:xfrm>
            <a:off x="8448222" y="1253701"/>
            <a:ext cx="501515" cy="1254265"/>
            <a:chOff x="8290713" y="1759987"/>
            <a:chExt cx="501515" cy="1250887"/>
          </a:xfrm>
        </p:grpSpPr>
        <p:cxnSp>
          <p:nvCxnSpPr>
            <p:cNvPr id="12" name="Přímá spojnice 11">
              <a:extLst>
                <a:ext uri="{FF2B5EF4-FFF2-40B4-BE49-F238E27FC236}">
                  <a16:creationId xmlns:a16="http://schemas.microsoft.com/office/drawing/2014/main" id="{284B98C4-110F-4FF2-98F5-EDC0693853E1}"/>
                </a:ext>
              </a:extLst>
            </p:cNvPr>
            <p:cNvCxnSpPr>
              <a:cxnSpLocks/>
            </p:cNvCxnSpPr>
            <p:nvPr/>
          </p:nvCxnSpPr>
          <p:spPr>
            <a:xfrm>
              <a:off x="8290713" y="3010874"/>
              <a:ext cx="496800" cy="0"/>
            </a:xfrm>
            <a:prstGeom prst="line">
              <a:avLst/>
            </a:prstGeom>
            <a:ln w="50800" cmpd="sng"/>
          </p:spPr>
          <p:style>
            <a:lnRef idx="1">
              <a:schemeClr val="accent6"/>
            </a:lnRef>
            <a:fillRef idx="0">
              <a:schemeClr val="accent6"/>
            </a:fillRef>
            <a:effectRef idx="0">
              <a:schemeClr val="accent6"/>
            </a:effectRef>
            <a:fontRef idx="minor">
              <a:schemeClr val="tx1"/>
            </a:fontRef>
          </p:style>
        </p:cxnSp>
        <p:cxnSp>
          <p:nvCxnSpPr>
            <p:cNvPr id="14" name="Přímá spojnice 13">
              <a:extLst>
                <a:ext uri="{FF2B5EF4-FFF2-40B4-BE49-F238E27FC236}">
                  <a16:creationId xmlns:a16="http://schemas.microsoft.com/office/drawing/2014/main" id="{E5673843-F98B-44CB-998A-0657F2C201CC}"/>
                </a:ext>
              </a:extLst>
            </p:cNvPr>
            <p:cNvCxnSpPr>
              <a:cxnSpLocks/>
            </p:cNvCxnSpPr>
            <p:nvPr/>
          </p:nvCxnSpPr>
          <p:spPr>
            <a:xfrm>
              <a:off x="8290713" y="2348462"/>
              <a:ext cx="496800" cy="0"/>
            </a:xfrm>
            <a:prstGeom prst="line">
              <a:avLst/>
            </a:prstGeom>
            <a:ln w="50800" cmpd="sng">
              <a:solidFill>
                <a:srgbClr val="517BC8"/>
              </a:solidFill>
            </a:ln>
          </p:spPr>
          <p:style>
            <a:lnRef idx="1">
              <a:schemeClr val="accent6"/>
            </a:lnRef>
            <a:fillRef idx="0">
              <a:schemeClr val="accent6"/>
            </a:fillRef>
            <a:effectRef idx="0">
              <a:schemeClr val="accent6"/>
            </a:effectRef>
            <a:fontRef idx="minor">
              <a:schemeClr val="tx1"/>
            </a:fontRef>
          </p:style>
        </p:cxnSp>
        <p:cxnSp>
          <p:nvCxnSpPr>
            <p:cNvPr id="15" name="Přímá spojnice 14">
              <a:extLst>
                <a:ext uri="{FF2B5EF4-FFF2-40B4-BE49-F238E27FC236}">
                  <a16:creationId xmlns:a16="http://schemas.microsoft.com/office/drawing/2014/main" id="{630BDFDA-2601-49EE-BD41-38AC3D2BFF2D}"/>
                </a:ext>
              </a:extLst>
            </p:cNvPr>
            <p:cNvCxnSpPr>
              <a:cxnSpLocks/>
            </p:cNvCxnSpPr>
            <p:nvPr/>
          </p:nvCxnSpPr>
          <p:spPr>
            <a:xfrm>
              <a:off x="8295428" y="1759987"/>
              <a:ext cx="496800" cy="0"/>
            </a:xfrm>
            <a:prstGeom prst="line">
              <a:avLst/>
            </a:prstGeom>
            <a:ln w="50800" cmpd="sng">
              <a:solidFill>
                <a:srgbClr val="C41111"/>
              </a:solidFill>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17935448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ovéPole 31">
            <a:extLst>
              <a:ext uri="{FF2B5EF4-FFF2-40B4-BE49-F238E27FC236}">
                <a16:creationId xmlns:a16="http://schemas.microsoft.com/office/drawing/2014/main" id="{8EEC0A54-1B22-4157-9B8B-BDAA3D273EC8}"/>
              </a:ext>
            </a:extLst>
          </p:cNvPr>
          <p:cNvSpPr txBox="1"/>
          <p:nvPr>
            <p:custDataLst>
              <p:tags r:id="rId1"/>
            </p:custDataLst>
          </p:nvPr>
        </p:nvSpPr>
        <p:spPr>
          <a:xfrm>
            <a:off x="229131" y="163863"/>
            <a:ext cx="11821458" cy="3416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cs-CZ" sz="1800" b="1" i="0" u="none" strike="noStrike" kern="1200" cap="none" spc="0" normalizeH="0" baseline="0" noProof="0" dirty="0">
                <a:ln>
                  <a:noFill/>
                </a:ln>
                <a:solidFill>
                  <a:srgbClr val="FF0000"/>
                </a:solidFill>
                <a:effectLst/>
                <a:uLnTx/>
                <a:uFillTx/>
                <a:latin typeface="Calibri" panose="020F0502020204030204"/>
                <a:ea typeface="+mn-ea"/>
                <a:cs typeface="+mn-cs"/>
              </a:rPr>
              <a:t>Počet nově hospitalizovaných s COVID-19 na </a:t>
            </a: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rPr>
              <a:t>UPV/ECMO</a:t>
            </a:r>
            <a:r>
              <a:rPr kumimoji="0" lang="cs-CZ" sz="1800" b="1" i="0" u="none" strike="noStrike" kern="1200" cap="none" spc="0" normalizeH="0" baseline="0" noProof="0" dirty="0">
                <a:ln>
                  <a:noFill/>
                </a:ln>
                <a:solidFill>
                  <a:srgbClr val="FF0000"/>
                </a:solidFill>
                <a:effectLst/>
                <a:uLnTx/>
                <a:uFillTx/>
                <a:latin typeface="Calibri" panose="020F0502020204030204"/>
                <a:ea typeface="+mn-ea"/>
                <a:cs typeface="+mn-cs"/>
              </a:rPr>
              <a:t> na 100tis. osob</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v očkované a neočkované populaci (</a:t>
            </a:r>
            <a:r>
              <a:rPr kumimoji="0" lang="cs-CZ" sz="1800" b="1" i="0" u="sng" strike="noStrike" kern="1200" cap="none" spc="0" normalizeH="0" baseline="0" noProof="0" dirty="0">
                <a:ln>
                  <a:noFill/>
                </a:ln>
                <a:solidFill>
                  <a:prstClr val="black"/>
                </a:solidFill>
                <a:effectLst/>
                <a:uLnTx/>
                <a:uFillTx/>
                <a:latin typeface="Calibri" panose="020F0502020204030204"/>
                <a:ea typeface="+mn-ea"/>
                <a:cs typeface="+mn-cs"/>
              </a:rPr>
              <a:t>populace 65+</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8" name="Graf 7">
            <a:extLst>
              <a:ext uri="{FF2B5EF4-FFF2-40B4-BE49-F238E27FC236}">
                <a16:creationId xmlns:a16="http://schemas.microsoft.com/office/drawing/2014/main" id="{D90E4329-D699-4840-B707-ED0456B01D52}"/>
              </a:ext>
            </a:extLst>
          </p:cNvPr>
          <p:cNvGraphicFramePr/>
          <p:nvPr>
            <p:custDataLst>
              <p:tags r:id="rId2"/>
            </p:custDataLst>
            <p:extLst>
              <p:ext uri="{D42A27DB-BD31-4B8C-83A1-F6EECF244321}">
                <p14:modId xmlns:p14="http://schemas.microsoft.com/office/powerpoint/2010/main" val="1866876623"/>
              </p:ext>
            </p:extLst>
          </p:nvPr>
        </p:nvGraphicFramePr>
        <p:xfrm>
          <a:off x="287979" y="886720"/>
          <a:ext cx="11370005" cy="588335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Tabulka 6">
            <a:extLst>
              <a:ext uri="{FF2B5EF4-FFF2-40B4-BE49-F238E27FC236}">
                <a16:creationId xmlns:a16="http://schemas.microsoft.com/office/drawing/2014/main" id="{5B6C3493-BC6B-418A-BF2C-16DE1301E2B6}"/>
              </a:ext>
            </a:extLst>
          </p:cNvPr>
          <p:cNvGraphicFramePr>
            <a:graphicFrameLocks noGrp="1"/>
          </p:cNvGraphicFramePr>
          <p:nvPr>
            <p:custDataLst>
              <p:tags r:id="rId3"/>
            </p:custDataLst>
          </p:nvPr>
        </p:nvGraphicFramePr>
        <p:xfrm>
          <a:off x="8949737" y="614447"/>
          <a:ext cx="2954284" cy="2103120"/>
        </p:xfrm>
        <a:graphic>
          <a:graphicData uri="http://schemas.openxmlformats.org/drawingml/2006/table">
            <a:tbl>
              <a:tblPr firstRow="1" bandRow="1">
                <a:tableStyleId>{2D5ABB26-0587-4C30-8999-92F81FD0307C}</a:tableStyleId>
              </a:tblPr>
              <a:tblGrid>
                <a:gridCol w="2954284">
                  <a:extLst>
                    <a:ext uri="{9D8B030D-6E8A-4147-A177-3AD203B41FA5}">
                      <a16:colId xmlns:a16="http://schemas.microsoft.com/office/drawing/2014/main" val="1141492901"/>
                    </a:ext>
                  </a:extLst>
                </a:gridCol>
              </a:tblGrid>
              <a:tr h="331376">
                <a:tc>
                  <a:txBody>
                    <a:bodyPr/>
                    <a:lstStyle/>
                    <a:p>
                      <a:r>
                        <a:rPr lang="cs-CZ" b="1" dirty="0"/>
                        <a:t>7 denní průměr</a:t>
                      </a:r>
                    </a:p>
                  </a:txBody>
                  <a:tcPr/>
                </a:tc>
                <a:extLst>
                  <a:ext uri="{0D108BD9-81ED-4DB2-BD59-A6C34878D82A}">
                    <a16:rowId xmlns:a16="http://schemas.microsoft.com/office/drawing/2014/main" val="4235391499"/>
                  </a:ext>
                </a:extLst>
              </a:tr>
              <a:tr h="571964">
                <a:tc>
                  <a:txBody>
                    <a:bodyPr/>
                    <a:lstStyle/>
                    <a:p>
                      <a:r>
                        <a:rPr lang="cs-CZ" sz="1600" dirty="0"/>
                        <a:t>Bez očkování nebo nedokončené očkování</a:t>
                      </a:r>
                    </a:p>
                  </a:txBody>
                  <a:tcPr/>
                </a:tc>
                <a:extLst>
                  <a:ext uri="{0D108BD9-81ED-4DB2-BD59-A6C34878D82A}">
                    <a16:rowId xmlns:a16="http://schemas.microsoft.com/office/drawing/2014/main" val="2868716768"/>
                  </a:ext>
                </a:extLst>
              </a:tr>
              <a:tr h="571964">
                <a:tc>
                  <a:txBody>
                    <a:bodyPr/>
                    <a:lstStyle/>
                    <a:p>
                      <a:r>
                        <a:rPr lang="cs-CZ" sz="1600" dirty="0"/>
                        <a:t>Ukončené očkování – bez posilující dávky</a:t>
                      </a:r>
                    </a:p>
                  </a:txBody>
                  <a:tcPr/>
                </a:tc>
                <a:extLst>
                  <a:ext uri="{0D108BD9-81ED-4DB2-BD59-A6C34878D82A}">
                    <a16:rowId xmlns:a16="http://schemas.microsoft.com/office/drawing/2014/main" val="707000598"/>
                  </a:ext>
                </a:extLst>
              </a:tr>
              <a:tr h="571964">
                <a:tc>
                  <a:txBody>
                    <a:bodyPr/>
                    <a:lstStyle/>
                    <a:p>
                      <a:r>
                        <a:rPr lang="cs-CZ" sz="1600" dirty="0"/>
                        <a:t>Ukončené očkování – s posilující dávkou</a:t>
                      </a:r>
                    </a:p>
                  </a:txBody>
                  <a:tcPr/>
                </a:tc>
                <a:extLst>
                  <a:ext uri="{0D108BD9-81ED-4DB2-BD59-A6C34878D82A}">
                    <a16:rowId xmlns:a16="http://schemas.microsoft.com/office/drawing/2014/main" val="2562753142"/>
                  </a:ext>
                </a:extLst>
              </a:tr>
            </a:tbl>
          </a:graphicData>
        </a:graphic>
      </p:graphicFrame>
      <p:grpSp>
        <p:nvGrpSpPr>
          <p:cNvPr id="11" name="Skupina 10">
            <a:extLst>
              <a:ext uri="{FF2B5EF4-FFF2-40B4-BE49-F238E27FC236}">
                <a16:creationId xmlns:a16="http://schemas.microsoft.com/office/drawing/2014/main" id="{1369D8B1-5807-48CB-BDA5-B36E0EBF3780}"/>
              </a:ext>
            </a:extLst>
          </p:cNvPr>
          <p:cNvGrpSpPr/>
          <p:nvPr/>
        </p:nvGrpSpPr>
        <p:grpSpPr>
          <a:xfrm>
            <a:off x="8448222" y="1253701"/>
            <a:ext cx="501515" cy="1254265"/>
            <a:chOff x="8290713" y="1759987"/>
            <a:chExt cx="501515" cy="1250887"/>
          </a:xfrm>
        </p:grpSpPr>
        <p:cxnSp>
          <p:nvCxnSpPr>
            <p:cNvPr id="12" name="Přímá spojnice 11">
              <a:extLst>
                <a:ext uri="{FF2B5EF4-FFF2-40B4-BE49-F238E27FC236}">
                  <a16:creationId xmlns:a16="http://schemas.microsoft.com/office/drawing/2014/main" id="{C006DAEE-F9AA-4E69-AB41-31A8C05D882E}"/>
                </a:ext>
              </a:extLst>
            </p:cNvPr>
            <p:cNvCxnSpPr>
              <a:cxnSpLocks/>
            </p:cNvCxnSpPr>
            <p:nvPr/>
          </p:nvCxnSpPr>
          <p:spPr>
            <a:xfrm>
              <a:off x="8290713" y="3010874"/>
              <a:ext cx="496800" cy="0"/>
            </a:xfrm>
            <a:prstGeom prst="line">
              <a:avLst/>
            </a:prstGeom>
            <a:ln w="50800" cmpd="sng"/>
          </p:spPr>
          <p:style>
            <a:lnRef idx="1">
              <a:schemeClr val="accent6"/>
            </a:lnRef>
            <a:fillRef idx="0">
              <a:schemeClr val="accent6"/>
            </a:fillRef>
            <a:effectRef idx="0">
              <a:schemeClr val="accent6"/>
            </a:effectRef>
            <a:fontRef idx="minor">
              <a:schemeClr val="tx1"/>
            </a:fontRef>
          </p:style>
        </p:cxnSp>
        <p:cxnSp>
          <p:nvCxnSpPr>
            <p:cNvPr id="14" name="Přímá spojnice 13">
              <a:extLst>
                <a:ext uri="{FF2B5EF4-FFF2-40B4-BE49-F238E27FC236}">
                  <a16:creationId xmlns:a16="http://schemas.microsoft.com/office/drawing/2014/main" id="{90B3D073-6F01-4D5B-BB8A-91782F149913}"/>
                </a:ext>
              </a:extLst>
            </p:cNvPr>
            <p:cNvCxnSpPr>
              <a:cxnSpLocks/>
            </p:cNvCxnSpPr>
            <p:nvPr/>
          </p:nvCxnSpPr>
          <p:spPr>
            <a:xfrm>
              <a:off x="8290713" y="2348462"/>
              <a:ext cx="496800" cy="0"/>
            </a:xfrm>
            <a:prstGeom prst="line">
              <a:avLst/>
            </a:prstGeom>
            <a:ln w="50800" cmpd="sng">
              <a:solidFill>
                <a:srgbClr val="517BC8"/>
              </a:solidFill>
            </a:ln>
          </p:spPr>
          <p:style>
            <a:lnRef idx="1">
              <a:schemeClr val="accent6"/>
            </a:lnRef>
            <a:fillRef idx="0">
              <a:schemeClr val="accent6"/>
            </a:fillRef>
            <a:effectRef idx="0">
              <a:schemeClr val="accent6"/>
            </a:effectRef>
            <a:fontRef idx="minor">
              <a:schemeClr val="tx1"/>
            </a:fontRef>
          </p:style>
        </p:cxnSp>
        <p:cxnSp>
          <p:nvCxnSpPr>
            <p:cNvPr id="15" name="Přímá spojnice 14">
              <a:extLst>
                <a:ext uri="{FF2B5EF4-FFF2-40B4-BE49-F238E27FC236}">
                  <a16:creationId xmlns:a16="http://schemas.microsoft.com/office/drawing/2014/main" id="{56ED1E8F-888E-4B7E-8260-E7FBA5BD5B98}"/>
                </a:ext>
              </a:extLst>
            </p:cNvPr>
            <p:cNvCxnSpPr>
              <a:cxnSpLocks/>
            </p:cNvCxnSpPr>
            <p:nvPr/>
          </p:nvCxnSpPr>
          <p:spPr>
            <a:xfrm>
              <a:off x="8295428" y="1759987"/>
              <a:ext cx="496800" cy="0"/>
            </a:xfrm>
            <a:prstGeom prst="line">
              <a:avLst/>
            </a:prstGeom>
            <a:ln w="50800" cmpd="sng">
              <a:solidFill>
                <a:srgbClr val="C41111"/>
              </a:solidFill>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25194597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nvPr>
        </p:nvSpPr>
        <p:spPr>
          <a:xfrm>
            <a:off x="295275" y="3693109"/>
            <a:ext cx="11737724" cy="2238375"/>
          </a:xfrm>
        </p:spPr>
        <p:txBody>
          <a:bodyPr>
            <a:normAutofit/>
          </a:bodyPr>
          <a:lstStyle/>
          <a:p>
            <a:r>
              <a:rPr lang="cs-CZ" sz="5000" b="1" dirty="0"/>
              <a:t>Vývoj počtu nově potvrzených případů </a:t>
            </a:r>
          </a:p>
          <a:p>
            <a:r>
              <a:rPr lang="cs-CZ" sz="5000" b="1" dirty="0"/>
              <a:t>a zátěž nemocnic</a:t>
            </a:r>
          </a:p>
        </p:txBody>
      </p:sp>
    </p:spTree>
    <p:extLst>
      <p:ext uri="{BB962C8B-B14F-4D97-AF65-F5344CB8AC3E}">
        <p14:creationId xmlns:p14="http://schemas.microsoft.com/office/powerpoint/2010/main" val="3834556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41169" y="39452"/>
            <a:ext cx="12091380" cy="576000"/>
          </a:xfrm>
        </p:spPr>
        <p:txBody>
          <a:bodyPr/>
          <a:lstStyle/>
          <a:p>
            <a:r>
              <a:rPr lang="cs-CZ" sz="2400" dirty="0"/>
              <a:t>Screeningové testy ve školách – </a:t>
            </a:r>
            <a:r>
              <a:rPr lang="en-US" sz="2400" dirty="0" err="1"/>
              <a:t>potvrzen</a:t>
            </a:r>
            <a:r>
              <a:rPr lang="cs-CZ" sz="2400" dirty="0"/>
              <a:t>é výsledky (dle CFA </a:t>
            </a:r>
            <a:r>
              <a:rPr lang="en-US" sz="2400" dirty="0"/>
              <a:t>/ ISIN</a:t>
            </a:r>
            <a:r>
              <a:rPr lang="cs-CZ" sz="2400" dirty="0"/>
              <a:t>)</a:t>
            </a:r>
          </a:p>
        </p:txBody>
      </p:sp>
      <p:sp>
        <p:nvSpPr>
          <p:cNvPr id="2" name="Obdélník 1"/>
          <p:cNvSpPr/>
          <p:nvPr>
            <p:custDataLst>
              <p:tags r:id="rId2"/>
            </p:custDataLst>
          </p:nvPr>
        </p:nvSpPr>
        <p:spPr>
          <a:xfrm>
            <a:off x="896858" y="976189"/>
            <a:ext cx="10674717"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očty pozitivních záchytů na 100 tisíc testů nahlášených ze škol bez dělení na věkové kategorie</a:t>
            </a:r>
          </a:p>
        </p:txBody>
      </p:sp>
      <p:sp>
        <p:nvSpPr>
          <p:cNvPr id="17" name="TextovéPole 16">
            <a:extLst>
              <a:ext uri="{FF2B5EF4-FFF2-40B4-BE49-F238E27FC236}">
                <a16:creationId xmlns:a16="http://schemas.microsoft.com/office/drawing/2014/main" id="{D036F9A6-B948-4D79-B82A-FF06F18A068A}"/>
              </a:ext>
            </a:extLst>
          </p:cNvPr>
          <p:cNvSpPr txBox="1"/>
          <p:nvPr>
            <p:custDataLst>
              <p:tags r:id="rId3"/>
            </p:custDataLst>
          </p:nvPr>
        </p:nvSpPr>
        <p:spPr>
          <a:xfrm>
            <a:off x="7036017" y="549652"/>
            <a:ext cx="5016284" cy="369332"/>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PCR </a:t>
            </a:r>
            <a:r>
              <a:rPr kumimoji="0" lang="en-US" sz="1800" b="1" i="0" u="none" strike="noStrike" kern="1200" cap="none" spc="0" normalizeH="0" baseline="0" noProof="0" dirty="0" err="1">
                <a:ln>
                  <a:noFill/>
                </a:ln>
                <a:solidFill>
                  <a:srgbClr val="FFFFFF"/>
                </a:solidFill>
                <a:effectLst/>
                <a:uLnTx/>
                <a:uFillTx/>
                <a:latin typeface="Arial" panose="020B0604020202020204"/>
                <a:ea typeface="+mn-ea"/>
                <a:cs typeface="+mn-cs"/>
              </a:rPr>
              <a:t>ve</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cs-CZ" sz="1800" b="1" i="0" u="none" strike="noStrike" kern="1200" cap="none" spc="0" normalizeH="0" baseline="0" noProof="0" dirty="0">
                <a:ln>
                  <a:noFill/>
                </a:ln>
                <a:solidFill>
                  <a:srgbClr val="FFFFFF"/>
                </a:solidFill>
                <a:effectLst/>
                <a:uLnTx/>
                <a:uFillTx/>
                <a:latin typeface="Arial" panose="020B0604020202020204"/>
                <a:ea typeface="+mn-ea"/>
                <a:cs typeface="+mn-cs"/>
              </a:rPr>
              <a:t>škole nebo AG konfirmovaný PCR</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a:t>
            </a:r>
            <a:endParaRPr kumimoji="0" lang="cs-CZ"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1709D1BA-B51C-40B8-B875-2411DB98E22B}"/>
              </a:ext>
            </a:extLst>
          </p:cNvPr>
          <p:cNvSpPr txBox="1"/>
          <p:nvPr>
            <p:custDataLst>
              <p:tags r:id="rId4"/>
            </p:custDataLst>
          </p:nvPr>
        </p:nvSpPr>
        <p:spPr>
          <a:xfrm>
            <a:off x="1538889" y="6620588"/>
            <a:ext cx="872906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mn-cs"/>
              </a:rPr>
              <a:t>Vzhledem</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 k </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mn-cs"/>
              </a:rPr>
              <a:t>mo</a:t>
            </a:r>
            <a:r>
              <a:rPr kumimoji="0" lang="cs-CZ" sz="1000" b="0" i="0" u="none" strike="noStrike" kern="1200" cap="none" spc="0" normalizeH="0" baseline="0" noProof="0" dirty="0" err="1">
                <a:ln>
                  <a:noFill/>
                </a:ln>
                <a:solidFill>
                  <a:srgbClr val="000000"/>
                </a:solidFill>
                <a:effectLst/>
                <a:uLnTx/>
                <a:uFillTx/>
                <a:latin typeface="Arial" panose="020B0604020202020204"/>
                <a:ea typeface="+mn-ea"/>
                <a:cs typeface="+mn-cs"/>
              </a:rPr>
              <a:t>žnému</a:t>
            </a: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 zpoždění ve zpracování PCR testů v laboratořích existuje možnost, že další testy budou konfirmovány v následujících dnech.</a:t>
            </a:r>
          </a:p>
        </p:txBody>
      </p:sp>
      <p:sp>
        <p:nvSpPr>
          <p:cNvPr id="27" name="TextBox 7">
            <a:extLst>
              <a:ext uri="{FF2B5EF4-FFF2-40B4-BE49-F238E27FC236}">
                <a16:creationId xmlns:a16="http://schemas.microsoft.com/office/drawing/2014/main" id="{552D640D-0582-4E54-ABC1-D09A21123DCF}"/>
              </a:ext>
            </a:extLst>
          </p:cNvPr>
          <p:cNvSpPr txBox="1"/>
          <p:nvPr>
            <p:custDataLst>
              <p:tags r:id="rId5"/>
            </p:custDataLst>
          </p:nvPr>
        </p:nvSpPr>
        <p:spPr>
          <a:xfrm>
            <a:off x="1376187" y="1639272"/>
            <a:ext cx="430438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a:ea typeface="+mn-ea"/>
                <a:cs typeface="+mn-cs"/>
              </a:rPr>
              <a:t>Počty pozitivních žáků ZŠ na 100 tis. testů</a:t>
            </a:r>
          </a:p>
        </p:txBody>
      </p:sp>
      <p:sp>
        <p:nvSpPr>
          <p:cNvPr id="29" name="TextBox 10">
            <a:extLst>
              <a:ext uri="{FF2B5EF4-FFF2-40B4-BE49-F238E27FC236}">
                <a16:creationId xmlns:a16="http://schemas.microsoft.com/office/drawing/2014/main" id="{062BE00C-D3F3-4F88-B60E-E580677273ED}"/>
              </a:ext>
            </a:extLst>
          </p:cNvPr>
          <p:cNvSpPr txBox="1"/>
          <p:nvPr>
            <p:custDataLst>
              <p:tags r:id="rId6"/>
            </p:custDataLst>
          </p:nvPr>
        </p:nvSpPr>
        <p:spPr>
          <a:xfrm>
            <a:off x="7225647" y="1613872"/>
            <a:ext cx="479490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a:ea typeface="+mn-ea"/>
                <a:cs typeface="+mn-cs"/>
              </a:rPr>
              <a:t>Počty pozitivních žáků SŠ/VOŠ na 100 tis. testů</a:t>
            </a:r>
          </a:p>
        </p:txBody>
      </p:sp>
      <p:sp>
        <p:nvSpPr>
          <p:cNvPr id="18" name="TextBox 4">
            <a:extLst>
              <a:ext uri="{FF2B5EF4-FFF2-40B4-BE49-F238E27FC236}">
                <a16:creationId xmlns:a16="http://schemas.microsoft.com/office/drawing/2014/main" id="{CF064FA7-8C1D-4C77-BEC2-1F9889496823}"/>
              </a:ext>
            </a:extLst>
          </p:cNvPr>
          <p:cNvSpPr txBox="1"/>
          <p:nvPr>
            <p:custDataLst>
              <p:tags r:id="rId7"/>
            </p:custDataLst>
          </p:nvPr>
        </p:nvSpPr>
        <p:spPr>
          <a:xfrm>
            <a:off x="47625" y="657905"/>
            <a:ext cx="51028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Testování 13. 1. 2022 / d</a:t>
            </a:r>
            <a:r>
              <a:rPr kumimoji="0" lang="en-US" sz="1400" b="0" i="1" u="none" strike="noStrike" kern="1200" cap="none" spc="0" normalizeH="0" baseline="0" noProof="0" dirty="0" err="1">
                <a:ln>
                  <a:noFill/>
                </a:ln>
                <a:solidFill>
                  <a:srgbClr val="000000"/>
                </a:solidFill>
                <a:effectLst/>
                <a:uLnTx/>
                <a:uFillTx/>
                <a:latin typeface="Arial" panose="020B0604020202020204"/>
                <a:ea typeface="+mn-ea"/>
                <a:cs typeface="+mn-cs"/>
              </a:rPr>
              <a:t>atum</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400" b="0" i="1" u="none" strike="noStrike" kern="1200" cap="none" spc="0" normalizeH="0" baseline="0" noProof="0" dirty="0" err="1">
                <a:ln>
                  <a:noFill/>
                </a:ln>
                <a:solidFill>
                  <a:srgbClr val="000000"/>
                </a:solidFill>
                <a:effectLst/>
                <a:uLnTx/>
                <a:uFillTx/>
                <a:latin typeface="Arial" panose="020B0604020202020204"/>
                <a:ea typeface="+mn-ea"/>
                <a:cs typeface="+mn-cs"/>
              </a:rPr>
              <a:t>exportu</a:t>
            </a:r>
            <a:r>
              <a:rPr kumimoji="0" lang="en-US" sz="1400" b="0" i="1"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 16. 1. 2022 23:00</a:t>
            </a:r>
          </a:p>
        </p:txBody>
      </p:sp>
      <p:graphicFrame>
        <p:nvGraphicFramePr>
          <p:cNvPr id="19" name="Chart 6">
            <a:extLst>
              <a:ext uri="{FF2B5EF4-FFF2-40B4-BE49-F238E27FC236}">
                <a16:creationId xmlns:a16="http://schemas.microsoft.com/office/drawing/2014/main" id="{102EB415-045E-4A53-9FA4-1BFCB7699837}"/>
              </a:ext>
            </a:extLst>
          </p:cNvPr>
          <p:cNvGraphicFramePr/>
          <p:nvPr>
            <p:custDataLst>
              <p:tags r:id="rId8"/>
            </p:custDataLst>
          </p:nvPr>
        </p:nvGraphicFramePr>
        <p:xfrm>
          <a:off x="79269" y="1924352"/>
          <a:ext cx="5139258" cy="4599619"/>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1" name="Chart 9">
            <a:extLst>
              <a:ext uri="{FF2B5EF4-FFF2-40B4-BE49-F238E27FC236}">
                <a16:creationId xmlns:a16="http://schemas.microsoft.com/office/drawing/2014/main" id="{08CF305D-363E-463E-B842-FF31CFED78E8}"/>
              </a:ext>
            </a:extLst>
          </p:cNvPr>
          <p:cNvGraphicFramePr/>
          <p:nvPr>
            <p:custDataLst>
              <p:tags r:id="rId9"/>
            </p:custDataLst>
          </p:nvPr>
        </p:nvGraphicFramePr>
        <p:xfrm>
          <a:off x="6191250" y="1924352"/>
          <a:ext cx="5139258" cy="4599619"/>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5" name="Tabulka 24">
            <a:extLst>
              <a:ext uri="{FF2B5EF4-FFF2-40B4-BE49-F238E27FC236}">
                <a16:creationId xmlns:a16="http://schemas.microsoft.com/office/drawing/2014/main" id="{F195369F-7386-4655-BF0E-9FEF6EF6B881}"/>
              </a:ext>
            </a:extLst>
          </p:cNvPr>
          <p:cNvGraphicFramePr>
            <a:graphicFrameLocks noGrp="1"/>
          </p:cNvGraphicFramePr>
          <p:nvPr/>
        </p:nvGraphicFramePr>
        <p:xfrm>
          <a:off x="5264398" y="2259460"/>
          <a:ext cx="609600" cy="4105935"/>
        </p:xfrm>
        <a:graphic>
          <a:graphicData uri="http://schemas.openxmlformats.org/drawingml/2006/table">
            <a:tbl>
              <a:tblPr/>
              <a:tblGrid>
                <a:gridCol w="609600">
                  <a:extLst>
                    <a:ext uri="{9D8B030D-6E8A-4147-A177-3AD203B41FA5}">
                      <a16:colId xmlns:a16="http://schemas.microsoft.com/office/drawing/2014/main" val="2731822106"/>
                    </a:ext>
                  </a:extLst>
                </a:gridCol>
              </a:tblGrid>
              <a:tr h="273729">
                <a:tc>
                  <a:txBody>
                    <a:bodyPr/>
                    <a:lstStyle/>
                    <a:p>
                      <a:pPr algn="ctr" fontAlgn="ctr"/>
                      <a:r>
                        <a:rPr lang="cs-CZ" sz="1100" b="0" i="1" u="none" strike="noStrike">
                          <a:solidFill>
                            <a:srgbClr val="000000"/>
                          </a:solidFill>
                          <a:effectLst/>
                          <a:latin typeface="Arial" panose="020B0604020202020204" pitchFamily="34" charset="0"/>
                        </a:rPr>
                        <a:t>89 991</a:t>
                      </a:r>
                    </a:p>
                  </a:txBody>
                  <a:tcPr marL="9525" marR="9525" marT="9525" marB="0" anchor="ctr">
                    <a:lnL>
                      <a:noFill/>
                    </a:lnL>
                    <a:lnR>
                      <a:noFill/>
                    </a:lnR>
                    <a:lnT>
                      <a:noFill/>
                    </a:lnT>
                    <a:lnB>
                      <a:noFill/>
                    </a:lnB>
                  </a:tcPr>
                </a:tc>
                <a:extLst>
                  <a:ext uri="{0D108BD9-81ED-4DB2-BD59-A6C34878D82A}">
                    <a16:rowId xmlns:a16="http://schemas.microsoft.com/office/drawing/2014/main" val="2695852029"/>
                  </a:ext>
                </a:extLst>
              </a:tr>
              <a:tr h="273729">
                <a:tc>
                  <a:txBody>
                    <a:bodyPr/>
                    <a:lstStyle/>
                    <a:p>
                      <a:pPr algn="ctr" fontAlgn="ctr"/>
                      <a:r>
                        <a:rPr lang="cs-CZ" sz="1100" b="0" i="1" u="none" strike="noStrike">
                          <a:solidFill>
                            <a:srgbClr val="000000"/>
                          </a:solidFill>
                          <a:effectLst/>
                          <a:latin typeface="Arial" panose="020B0604020202020204" pitchFamily="34" charset="0"/>
                        </a:rPr>
                        <a:t>21 461</a:t>
                      </a:r>
                    </a:p>
                  </a:txBody>
                  <a:tcPr marL="9525" marR="9525" marT="9525" marB="0" anchor="ctr">
                    <a:lnL>
                      <a:noFill/>
                    </a:lnL>
                    <a:lnR>
                      <a:noFill/>
                    </a:lnR>
                    <a:lnT>
                      <a:noFill/>
                    </a:lnT>
                    <a:lnB>
                      <a:noFill/>
                    </a:lnB>
                  </a:tcPr>
                </a:tc>
                <a:extLst>
                  <a:ext uri="{0D108BD9-81ED-4DB2-BD59-A6C34878D82A}">
                    <a16:rowId xmlns:a16="http://schemas.microsoft.com/office/drawing/2014/main" val="2478783642"/>
                  </a:ext>
                </a:extLst>
              </a:tr>
              <a:tr h="273729">
                <a:tc>
                  <a:txBody>
                    <a:bodyPr/>
                    <a:lstStyle/>
                    <a:p>
                      <a:pPr algn="ctr" fontAlgn="ctr"/>
                      <a:r>
                        <a:rPr lang="cs-CZ" sz="1100" b="0" i="1" u="none" strike="noStrike">
                          <a:solidFill>
                            <a:srgbClr val="000000"/>
                          </a:solidFill>
                          <a:effectLst/>
                          <a:latin typeface="Arial" panose="020B0604020202020204" pitchFamily="34" charset="0"/>
                        </a:rPr>
                        <a:t>114 998</a:t>
                      </a:r>
                    </a:p>
                  </a:txBody>
                  <a:tcPr marL="9525" marR="9525" marT="9525" marB="0" anchor="ctr">
                    <a:lnL>
                      <a:noFill/>
                    </a:lnL>
                    <a:lnR>
                      <a:noFill/>
                    </a:lnR>
                    <a:lnT>
                      <a:noFill/>
                    </a:lnT>
                    <a:lnB>
                      <a:noFill/>
                    </a:lnB>
                  </a:tcPr>
                </a:tc>
                <a:extLst>
                  <a:ext uri="{0D108BD9-81ED-4DB2-BD59-A6C34878D82A}">
                    <a16:rowId xmlns:a16="http://schemas.microsoft.com/office/drawing/2014/main" val="2425404198"/>
                  </a:ext>
                </a:extLst>
              </a:tr>
              <a:tr h="273729">
                <a:tc>
                  <a:txBody>
                    <a:bodyPr/>
                    <a:lstStyle/>
                    <a:p>
                      <a:pPr algn="ctr" fontAlgn="ctr"/>
                      <a:r>
                        <a:rPr lang="cs-CZ" sz="1100" b="0" i="1" u="none" strike="noStrike">
                          <a:solidFill>
                            <a:srgbClr val="000000"/>
                          </a:solidFill>
                          <a:effectLst/>
                          <a:latin typeface="Arial" panose="020B0604020202020204" pitchFamily="34" charset="0"/>
                        </a:rPr>
                        <a:t>63 225</a:t>
                      </a:r>
                    </a:p>
                  </a:txBody>
                  <a:tcPr marL="9525" marR="9525" marT="9525" marB="0" anchor="ctr">
                    <a:lnL>
                      <a:noFill/>
                    </a:lnL>
                    <a:lnR>
                      <a:noFill/>
                    </a:lnR>
                    <a:lnT>
                      <a:noFill/>
                    </a:lnT>
                    <a:lnB>
                      <a:noFill/>
                    </a:lnB>
                  </a:tcPr>
                </a:tc>
                <a:extLst>
                  <a:ext uri="{0D108BD9-81ED-4DB2-BD59-A6C34878D82A}">
                    <a16:rowId xmlns:a16="http://schemas.microsoft.com/office/drawing/2014/main" val="2972998631"/>
                  </a:ext>
                </a:extLst>
              </a:tr>
              <a:tr h="273729">
                <a:tc>
                  <a:txBody>
                    <a:bodyPr/>
                    <a:lstStyle/>
                    <a:p>
                      <a:pPr algn="ctr" fontAlgn="ctr"/>
                      <a:r>
                        <a:rPr lang="cs-CZ" sz="1100" b="0" i="1" u="none" strike="noStrike">
                          <a:solidFill>
                            <a:srgbClr val="000000"/>
                          </a:solidFill>
                          <a:effectLst/>
                          <a:latin typeface="Arial" panose="020B0604020202020204" pitchFamily="34" charset="0"/>
                        </a:rPr>
                        <a:t>45 339</a:t>
                      </a:r>
                    </a:p>
                  </a:txBody>
                  <a:tcPr marL="9525" marR="9525" marT="9525" marB="0" anchor="ctr">
                    <a:lnL>
                      <a:noFill/>
                    </a:lnL>
                    <a:lnR>
                      <a:noFill/>
                    </a:lnR>
                    <a:lnT>
                      <a:noFill/>
                    </a:lnT>
                    <a:lnB>
                      <a:noFill/>
                    </a:lnB>
                  </a:tcPr>
                </a:tc>
                <a:extLst>
                  <a:ext uri="{0D108BD9-81ED-4DB2-BD59-A6C34878D82A}">
                    <a16:rowId xmlns:a16="http://schemas.microsoft.com/office/drawing/2014/main" val="2565261186"/>
                  </a:ext>
                </a:extLst>
              </a:tr>
              <a:tr h="273729">
                <a:tc>
                  <a:txBody>
                    <a:bodyPr/>
                    <a:lstStyle/>
                    <a:p>
                      <a:pPr algn="ctr" fontAlgn="ctr"/>
                      <a:r>
                        <a:rPr lang="cs-CZ" sz="1100" b="0" i="1" u="none" strike="noStrike">
                          <a:solidFill>
                            <a:srgbClr val="000000"/>
                          </a:solidFill>
                          <a:effectLst/>
                          <a:latin typeface="Arial" panose="020B0604020202020204" pitchFamily="34" charset="0"/>
                        </a:rPr>
                        <a:t>36 319</a:t>
                      </a:r>
                    </a:p>
                  </a:txBody>
                  <a:tcPr marL="9525" marR="9525" marT="9525" marB="0" anchor="ctr">
                    <a:lnL>
                      <a:noFill/>
                    </a:lnL>
                    <a:lnR>
                      <a:noFill/>
                    </a:lnR>
                    <a:lnT>
                      <a:noFill/>
                    </a:lnT>
                    <a:lnB>
                      <a:noFill/>
                    </a:lnB>
                  </a:tcPr>
                </a:tc>
                <a:extLst>
                  <a:ext uri="{0D108BD9-81ED-4DB2-BD59-A6C34878D82A}">
                    <a16:rowId xmlns:a16="http://schemas.microsoft.com/office/drawing/2014/main" val="1430638606"/>
                  </a:ext>
                </a:extLst>
              </a:tr>
              <a:tr h="273729">
                <a:tc>
                  <a:txBody>
                    <a:bodyPr/>
                    <a:lstStyle/>
                    <a:p>
                      <a:pPr algn="ctr" fontAlgn="ctr"/>
                      <a:r>
                        <a:rPr lang="cs-CZ" sz="1100" b="0" i="1" u="none" strike="noStrike">
                          <a:solidFill>
                            <a:srgbClr val="000000"/>
                          </a:solidFill>
                          <a:effectLst/>
                          <a:latin typeface="Arial" panose="020B0604020202020204" pitchFamily="34" charset="0"/>
                        </a:rPr>
                        <a:t>832 526</a:t>
                      </a:r>
                    </a:p>
                  </a:txBody>
                  <a:tcPr marL="9525" marR="9525" marT="9525" marB="0" anchor="ctr">
                    <a:lnL>
                      <a:noFill/>
                    </a:lnL>
                    <a:lnR>
                      <a:noFill/>
                    </a:lnR>
                    <a:lnT>
                      <a:noFill/>
                    </a:lnT>
                    <a:lnB>
                      <a:noFill/>
                    </a:lnB>
                  </a:tcPr>
                </a:tc>
                <a:extLst>
                  <a:ext uri="{0D108BD9-81ED-4DB2-BD59-A6C34878D82A}">
                    <a16:rowId xmlns:a16="http://schemas.microsoft.com/office/drawing/2014/main" val="1155938872"/>
                  </a:ext>
                </a:extLst>
              </a:tr>
              <a:tr h="273729">
                <a:tc>
                  <a:txBody>
                    <a:bodyPr/>
                    <a:lstStyle/>
                    <a:p>
                      <a:pPr algn="ctr" fontAlgn="ctr"/>
                      <a:r>
                        <a:rPr lang="cs-CZ" sz="1100" b="0" i="1" u="none" strike="noStrike">
                          <a:solidFill>
                            <a:srgbClr val="000000"/>
                          </a:solidFill>
                          <a:effectLst/>
                          <a:latin typeface="Arial" panose="020B0604020202020204" pitchFamily="34" charset="0"/>
                        </a:rPr>
                        <a:t>44 567</a:t>
                      </a:r>
                    </a:p>
                  </a:txBody>
                  <a:tcPr marL="9525" marR="9525" marT="9525" marB="0" anchor="ctr">
                    <a:lnL>
                      <a:noFill/>
                    </a:lnL>
                    <a:lnR>
                      <a:noFill/>
                    </a:lnR>
                    <a:lnT>
                      <a:noFill/>
                    </a:lnT>
                    <a:lnB>
                      <a:noFill/>
                    </a:lnB>
                  </a:tcPr>
                </a:tc>
                <a:extLst>
                  <a:ext uri="{0D108BD9-81ED-4DB2-BD59-A6C34878D82A}">
                    <a16:rowId xmlns:a16="http://schemas.microsoft.com/office/drawing/2014/main" val="1632530333"/>
                  </a:ext>
                </a:extLst>
              </a:tr>
              <a:tr h="273729">
                <a:tc>
                  <a:txBody>
                    <a:bodyPr/>
                    <a:lstStyle/>
                    <a:p>
                      <a:pPr algn="ctr" fontAlgn="ctr"/>
                      <a:r>
                        <a:rPr lang="cs-CZ" sz="1100" b="0" i="1" u="none" strike="noStrike">
                          <a:solidFill>
                            <a:srgbClr val="000000"/>
                          </a:solidFill>
                          <a:effectLst/>
                          <a:latin typeface="Arial" panose="020B0604020202020204" pitchFamily="34" charset="0"/>
                        </a:rPr>
                        <a:t>48 855</a:t>
                      </a:r>
                    </a:p>
                  </a:txBody>
                  <a:tcPr marL="9525" marR="9525" marT="9525" marB="0" anchor="ctr">
                    <a:lnL>
                      <a:noFill/>
                    </a:lnL>
                    <a:lnR>
                      <a:noFill/>
                    </a:lnR>
                    <a:lnT>
                      <a:noFill/>
                    </a:lnT>
                    <a:lnB>
                      <a:noFill/>
                    </a:lnB>
                  </a:tcPr>
                </a:tc>
                <a:extLst>
                  <a:ext uri="{0D108BD9-81ED-4DB2-BD59-A6C34878D82A}">
                    <a16:rowId xmlns:a16="http://schemas.microsoft.com/office/drawing/2014/main" val="1206781855"/>
                  </a:ext>
                </a:extLst>
              </a:tr>
              <a:tr h="273729">
                <a:tc>
                  <a:txBody>
                    <a:bodyPr/>
                    <a:lstStyle/>
                    <a:p>
                      <a:pPr algn="ctr" fontAlgn="ctr"/>
                      <a:r>
                        <a:rPr lang="cs-CZ" sz="1100" b="0" i="1" u="none" strike="noStrike">
                          <a:solidFill>
                            <a:srgbClr val="000000"/>
                          </a:solidFill>
                          <a:effectLst/>
                          <a:latin typeface="Arial" panose="020B0604020202020204" pitchFamily="34" charset="0"/>
                        </a:rPr>
                        <a:t>40 821</a:t>
                      </a:r>
                    </a:p>
                  </a:txBody>
                  <a:tcPr marL="9525" marR="9525" marT="9525" marB="0" anchor="ctr">
                    <a:lnL>
                      <a:noFill/>
                    </a:lnL>
                    <a:lnR>
                      <a:noFill/>
                    </a:lnR>
                    <a:lnT>
                      <a:noFill/>
                    </a:lnT>
                    <a:lnB>
                      <a:noFill/>
                    </a:lnB>
                  </a:tcPr>
                </a:tc>
                <a:extLst>
                  <a:ext uri="{0D108BD9-81ED-4DB2-BD59-A6C34878D82A}">
                    <a16:rowId xmlns:a16="http://schemas.microsoft.com/office/drawing/2014/main" val="1614241097"/>
                  </a:ext>
                </a:extLst>
              </a:tr>
              <a:tr h="273729">
                <a:tc>
                  <a:txBody>
                    <a:bodyPr/>
                    <a:lstStyle/>
                    <a:p>
                      <a:pPr algn="ctr" fontAlgn="ctr"/>
                      <a:r>
                        <a:rPr lang="cs-CZ" sz="1100" b="0" i="1" u="none" strike="noStrike">
                          <a:solidFill>
                            <a:srgbClr val="000000"/>
                          </a:solidFill>
                          <a:effectLst/>
                          <a:latin typeface="Arial" panose="020B0604020202020204" pitchFamily="34" charset="0"/>
                        </a:rPr>
                        <a:t>94 284</a:t>
                      </a:r>
                    </a:p>
                  </a:txBody>
                  <a:tcPr marL="9525" marR="9525" marT="9525" marB="0" anchor="ctr">
                    <a:lnL>
                      <a:noFill/>
                    </a:lnL>
                    <a:lnR>
                      <a:noFill/>
                    </a:lnR>
                    <a:lnT>
                      <a:noFill/>
                    </a:lnT>
                    <a:lnB>
                      <a:noFill/>
                    </a:lnB>
                  </a:tcPr>
                </a:tc>
                <a:extLst>
                  <a:ext uri="{0D108BD9-81ED-4DB2-BD59-A6C34878D82A}">
                    <a16:rowId xmlns:a16="http://schemas.microsoft.com/office/drawing/2014/main" val="989381080"/>
                  </a:ext>
                </a:extLst>
              </a:tr>
              <a:tr h="273729">
                <a:tc>
                  <a:txBody>
                    <a:bodyPr/>
                    <a:lstStyle/>
                    <a:p>
                      <a:pPr algn="ctr" fontAlgn="ctr"/>
                      <a:r>
                        <a:rPr lang="cs-CZ" sz="1100" b="0" i="1" u="none" strike="noStrike">
                          <a:solidFill>
                            <a:srgbClr val="000000"/>
                          </a:solidFill>
                          <a:effectLst/>
                          <a:latin typeface="Arial" panose="020B0604020202020204" pitchFamily="34" charset="0"/>
                        </a:rPr>
                        <a:t>52 692</a:t>
                      </a:r>
                    </a:p>
                  </a:txBody>
                  <a:tcPr marL="9525" marR="9525" marT="9525" marB="0" anchor="ctr">
                    <a:lnL>
                      <a:noFill/>
                    </a:lnL>
                    <a:lnR>
                      <a:noFill/>
                    </a:lnR>
                    <a:lnT>
                      <a:noFill/>
                    </a:lnT>
                    <a:lnB>
                      <a:noFill/>
                    </a:lnB>
                  </a:tcPr>
                </a:tc>
                <a:extLst>
                  <a:ext uri="{0D108BD9-81ED-4DB2-BD59-A6C34878D82A}">
                    <a16:rowId xmlns:a16="http://schemas.microsoft.com/office/drawing/2014/main" val="3617420028"/>
                  </a:ext>
                </a:extLst>
              </a:tr>
              <a:tr h="273729">
                <a:tc>
                  <a:txBody>
                    <a:bodyPr/>
                    <a:lstStyle/>
                    <a:p>
                      <a:pPr algn="ctr" fontAlgn="ctr"/>
                      <a:r>
                        <a:rPr lang="cs-CZ" sz="1100" b="0" i="1" u="none" strike="noStrike">
                          <a:solidFill>
                            <a:srgbClr val="000000"/>
                          </a:solidFill>
                          <a:effectLst/>
                          <a:latin typeface="Arial" panose="020B0604020202020204" pitchFamily="34" charset="0"/>
                        </a:rPr>
                        <a:t>46 820</a:t>
                      </a:r>
                    </a:p>
                  </a:txBody>
                  <a:tcPr marL="9525" marR="9525" marT="9525" marB="0" anchor="ctr">
                    <a:lnL>
                      <a:noFill/>
                    </a:lnL>
                    <a:lnR>
                      <a:noFill/>
                    </a:lnR>
                    <a:lnT>
                      <a:noFill/>
                    </a:lnT>
                    <a:lnB>
                      <a:noFill/>
                    </a:lnB>
                  </a:tcPr>
                </a:tc>
                <a:extLst>
                  <a:ext uri="{0D108BD9-81ED-4DB2-BD59-A6C34878D82A}">
                    <a16:rowId xmlns:a16="http://schemas.microsoft.com/office/drawing/2014/main" val="3134526538"/>
                  </a:ext>
                </a:extLst>
              </a:tr>
              <a:tr h="273729">
                <a:tc>
                  <a:txBody>
                    <a:bodyPr/>
                    <a:lstStyle/>
                    <a:p>
                      <a:pPr algn="ctr" fontAlgn="ctr"/>
                      <a:r>
                        <a:rPr lang="cs-CZ" sz="1100" b="0" i="1" u="none" strike="noStrike">
                          <a:solidFill>
                            <a:srgbClr val="000000"/>
                          </a:solidFill>
                          <a:effectLst/>
                          <a:latin typeface="Arial" panose="020B0604020202020204" pitchFamily="34" charset="0"/>
                        </a:rPr>
                        <a:t>91 903</a:t>
                      </a:r>
                    </a:p>
                  </a:txBody>
                  <a:tcPr marL="9525" marR="9525" marT="9525" marB="0" anchor="ctr">
                    <a:lnL>
                      <a:noFill/>
                    </a:lnL>
                    <a:lnR>
                      <a:noFill/>
                    </a:lnR>
                    <a:lnT>
                      <a:noFill/>
                    </a:lnT>
                    <a:lnB>
                      <a:noFill/>
                    </a:lnB>
                  </a:tcPr>
                </a:tc>
                <a:extLst>
                  <a:ext uri="{0D108BD9-81ED-4DB2-BD59-A6C34878D82A}">
                    <a16:rowId xmlns:a16="http://schemas.microsoft.com/office/drawing/2014/main" val="454066520"/>
                  </a:ext>
                </a:extLst>
              </a:tr>
              <a:tr h="273729">
                <a:tc>
                  <a:txBody>
                    <a:bodyPr/>
                    <a:lstStyle/>
                    <a:p>
                      <a:pPr algn="ctr" fontAlgn="ctr"/>
                      <a:r>
                        <a:rPr lang="cs-CZ" sz="1100" b="0" i="1" u="none" strike="noStrike" dirty="0">
                          <a:solidFill>
                            <a:srgbClr val="000000"/>
                          </a:solidFill>
                          <a:effectLst/>
                          <a:latin typeface="Arial" panose="020B0604020202020204" pitchFamily="34" charset="0"/>
                        </a:rPr>
                        <a:t>41 251</a:t>
                      </a:r>
                    </a:p>
                  </a:txBody>
                  <a:tcPr marL="9525" marR="9525" marT="9525" marB="0" anchor="ctr">
                    <a:lnL>
                      <a:noFill/>
                    </a:lnL>
                    <a:lnR>
                      <a:noFill/>
                    </a:lnR>
                    <a:lnT>
                      <a:noFill/>
                    </a:lnT>
                    <a:lnB>
                      <a:noFill/>
                    </a:lnB>
                  </a:tcPr>
                </a:tc>
                <a:extLst>
                  <a:ext uri="{0D108BD9-81ED-4DB2-BD59-A6C34878D82A}">
                    <a16:rowId xmlns:a16="http://schemas.microsoft.com/office/drawing/2014/main" val="1076670392"/>
                  </a:ext>
                </a:extLst>
              </a:tr>
            </a:tbl>
          </a:graphicData>
        </a:graphic>
      </p:graphicFrame>
      <p:sp>
        <p:nvSpPr>
          <p:cNvPr id="31" name="Obdélník 30">
            <a:extLst>
              <a:ext uri="{FF2B5EF4-FFF2-40B4-BE49-F238E27FC236}">
                <a16:creationId xmlns:a16="http://schemas.microsoft.com/office/drawing/2014/main" id="{57CCE498-358A-43E9-828D-9BEC3FF3FF9D}"/>
              </a:ext>
            </a:extLst>
          </p:cNvPr>
          <p:cNvSpPr/>
          <p:nvPr/>
        </p:nvSpPr>
        <p:spPr>
          <a:xfrm>
            <a:off x="5150432" y="1982461"/>
            <a:ext cx="954107"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dirty="0">
                <a:ln>
                  <a:noFill/>
                </a:ln>
                <a:solidFill>
                  <a:srgbClr val="000000"/>
                </a:solidFill>
                <a:effectLst/>
                <a:uLnTx/>
                <a:uFillTx/>
                <a:latin typeface="Arial" panose="020B0604020202020204" pitchFamily="34" charset="0"/>
                <a:ea typeface="+mn-ea"/>
                <a:cs typeface="+mn-cs"/>
              </a:rPr>
              <a:t>Počet testů</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32" name="Tabulka 31">
            <a:extLst>
              <a:ext uri="{FF2B5EF4-FFF2-40B4-BE49-F238E27FC236}">
                <a16:creationId xmlns:a16="http://schemas.microsoft.com/office/drawing/2014/main" id="{D684F5AE-3AB8-48FC-96C6-C592C450019E}"/>
              </a:ext>
            </a:extLst>
          </p:cNvPr>
          <p:cNvGraphicFramePr>
            <a:graphicFrameLocks noGrp="1"/>
          </p:cNvGraphicFramePr>
          <p:nvPr/>
        </p:nvGraphicFramePr>
        <p:xfrm>
          <a:off x="11330508" y="2259460"/>
          <a:ext cx="609600" cy="4105935"/>
        </p:xfrm>
        <a:graphic>
          <a:graphicData uri="http://schemas.openxmlformats.org/drawingml/2006/table">
            <a:tbl>
              <a:tblPr/>
              <a:tblGrid>
                <a:gridCol w="609600">
                  <a:extLst>
                    <a:ext uri="{9D8B030D-6E8A-4147-A177-3AD203B41FA5}">
                      <a16:colId xmlns:a16="http://schemas.microsoft.com/office/drawing/2014/main" val="2731822106"/>
                    </a:ext>
                  </a:extLst>
                </a:gridCol>
              </a:tblGrid>
              <a:tr h="273729">
                <a:tc>
                  <a:txBody>
                    <a:bodyPr/>
                    <a:lstStyle/>
                    <a:p>
                      <a:pPr algn="ctr" fontAlgn="ctr"/>
                      <a:r>
                        <a:rPr lang="cs-CZ" sz="1100" b="0" i="1" u="none" strike="noStrike">
                          <a:solidFill>
                            <a:srgbClr val="000000"/>
                          </a:solidFill>
                          <a:effectLst/>
                          <a:latin typeface="Arial" panose="020B0604020202020204" pitchFamily="34" charset="0"/>
                        </a:rPr>
                        <a:t>55 204</a:t>
                      </a:r>
                    </a:p>
                  </a:txBody>
                  <a:tcPr marL="9525" marR="9525" marT="9525" marB="0" anchor="ctr">
                    <a:lnL>
                      <a:noFill/>
                    </a:lnL>
                    <a:lnR>
                      <a:noFill/>
                    </a:lnR>
                    <a:lnT>
                      <a:noFill/>
                    </a:lnT>
                    <a:lnB>
                      <a:noFill/>
                    </a:lnB>
                  </a:tcPr>
                </a:tc>
                <a:extLst>
                  <a:ext uri="{0D108BD9-81ED-4DB2-BD59-A6C34878D82A}">
                    <a16:rowId xmlns:a16="http://schemas.microsoft.com/office/drawing/2014/main" val="2695852029"/>
                  </a:ext>
                </a:extLst>
              </a:tr>
              <a:tr h="273729">
                <a:tc>
                  <a:txBody>
                    <a:bodyPr/>
                    <a:lstStyle/>
                    <a:p>
                      <a:pPr algn="ctr" fontAlgn="ctr"/>
                      <a:r>
                        <a:rPr lang="cs-CZ" sz="1100" b="0" i="1" u="none" strike="noStrike">
                          <a:solidFill>
                            <a:srgbClr val="000000"/>
                          </a:solidFill>
                          <a:effectLst/>
                          <a:latin typeface="Arial" panose="020B0604020202020204" pitchFamily="34" charset="0"/>
                        </a:rPr>
                        <a:t>16 966</a:t>
                      </a:r>
                    </a:p>
                  </a:txBody>
                  <a:tcPr marL="9525" marR="9525" marT="9525" marB="0" anchor="ctr">
                    <a:lnL>
                      <a:noFill/>
                    </a:lnL>
                    <a:lnR>
                      <a:noFill/>
                    </a:lnR>
                    <a:lnT>
                      <a:noFill/>
                    </a:lnT>
                    <a:lnB>
                      <a:noFill/>
                    </a:lnB>
                  </a:tcPr>
                </a:tc>
                <a:extLst>
                  <a:ext uri="{0D108BD9-81ED-4DB2-BD59-A6C34878D82A}">
                    <a16:rowId xmlns:a16="http://schemas.microsoft.com/office/drawing/2014/main" val="2478783642"/>
                  </a:ext>
                </a:extLst>
              </a:tr>
              <a:tr h="273729">
                <a:tc>
                  <a:txBody>
                    <a:bodyPr/>
                    <a:lstStyle/>
                    <a:p>
                      <a:pPr algn="ctr" fontAlgn="ctr"/>
                      <a:r>
                        <a:rPr lang="cs-CZ" sz="1100" b="0" i="1" u="none" strike="noStrike">
                          <a:solidFill>
                            <a:srgbClr val="000000"/>
                          </a:solidFill>
                          <a:effectLst/>
                          <a:latin typeface="Arial" panose="020B0604020202020204" pitchFamily="34" charset="0"/>
                        </a:rPr>
                        <a:t>8 361</a:t>
                      </a:r>
                    </a:p>
                  </a:txBody>
                  <a:tcPr marL="9525" marR="9525" marT="9525" marB="0" anchor="ctr">
                    <a:lnL>
                      <a:noFill/>
                    </a:lnL>
                    <a:lnR>
                      <a:noFill/>
                    </a:lnR>
                    <a:lnT>
                      <a:noFill/>
                    </a:lnT>
                    <a:lnB>
                      <a:noFill/>
                    </a:lnB>
                  </a:tcPr>
                </a:tc>
                <a:extLst>
                  <a:ext uri="{0D108BD9-81ED-4DB2-BD59-A6C34878D82A}">
                    <a16:rowId xmlns:a16="http://schemas.microsoft.com/office/drawing/2014/main" val="2425404198"/>
                  </a:ext>
                </a:extLst>
              </a:tr>
              <a:tr h="273729">
                <a:tc>
                  <a:txBody>
                    <a:bodyPr/>
                    <a:lstStyle/>
                    <a:p>
                      <a:pPr algn="ctr" fontAlgn="ctr"/>
                      <a:r>
                        <a:rPr lang="cs-CZ" sz="1100" b="0" i="1" u="none" strike="noStrike">
                          <a:solidFill>
                            <a:srgbClr val="000000"/>
                          </a:solidFill>
                          <a:effectLst/>
                          <a:latin typeface="Arial" panose="020B0604020202020204" pitchFamily="34" charset="0"/>
                        </a:rPr>
                        <a:t>24 373</a:t>
                      </a:r>
                    </a:p>
                  </a:txBody>
                  <a:tcPr marL="9525" marR="9525" marT="9525" marB="0" anchor="ctr">
                    <a:lnL>
                      <a:noFill/>
                    </a:lnL>
                    <a:lnR>
                      <a:noFill/>
                    </a:lnR>
                    <a:lnT>
                      <a:noFill/>
                    </a:lnT>
                    <a:lnB>
                      <a:noFill/>
                    </a:lnB>
                  </a:tcPr>
                </a:tc>
                <a:extLst>
                  <a:ext uri="{0D108BD9-81ED-4DB2-BD59-A6C34878D82A}">
                    <a16:rowId xmlns:a16="http://schemas.microsoft.com/office/drawing/2014/main" val="2972998631"/>
                  </a:ext>
                </a:extLst>
              </a:tr>
              <a:tr h="273729">
                <a:tc>
                  <a:txBody>
                    <a:bodyPr/>
                    <a:lstStyle/>
                    <a:p>
                      <a:pPr algn="ctr" fontAlgn="ctr"/>
                      <a:r>
                        <a:rPr lang="cs-CZ" sz="1100" b="0" i="1" u="none" strike="noStrike">
                          <a:solidFill>
                            <a:srgbClr val="000000"/>
                          </a:solidFill>
                          <a:effectLst/>
                          <a:latin typeface="Arial" panose="020B0604020202020204" pitchFamily="34" charset="0"/>
                        </a:rPr>
                        <a:t>348 566</a:t>
                      </a:r>
                    </a:p>
                  </a:txBody>
                  <a:tcPr marL="9525" marR="9525" marT="9525" marB="0" anchor="ctr">
                    <a:lnL>
                      <a:noFill/>
                    </a:lnL>
                    <a:lnR>
                      <a:noFill/>
                    </a:lnR>
                    <a:lnT>
                      <a:noFill/>
                    </a:lnT>
                    <a:lnB>
                      <a:noFill/>
                    </a:lnB>
                  </a:tcPr>
                </a:tc>
                <a:extLst>
                  <a:ext uri="{0D108BD9-81ED-4DB2-BD59-A6C34878D82A}">
                    <a16:rowId xmlns:a16="http://schemas.microsoft.com/office/drawing/2014/main" val="2565261186"/>
                  </a:ext>
                </a:extLst>
              </a:tr>
              <a:tr h="273729">
                <a:tc>
                  <a:txBody>
                    <a:bodyPr/>
                    <a:lstStyle/>
                    <a:p>
                      <a:pPr algn="ctr" fontAlgn="ctr"/>
                      <a:r>
                        <a:rPr lang="cs-CZ" sz="1100" b="0" i="1" u="none" strike="noStrike">
                          <a:solidFill>
                            <a:srgbClr val="000000"/>
                          </a:solidFill>
                          <a:effectLst/>
                          <a:latin typeface="Arial" panose="020B0604020202020204" pitchFamily="34" charset="0"/>
                        </a:rPr>
                        <a:t>20 483</a:t>
                      </a:r>
                    </a:p>
                  </a:txBody>
                  <a:tcPr marL="9525" marR="9525" marT="9525" marB="0" anchor="ctr">
                    <a:lnL>
                      <a:noFill/>
                    </a:lnL>
                    <a:lnR>
                      <a:noFill/>
                    </a:lnR>
                    <a:lnT>
                      <a:noFill/>
                    </a:lnT>
                    <a:lnB>
                      <a:noFill/>
                    </a:lnB>
                  </a:tcPr>
                </a:tc>
                <a:extLst>
                  <a:ext uri="{0D108BD9-81ED-4DB2-BD59-A6C34878D82A}">
                    <a16:rowId xmlns:a16="http://schemas.microsoft.com/office/drawing/2014/main" val="1430638606"/>
                  </a:ext>
                </a:extLst>
              </a:tr>
              <a:tr h="273729">
                <a:tc>
                  <a:txBody>
                    <a:bodyPr/>
                    <a:lstStyle/>
                    <a:p>
                      <a:pPr algn="ctr" fontAlgn="ctr"/>
                      <a:r>
                        <a:rPr lang="cs-CZ" sz="1100" b="0" i="1" u="none" strike="noStrike">
                          <a:solidFill>
                            <a:srgbClr val="000000"/>
                          </a:solidFill>
                          <a:effectLst/>
                          <a:latin typeface="Arial" panose="020B0604020202020204" pitchFamily="34" charset="0"/>
                        </a:rPr>
                        <a:t>18 865</a:t>
                      </a:r>
                    </a:p>
                  </a:txBody>
                  <a:tcPr marL="9525" marR="9525" marT="9525" marB="0" anchor="ctr">
                    <a:lnL>
                      <a:noFill/>
                    </a:lnL>
                    <a:lnR>
                      <a:noFill/>
                    </a:lnR>
                    <a:lnT>
                      <a:noFill/>
                    </a:lnT>
                    <a:lnB>
                      <a:noFill/>
                    </a:lnB>
                  </a:tcPr>
                </a:tc>
                <a:extLst>
                  <a:ext uri="{0D108BD9-81ED-4DB2-BD59-A6C34878D82A}">
                    <a16:rowId xmlns:a16="http://schemas.microsoft.com/office/drawing/2014/main" val="1155938872"/>
                  </a:ext>
                </a:extLst>
              </a:tr>
              <a:tr h="273729">
                <a:tc>
                  <a:txBody>
                    <a:bodyPr/>
                    <a:lstStyle/>
                    <a:p>
                      <a:pPr algn="ctr" fontAlgn="ctr"/>
                      <a:r>
                        <a:rPr lang="cs-CZ" sz="1100" b="0" i="1" u="none" strike="noStrike">
                          <a:solidFill>
                            <a:srgbClr val="000000"/>
                          </a:solidFill>
                          <a:effectLst/>
                          <a:latin typeface="Arial" panose="020B0604020202020204" pitchFamily="34" charset="0"/>
                        </a:rPr>
                        <a:t>22 030</a:t>
                      </a:r>
                    </a:p>
                  </a:txBody>
                  <a:tcPr marL="9525" marR="9525" marT="9525" marB="0" anchor="ctr">
                    <a:lnL>
                      <a:noFill/>
                    </a:lnL>
                    <a:lnR>
                      <a:noFill/>
                    </a:lnR>
                    <a:lnT>
                      <a:noFill/>
                    </a:lnT>
                    <a:lnB>
                      <a:noFill/>
                    </a:lnB>
                  </a:tcPr>
                </a:tc>
                <a:extLst>
                  <a:ext uri="{0D108BD9-81ED-4DB2-BD59-A6C34878D82A}">
                    <a16:rowId xmlns:a16="http://schemas.microsoft.com/office/drawing/2014/main" val="1632530333"/>
                  </a:ext>
                </a:extLst>
              </a:tr>
              <a:tr h="273729">
                <a:tc>
                  <a:txBody>
                    <a:bodyPr/>
                    <a:lstStyle/>
                    <a:p>
                      <a:pPr algn="ctr" fontAlgn="ctr"/>
                      <a:r>
                        <a:rPr lang="cs-CZ" sz="1100" b="0" i="1" u="none" strike="noStrike">
                          <a:solidFill>
                            <a:srgbClr val="000000"/>
                          </a:solidFill>
                          <a:effectLst/>
                          <a:latin typeface="Arial" panose="020B0604020202020204" pitchFamily="34" charset="0"/>
                        </a:rPr>
                        <a:t>13 642</a:t>
                      </a:r>
                    </a:p>
                  </a:txBody>
                  <a:tcPr marL="9525" marR="9525" marT="9525" marB="0" anchor="ctr">
                    <a:lnL>
                      <a:noFill/>
                    </a:lnL>
                    <a:lnR>
                      <a:noFill/>
                    </a:lnR>
                    <a:lnT>
                      <a:noFill/>
                    </a:lnT>
                    <a:lnB>
                      <a:noFill/>
                    </a:lnB>
                  </a:tcPr>
                </a:tc>
                <a:extLst>
                  <a:ext uri="{0D108BD9-81ED-4DB2-BD59-A6C34878D82A}">
                    <a16:rowId xmlns:a16="http://schemas.microsoft.com/office/drawing/2014/main" val="1206781855"/>
                  </a:ext>
                </a:extLst>
              </a:tr>
              <a:tr h="273729">
                <a:tc>
                  <a:txBody>
                    <a:bodyPr/>
                    <a:lstStyle/>
                    <a:p>
                      <a:pPr algn="ctr" fontAlgn="ctr"/>
                      <a:r>
                        <a:rPr lang="cs-CZ" sz="1100" b="0" i="1" u="none" strike="noStrike">
                          <a:solidFill>
                            <a:srgbClr val="000000"/>
                          </a:solidFill>
                          <a:effectLst/>
                          <a:latin typeface="Arial" panose="020B0604020202020204" pitchFamily="34" charset="0"/>
                        </a:rPr>
                        <a:t>33 728</a:t>
                      </a:r>
                    </a:p>
                  </a:txBody>
                  <a:tcPr marL="9525" marR="9525" marT="9525" marB="0" anchor="ctr">
                    <a:lnL>
                      <a:noFill/>
                    </a:lnL>
                    <a:lnR>
                      <a:noFill/>
                    </a:lnR>
                    <a:lnT>
                      <a:noFill/>
                    </a:lnT>
                    <a:lnB>
                      <a:noFill/>
                    </a:lnB>
                  </a:tcPr>
                </a:tc>
                <a:extLst>
                  <a:ext uri="{0D108BD9-81ED-4DB2-BD59-A6C34878D82A}">
                    <a16:rowId xmlns:a16="http://schemas.microsoft.com/office/drawing/2014/main" val="1614241097"/>
                  </a:ext>
                </a:extLst>
              </a:tr>
              <a:tr h="273729">
                <a:tc>
                  <a:txBody>
                    <a:bodyPr/>
                    <a:lstStyle/>
                    <a:p>
                      <a:pPr algn="ctr" fontAlgn="ctr"/>
                      <a:r>
                        <a:rPr lang="cs-CZ" sz="1100" b="0" i="1" u="none" strike="noStrike">
                          <a:solidFill>
                            <a:srgbClr val="000000"/>
                          </a:solidFill>
                          <a:effectLst/>
                          <a:latin typeface="Arial" panose="020B0604020202020204" pitchFamily="34" charset="0"/>
                        </a:rPr>
                        <a:t>38 409</a:t>
                      </a:r>
                    </a:p>
                  </a:txBody>
                  <a:tcPr marL="9525" marR="9525" marT="9525" marB="0" anchor="ctr">
                    <a:lnL>
                      <a:noFill/>
                    </a:lnL>
                    <a:lnR>
                      <a:noFill/>
                    </a:lnR>
                    <a:lnT>
                      <a:noFill/>
                    </a:lnT>
                    <a:lnB>
                      <a:noFill/>
                    </a:lnB>
                  </a:tcPr>
                </a:tc>
                <a:extLst>
                  <a:ext uri="{0D108BD9-81ED-4DB2-BD59-A6C34878D82A}">
                    <a16:rowId xmlns:a16="http://schemas.microsoft.com/office/drawing/2014/main" val="989381080"/>
                  </a:ext>
                </a:extLst>
              </a:tr>
              <a:tr h="273729">
                <a:tc>
                  <a:txBody>
                    <a:bodyPr/>
                    <a:lstStyle/>
                    <a:p>
                      <a:pPr algn="ctr" fontAlgn="ctr"/>
                      <a:r>
                        <a:rPr lang="cs-CZ" sz="1100" b="0" i="1" u="none" strike="noStrike">
                          <a:solidFill>
                            <a:srgbClr val="000000"/>
                          </a:solidFill>
                          <a:effectLst/>
                          <a:latin typeface="Arial" panose="020B0604020202020204" pitchFamily="34" charset="0"/>
                        </a:rPr>
                        <a:t>18 016</a:t>
                      </a:r>
                    </a:p>
                  </a:txBody>
                  <a:tcPr marL="9525" marR="9525" marT="9525" marB="0" anchor="ctr">
                    <a:lnL>
                      <a:noFill/>
                    </a:lnL>
                    <a:lnR>
                      <a:noFill/>
                    </a:lnR>
                    <a:lnT>
                      <a:noFill/>
                    </a:lnT>
                    <a:lnB>
                      <a:noFill/>
                    </a:lnB>
                  </a:tcPr>
                </a:tc>
                <a:extLst>
                  <a:ext uri="{0D108BD9-81ED-4DB2-BD59-A6C34878D82A}">
                    <a16:rowId xmlns:a16="http://schemas.microsoft.com/office/drawing/2014/main" val="3617420028"/>
                  </a:ext>
                </a:extLst>
              </a:tr>
              <a:tr h="273729">
                <a:tc>
                  <a:txBody>
                    <a:bodyPr/>
                    <a:lstStyle/>
                    <a:p>
                      <a:pPr algn="ctr" fontAlgn="ctr"/>
                      <a:r>
                        <a:rPr lang="cs-CZ" sz="1100" b="0" i="1" u="none" strike="noStrike">
                          <a:solidFill>
                            <a:srgbClr val="000000"/>
                          </a:solidFill>
                          <a:effectLst/>
                          <a:latin typeface="Arial" panose="020B0604020202020204" pitchFamily="34" charset="0"/>
                        </a:rPr>
                        <a:t>19 591</a:t>
                      </a:r>
                    </a:p>
                  </a:txBody>
                  <a:tcPr marL="9525" marR="9525" marT="9525" marB="0" anchor="ctr">
                    <a:lnL>
                      <a:noFill/>
                    </a:lnL>
                    <a:lnR>
                      <a:noFill/>
                    </a:lnR>
                    <a:lnT>
                      <a:noFill/>
                    </a:lnT>
                    <a:lnB>
                      <a:noFill/>
                    </a:lnB>
                  </a:tcPr>
                </a:tc>
                <a:extLst>
                  <a:ext uri="{0D108BD9-81ED-4DB2-BD59-A6C34878D82A}">
                    <a16:rowId xmlns:a16="http://schemas.microsoft.com/office/drawing/2014/main" val="3134526538"/>
                  </a:ext>
                </a:extLst>
              </a:tr>
              <a:tr h="273729">
                <a:tc>
                  <a:txBody>
                    <a:bodyPr/>
                    <a:lstStyle/>
                    <a:p>
                      <a:pPr algn="ctr" fontAlgn="ctr"/>
                      <a:r>
                        <a:rPr lang="cs-CZ" sz="1100" b="0" i="1" u="none" strike="noStrike">
                          <a:solidFill>
                            <a:srgbClr val="000000"/>
                          </a:solidFill>
                          <a:effectLst/>
                          <a:latin typeface="Arial" panose="020B0604020202020204" pitchFamily="34" charset="0"/>
                        </a:rPr>
                        <a:t>41 315</a:t>
                      </a:r>
                    </a:p>
                  </a:txBody>
                  <a:tcPr marL="9525" marR="9525" marT="9525" marB="0" anchor="ctr">
                    <a:lnL>
                      <a:noFill/>
                    </a:lnL>
                    <a:lnR>
                      <a:noFill/>
                    </a:lnR>
                    <a:lnT>
                      <a:noFill/>
                    </a:lnT>
                    <a:lnB>
                      <a:noFill/>
                    </a:lnB>
                  </a:tcPr>
                </a:tc>
                <a:extLst>
                  <a:ext uri="{0D108BD9-81ED-4DB2-BD59-A6C34878D82A}">
                    <a16:rowId xmlns:a16="http://schemas.microsoft.com/office/drawing/2014/main" val="454066520"/>
                  </a:ext>
                </a:extLst>
              </a:tr>
              <a:tr h="273729">
                <a:tc>
                  <a:txBody>
                    <a:bodyPr/>
                    <a:lstStyle/>
                    <a:p>
                      <a:pPr algn="ctr" fontAlgn="ctr"/>
                      <a:r>
                        <a:rPr lang="cs-CZ" sz="1100" b="0" i="1" u="none" strike="noStrike" dirty="0">
                          <a:solidFill>
                            <a:srgbClr val="000000"/>
                          </a:solidFill>
                          <a:effectLst/>
                          <a:latin typeface="Arial" panose="020B0604020202020204" pitchFamily="34" charset="0"/>
                        </a:rPr>
                        <a:t>17 583</a:t>
                      </a:r>
                    </a:p>
                  </a:txBody>
                  <a:tcPr marL="9525" marR="9525" marT="9525" marB="0" anchor="ctr">
                    <a:lnL>
                      <a:noFill/>
                    </a:lnL>
                    <a:lnR>
                      <a:noFill/>
                    </a:lnR>
                    <a:lnT>
                      <a:noFill/>
                    </a:lnT>
                    <a:lnB>
                      <a:noFill/>
                    </a:lnB>
                  </a:tcPr>
                </a:tc>
                <a:extLst>
                  <a:ext uri="{0D108BD9-81ED-4DB2-BD59-A6C34878D82A}">
                    <a16:rowId xmlns:a16="http://schemas.microsoft.com/office/drawing/2014/main" val="1076670392"/>
                  </a:ext>
                </a:extLst>
              </a:tr>
            </a:tbl>
          </a:graphicData>
        </a:graphic>
      </p:graphicFrame>
      <p:sp>
        <p:nvSpPr>
          <p:cNvPr id="33" name="Obdélník 32">
            <a:extLst>
              <a:ext uri="{FF2B5EF4-FFF2-40B4-BE49-F238E27FC236}">
                <a16:creationId xmlns:a16="http://schemas.microsoft.com/office/drawing/2014/main" id="{36A52170-514F-4D85-85F8-6F2D6E722274}"/>
              </a:ext>
            </a:extLst>
          </p:cNvPr>
          <p:cNvSpPr/>
          <p:nvPr/>
        </p:nvSpPr>
        <p:spPr>
          <a:xfrm>
            <a:off x="11216542" y="1982461"/>
            <a:ext cx="954107"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dirty="0">
                <a:ln>
                  <a:noFill/>
                </a:ln>
                <a:solidFill>
                  <a:srgbClr val="000000"/>
                </a:solidFill>
                <a:effectLst/>
                <a:uLnTx/>
                <a:uFillTx/>
                <a:latin typeface="Arial" panose="020B0604020202020204" pitchFamily="34" charset="0"/>
                <a:ea typeface="+mn-ea"/>
                <a:cs typeface="+mn-cs"/>
              </a:rPr>
              <a:t>Počet testů</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 name="Šipka dolů 2">
            <a:extLst>
              <a:ext uri="{FF2B5EF4-FFF2-40B4-BE49-F238E27FC236}">
                <a16:creationId xmlns:a16="http://schemas.microsoft.com/office/drawing/2014/main" id="{930750FA-A7FA-4580-9A5F-EB1F9F5DF9B5}"/>
              </a:ext>
            </a:extLst>
          </p:cNvPr>
          <p:cNvSpPr/>
          <p:nvPr/>
        </p:nvSpPr>
        <p:spPr>
          <a:xfrm>
            <a:off x="3208998" y="1353753"/>
            <a:ext cx="650271" cy="209590"/>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Šipka dolů 11">
            <a:extLst>
              <a:ext uri="{FF2B5EF4-FFF2-40B4-BE49-F238E27FC236}">
                <a16:creationId xmlns:a16="http://schemas.microsoft.com/office/drawing/2014/main" id="{C44451ED-B36B-4A07-8199-58EFA0C5948B}"/>
              </a:ext>
            </a:extLst>
          </p:cNvPr>
          <p:cNvSpPr/>
          <p:nvPr/>
        </p:nvSpPr>
        <p:spPr>
          <a:xfrm>
            <a:off x="9398604" y="1353753"/>
            <a:ext cx="650271" cy="209590"/>
          </a:xfrm>
          <a:prstGeom prst="downArrow">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549590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ovéPole 8">
            <a:extLst>
              <a:ext uri="{FF2B5EF4-FFF2-40B4-BE49-F238E27FC236}">
                <a16:creationId xmlns:a16="http://schemas.microsoft.com/office/drawing/2014/main" id="{A338CCE3-5676-40F7-AB2D-9C68067124F7}"/>
              </a:ext>
            </a:extLst>
          </p:cNvPr>
          <p:cNvSpPr txBox="1"/>
          <p:nvPr/>
        </p:nvSpPr>
        <p:spPr>
          <a:xfrm>
            <a:off x="78232" y="2188734"/>
            <a:ext cx="11960994"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sng" strike="noStrike" kern="1200" cap="none" spc="0" normalizeH="0" baseline="0" noProof="0" dirty="0">
                <a:ln>
                  <a:noFill/>
                </a:ln>
                <a:solidFill>
                  <a:srgbClr val="0000FF"/>
                </a:solidFill>
                <a:effectLst/>
                <a:uLnTx/>
                <a:uFillTx/>
                <a:latin typeface="Calibri" panose="020F0502020204030204"/>
                <a:ea typeface="+mn-ea"/>
                <a:cs typeface="+mn-cs"/>
              </a:rPr>
              <a:t>Zásadní otázka</a:t>
            </a:r>
            <a:r>
              <a:rPr kumimoji="0" lang="cs-CZ" sz="3600" b="1" i="0" u="none" strike="noStrike" kern="1200" cap="none" spc="0" normalizeH="0" baseline="0" noProof="0" dirty="0">
                <a:ln>
                  <a:noFill/>
                </a:ln>
                <a:solidFill>
                  <a:srgbClr val="0000FF"/>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dirty="0">
                <a:ln>
                  <a:noFill/>
                </a:ln>
                <a:solidFill>
                  <a:srgbClr val="0000FF"/>
                </a:solidFill>
                <a:effectLst/>
                <a:uLnTx/>
                <a:uFillTx/>
                <a:latin typeface="Calibri" panose="020F0502020204030204"/>
                <a:ea typeface="+mn-ea"/>
                <a:cs typeface="+mn-cs"/>
              </a:rPr>
              <a:t>jaký bude zdravotní dopad Omikronu v subpopulaci českých imunitně nechráněných zranitelných osob</a:t>
            </a:r>
            <a:endParaRPr kumimoji="0" lang="en-US" sz="3600" b="1" i="0" u="none" strike="noStrike" kern="1200" cap="none" spc="0" normalizeH="0" baseline="0" noProof="0" dirty="0">
              <a:ln>
                <a:noFill/>
              </a:ln>
              <a:solidFill>
                <a:srgbClr val="0000FF"/>
              </a:solidFill>
              <a:effectLst/>
              <a:uLnTx/>
              <a:uFillTx/>
              <a:latin typeface="Calibri" panose="020F0502020204030204"/>
              <a:ea typeface="+mn-ea"/>
              <a:cs typeface="+mn-cs"/>
            </a:endParaRPr>
          </a:p>
        </p:txBody>
      </p:sp>
      <p:sp>
        <p:nvSpPr>
          <p:cNvPr id="4" name="Šipka: dolů 3">
            <a:extLst>
              <a:ext uri="{FF2B5EF4-FFF2-40B4-BE49-F238E27FC236}">
                <a16:creationId xmlns:a16="http://schemas.microsoft.com/office/drawing/2014/main" id="{DC120E18-942E-46B4-B850-DA276A093EE5}"/>
              </a:ext>
            </a:extLst>
          </p:cNvPr>
          <p:cNvSpPr/>
          <p:nvPr/>
        </p:nvSpPr>
        <p:spPr>
          <a:xfrm>
            <a:off x="5285731" y="4341786"/>
            <a:ext cx="1357162" cy="45238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E5EEACDA-4B86-4593-A96F-BC6F0802A7D9}"/>
              </a:ext>
            </a:extLst>
          </p:cNvPr>
          <p:cNvSpPr txBox="1"/>
          <p:nvPr/>
        </p:nvSpPr>
        <p:spPr>
          <a:xfrm>
            <a:off x="4748254" y="622169"/>
            <a:ext cx="2432116" cy="1477328"/>
          </a:xfrm>
          <a:prstGeom prst="rect">
            <a:avLst/>
          </a:prstGeom>
          <a:noFill/>
        </p:spPr>
        <p:txBody>
          <a:bodyPr wrap="square" rtlCol="0">
            <a:spAutoFit/>
          </a:bodyPr>
          <a:lstStyle/>
          <a:p>
            <a:pPr algn="ctr"/>
            <a:r>
              <a:rPr lang="cs-CZ" sz="9000" dirty="0">
                <a:solidFill>
                  <a:srgbClr val="FF0000"/>
                </a:solidFill>
                <a:latin typeface="Arial Black" panose="020B0A04020102020204" pitchFamily="34" charset="0"/>
              </a:rPr>
              <a:t>?</a:t>
            </a:r>
            <a:endParaRPr lang="en-US" sz="9000" dirty="0">
              <a:solidFill>
                <a:srgbClr val="FF0000"/>
              </a:solidFill>
              <a:latin typeface="Arial Black" panose="020B0A04020102020204" pitchFamily="34" charset="0"/>
            </a:endParaRPr>
          </a:p>
        </p:txBody>
      </p:sp>
    </p:spTree>
    <p:extLst>
      <p:ext uri="{BB962C8B-B14F-4D97-AF65-F5344CB8AC3E}">
        <p14:creationId xmlns:p14="http://schemas.microsoft.com/office/powerpoint/2010/main" val="24510797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A850C8A-CC4F-462B-B79D-6CCF7442F589}"/>
              </a:ext>
            </a:extLst>
          </p:cNvPr>
          <p:cNvSpPr>
            <a:spLocks noGrp="1"/>
          </p:cNvSpPr>
          <p:nvPr>
            <p:ph type="title"/>
          </p:nvPr>
        </p:nvSpPr>
        <p:spPr>
          <a:xfrm>
            <a:off x="381739" y="2"/>
            <a:ext cx="7571636" cy="576000"/>
          </a:xfrm>
        </p:spPr>
        <p:txBody>
          <a:bodyPr/>
          <a:lstStyle/>
          <a:p>
            <a:r>
              <a:rPr lang="cs-CZ" dirty="0"/>
              <a:t>Očkování osob a stav imunizace k 15. 1. 2022</a:t>
            </a:r>
          </a:p>
        </p:txBody>
      </p:sp>
      <p:graphicFrame>
        <p:nvGraphicFramePr>
          <p:cNvPr id="4" name="Tabulka 3">
            <a:extLst>
              <a:ext uri="{FF2B5EF4-FFF2-40B4-BE49-F238E27FC236}">
                <a16:creationId xmlns:a16="http://schemas.microsoft.com/office/drawing/2014/main" id="{06F97362-C236-4EBD-9EF0-44D312A77075}"/>
              </a:ext>
            </a:extLst>
          </p:cNvPr>
          <p:cNvGraphicFramePr>
            <a:graphicFrameLocks noGrp="1"/>
          </p:cNvGraphicFramePr>
          <p:nvPr>
            <p:extLst>
              <p:ext uri="{D42A27DB-BD31-4B8C-83A1-F6EECF244321}">
                <p14:modId xmlns:p14="http://schemas.microsoft.com/office/powerpoint/2010/main" val="3053590175"/>
              </p:ext>
            </p:extLst>
          </p:nvPr>
        </p:nvGraphicFramePr>
        <p:xfrm>
          <a:off x="480448" y="1025028"/>
          <a:ext cx="11339375" cy="1491615"/>
        </p:xfrm>
        <a:graphic>
          <a:graphicData uri="http://schemas.openxmlformats.org/drawingml/2006/table">
            <a:tbl>
              <a:tblPr/>
              <a:tblGrid>
                <a:gridCol w="2167110">
                  <a:extLst>
                    <a:ext uri="{9D8B030D-6E8A-4147-A177-3AD203B41FA5}">
                      <a16:colId xmlns:a16="http://schemas.microsoft.com/office/drawing/2014/main" val="247101253"/>
                    </a:ext>
                  </a:extLst>
                </a:gridCol>
                <a:gridCol w="1173967">
                  <a:extLst>
                    <a:ext uri="{9D8B030D-6E8A-4147-A177-3AD203B41FA5}">
                      <a16:colId xmlns:a16="http://schemas.microsoft.com/office/drawing/2014/main" val="621032218"/>
                    </a:ext>
                  </a:extLst>
                </a:gridCol>
                <a:gridCol w="1992134">
                  <a:extLst>
                    <a:ext uri="{9D8B030D-6E8A-4147-A177-3AD203B41FA5}">
                      <a16:colId xmlns:a16="http://schemas.microsoft.com/office/drawing/2014/main" val="1186834516"/>
                    </a:ext>
                  </a:extLst>
                </a:gridCol>
                <a:gridCol w="1808684">
                  <a:extLst>
                    <a:ext uri="{9D8B030D-6E8A-4147-A177-3AD203B41FA5}">
                      <a16:colId xmlns:a16="http://schemas.microsoft.com/office/drawing/2014/main" val="2454655359"/>
                    </a:ext>
                  </a:extLst>
                </a:gridCol>
                <a:gridCol w="1917152">
                  <a:extLst>
                    <a:ext uri="{9D8B030D-6E8A-4147-A177-3AD203B41FA5}">
                      <a16:colId xmlns:a16="http://schemas.microsoft.com/office/drawing/2014/main" val="3070557331"/>
                    </a:ext>
                  </a:extLst>
                </a:gridCol>
                <a:gridCol w="2280328">
                  <a:extLst>
                    <a:ext uri="{9D8B030D-6E8A-4147-A177-3AD203B41FA5}">
                      <a16:colId xmlns:a16="http://schemas.microsoft.com/office/drawing/2014/main" val="2844632301"/>
                    </a:ext>
                  </a:extLst>
                </a:gridCol>
              </a:tblGrid>
              <a:tr h="555846">
                <a:tc>
                  <a:txBody>
                    <a:bodyPr/>
                    <a:lstStyle/>
                    <a:p>
                      <a:pPr algn="l" fontAlgn="b"/>
                      <a:r>
                        <a:rPr lang="cs-CZ" sz="1600" b="0" i="0" u="none" strike="noStrike" dirty="0">
                          <a:solidFill>
                            <a:srgbClr val="000000"/>
                          </a:solidFill>
                          <a:effectLst/>
                          <a:latin typeface="Calibri" panose="020F0502020204030204" pitchFamily="34" charset="0"/>
                        </a:rPr>
                        <a:t> </a:t>
                      </a: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1" u="none" strike="noStrike" dirty="0">
                          <a:solidFill>
                            <a:srgbClr val="000000"/>
                          </a:solidFill>
                          <a:effectLst/>
                          <a:latin typeface="Calibri" panose="020F0502020204030204" pitchFamily="34" charset="0"/>
                        </a:rPr>
                        <a:t>Populac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0" u="none" strike="noStrike" dirty="0">
                          <a:solidFill>
                            <a:srgbClr val="000000"/>
                          </a:solidFill>
                          <a:effectLst/>
                          <a:latin typeface="Calibri" panose="020F0502020204030204" pitchFamily="34" charset="0"/>
                        </a:rPr>
                        <a:t>Očkovaní alespoň jednou dávkou</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0" u="none" strike="noStrike" dirty="0">
                          <a:solidFill>
                            <a:srgbClr val="000000"/>
                          </a:solidFill>
                          <a:effectLst/>
                          <a:latin typeface="Calibri" panose="020F0502020204030204" pitchFamily="34" charset="0"/>
                        </a:rPr>
                        <a:t>... z toho mají posilující dávku </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0" u="none" strike="noStrike" dirty="0">
                          <a:solidFill>
                            <a:srgbClr val="000000"/>
                          </a:solidFill>
                          <a:effectLst/>
                          <a:latin typeface="Calibri" panose="020F0502020204030204" pitchFamily="34" charset="0"/>
                        </a:rPr>
                        <a:t>Neočkovaní, prodělali onemocně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0" u="none" strike="noStrike" dirty="0">
                          <a:solidFill>
                            <a:srgbClr val="C00000"/>
                          </a:solidFill>
                          <a:effectLst/>
                          <a:latin typeface="Calibri" panose="020F0502020204030204" pitchFamily="34" charset="0"/>
                        </a:rPr>
                        <a:t>Ostatní </a:t>
                      </a:r>
                    </a:p>
                    <a:p>
                      <a:pPr algn="ctr" fontAlgn="ctr"/>
                      <a:r>
                        <a:rPr lang="cs-CZ" sz="1600" b="1" i="0" u="none" strike="noStrike" dirty="0">
                          <a:solidFill>
                            <a:srgbClr val="C00000"/>
                          </a:solidFill>
                          <a:effectLst/>
                          <a:latin typeface="Calibri" panose="020F0502020204030204" pitchFamily="34" charset="0"/>
                        </a:rPr>
                        <a:t>(pravděpodobně nechráně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89949328"/>
                  </a:ext>
                </a:extLst>
              </a:tr>
              <a:tr h="210379">
                <a:tc>
                  <a:txBody>
                    <a:bodyPr/>
                    <a:lstStyle/>
                    <a:p>
                      <a:pPr algn="l" fontAlgn="ctr"/>
                      <a:r>
                        <a:rPr lang="cs-CZ" sz="1600" b="1" i="0" u="none" strike="noStrike" dirty="0">
                          <a:solidFill>
                            <a:srgbClr val="000000"/>
                          </a:solidFill>
                          <a:effectLst/>
                          <a:latin typeface="Calibri" panose="020F0502020204030204" pitchFamily="34" charset="0"/>
                        </a:rPr>
                        <a:t>Stav k 1. 1. 2022</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cs-CZ" sz="1600" b="1" i="1" u="none" strike="noStrike" dirty="0">
                          <a:solidFill>
                            <a:srgbClr val="000000"/>
                          </a:solidFill>
                          <a:effectLst/>
                          <a:latin typeface="Calibri" panose="020F0502020204030204" pitchFamily="34" charset="0"/>
                        </a:rPr>
                        <a:t>2 158 3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 907 882 (88,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 327 3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64 874 (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C00000"/>
                          </a:solidFill>
                          <a:effectLst/>
                          <a:latin typeface="Calibri" panose="020F0502020204030204" pitchFamily="34" charset="0"/>
                        </a:rPr>
                        <a:t>185 566 (8,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9732992"/>
                  </a:ext>
                </a:extLst>
              </a:tr>
              <a:tr h="21037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600" b="1" i="0" u="none" strike="noStrike" dirty="0">
                          <a:solidFill>
                            <a:srgbClr val="000000"/>
                          </a:solidFill>
                          <a:effectLst/>
                          <a:latin typeface="Calibri" panose="020F0502020204030204" pitchFamily="34" charset="0"/>
                        </a:rPr>
                        <a:t>Stav k 8. 1. 2022</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cs-CZ" sz="1100" b="1" i="1"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 912 215 (88,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 396 9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65 446 (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C00000"/>
                          </a:solidFill>
                          <a:effectLst/>
                          <a:latin typeface="Calibri" panose="020F0502020204030204" pitchFamily="34" charset="0"/>
                        </a:rPr>
                        <a:t>180 661 (8,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7236908"/>
                  </a:ext>
                </a:extLst>
              </a:tr>
              <a:tr h="21037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600" b="1" i="0" u="none" strike="noStrike" dirty="0">
                          <a:solidFill>
                            <a:srgbClr val="000000"/>
                          </a:solidFill>
                          <a:effectLst/>
                          <a:latin typeface="Calibri" panose="020F0502020204030204" pitchFamily="34" charset="0"/>
                        </a:rPr>
                        <a:t>Stav k 15. 1. 2022</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cs-CZ" sz="1600" b="1" i="1"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 917 064 (88,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 466 6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65 821 (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C00000"/>
                          </a:solidFill>
                          <a:effectLst/>
                          <a:latin typeface="Calibri" panose="020F0502020204030204" pitchFamily="34" charset="0"/>
                        </a:rPr>
                        <a:t>175 437 (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6334830"/>
                  </a:ext>
                </a:extLst>
              </a:tr>
            </a:tbl>
          </a:graphicData>
        </a:graphic>
      </p:graphicFrame>
      <p:sp>
        <p:nvSpPr>
          <p:cNvPr id="6" name="Obdélník 5">
            <a:extLst>
              <a:ext uri="{FF2B5EF4-FFF2-40B4-BE49-F238E27FC236}">
                <a16:creationId xmlns:a16="http://schemas.microsoft.com/office/drawing/2014/main" id="{87043419-4FDF-4B0A-A285-86303D4A70A3}"/>
              </a:ext>
            </a:extLst>
          </p:cNvPr>
          <p:cNvSpPr/>
          <p:nvPr/>
        </p:nvSpPr>
        <p:spPr>
          <a:xfrm>
            <a:off x="480447" y="6608079"/>
            <a:ext cx="3155030"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Informační systém infekční nemoci (ISIN)</a:t>
            </a:r>
          </a:p>
        </p:txBody>
      </p:sp>
      <p:sp>
        <p:nvSpPr>
          <p:cNvPr id="3" name="TextovéPole 2">
            <a:extLst>
              <a:ext uri="{FF2B5EF4-FFF2-40B4-BE49-F238E27FC236}">
                <a16:creationId xmlns:a16="http://schemas.microsoft.com/office/drawing/2014/main" id="{F731B881-60F4-4353-AD47-FD0703CBC6EB}"/>
              </a:ext>
            </a:extLst>
          </p:cNvPr>
          <p:cNvSpPr txBox="1"/>
          <p:nvPr/>
        </p:nvSpPr>
        <p:spPr>
          <a:xfrm>
            <a:off x="492447" y="582613"/>
            <a:ext cx="485097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Arial" panose="020B0604020202020204"/>
                <a:ea typeface="+mn-ea"/>
                <a:cs typeface="+mn-cs"/>
              </a:rPr>
              <a:t>Věk 65+ </a:t>
            </a:r>
            <a:endParaRPr kumimoji="0" lang="en-US" sz="2400" b="1" i="0" u="none" strike="noStrike" kern="1200" cap="none" spc="0" normalizeH="0" baseline="0" noProof="0" dirty="0">
              <a:ln>
                <a:noFill/>
              </a:ln>
              <a:solidFill>
                <a:srgbClr val="0000FF"/>
              </a:solidFill>
              <a:effectLst/>
              <a:uLnTx/>
              <a:uFillTx/>
              <a:latin typeface="Arial" panose="020B0604020202020204"/>
              <a:ea typeface="+mn-ea"/>
              <a:cs typeface="+mn-cs"/>
            </a:endParaRPr>
          </a:p>
        </p:txBody>
      </p:sp>
      <p:sp>
        <p:nvSpPr>
          <p:cNvPr id="7" name="TextovéPole 6">
            <a:extLst>
              <a:ext uri="{FF2B5EF4-FFF2-40B4-BE49-F238E27FC236}">
                <a16:creationId xmlns:a16="http://schemas.microsoft.com/office/drawing/2014/main" id="{8FF6FC88-849D-458B-8E57-6837E05DA275}"/>
              </a:ext>
            </a:extLst>
          </p:cNvPr>
          <p:cNvSpPr txBox="1"/>
          <p:nvPr/>
        </p:nvSpPr>
        <p:spPr>
          <a:xfrm>
            <a:off x="480447" y="2584207"/>
            <a:ext cx="485097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Arial" panose="020B0604020202020204"/>
                <a:ea typeface="+mn-ea"/>
                <a:cs typeface="+mn-cs"/>
              </a:rPr>
              <a:t>Věk 60+ </a:t>
            </a:r>
            <a:endParaRPr kumimoji="0" lang="en-US" sz="2400" b="1" i="0" u="none" strike="noStrike" kern="1200" cap="none" spc="0" normalizeH="0" baseline="0" noProof="0" dirty="0">
              <a:ln>
                <a:noFill/>
              </a:ln>
              <a:solidFill>
                <a:srgbClr val="0000FF"/>
              </a:solidFill>
              <a:effectLst/>
              <a:uLnTx/>
              <a:uFillTx/>
              <a:latin typeface="Arial" panose="020B0604020202020204"/>
              <a:ea typeface="+mn-ea"/>
              <a:cs typeface="+mn-cs"/>
            </a:endParaRPr>
          </a:p>
        </p:txBody>
      </p:sp>
      <p:graphicFrame>
        <p:nvGraphicFramePr>
          <p:cNvPr id="8" name="Tabulka 7">
            <a:extLst>
              <a:ext uri="{FF2B5EF4-FFF2-40B4-BE49-F238E27FC236}">
                <a16:creationId xmlns:a16="http://schemas.microsoft.com/office/drawing/2014/main" id="{9D2ED873-28C7-49A1-85F5-5E2867A7D9EC}"/>
              </a:ext>
            </a:extLst>
          </p:cNvPr>
          <p:cNvGraphicFramePr>
            <a:graphicFrameLocks noGrp="1"/>
          </p:cNvGraphicFramePr>
          <p:nvPr/>
        </p:nvGraphicFramePr>
        <p:xfrm>
          <a:off x="531716" y="3031121"/>
          <a:ext cx="11281859" cy="1491615"/>
        </p:xfrm>
        <a:graphic>
          <a:graphicData uri="http://schemas.openxmlformats.org/drawingml/2006/table">
            <a:tbl>
              <a:tblPr/>
              <a:tblGrid>
                <a:gridCol w="2143745">
                  <a:extLst>
                    <a:ext uri="{9D8B030D-6E8A-4147-A177-3AD203B41FA5}">
                      <a16:colId xmlns:a16="http://schemas.microsoft.com/office/drawing/2014/main" val="247101253"/>
                    </a:ext>
                  </a:extLst>
                </a:gridCol>
                <a:gridCol w="1084071">
                  <a:extLst>
                    <a:ext uri="{9D8B030D-6E8A-4147-A177-3AD203B41FA5}">
                      <a16:colId xmlns:a16="http://schemas.microsoft.com/office/drawing/2014/main" val="621032218"/>
                    </a:ext>
                  </a:extLst>
                </a:gridCol>
                <a:gridCol w="2044502">
                  <a:extLst>
                    <a:ext uri="{9D8B030D-6E8A-4147-A177-3AD203B41FA5}">
                      <a16:colId xmlns:a16="http://schemas.microsoft.com/office/drawing/2014/main" val="1186834516"/>
                    </a:ext>
                  </a:extLst>
                </a:gridCol>
                <a:gridCol w="1844810">
                  <a:extLst>
                    <a:ext uri="{9D8B030D-6E8A-4147-A177-3AD203B41FA5}">
                      <a16:colId xmlns:a16="http://schemas.microsoft.com/office/drawing/2014/main" val="2221707769"/>
                    </a:ext>
                  </a:extLst>
                </a:gridCol>
                <a:gridCol w="1930433">
                  <a:extLst>
                    <a:ext uri="{9D8B030D-6E8A-4147-A177-3AD203B41FA5}">
                      <a16:colId xmlns:a16="http://schemas.microsoft.com/office/drawing/2014/main" val="3070557331"/>
                    </a:ext>
                  </a:extLst>
                </a:gridCol>
                <a:gridCol w="2234298">
                  <a:extLst>
                    <a:ext uri="{9D8B030D-6E8A-4147-A177-3AD203B41FA5}">
                      <a16:colId xmlns:a16="http://schemas.microsoft.com/office/drawing/2014/main" val="2844632301"/>
                    </a:ext>
                  </a:extLst>
                </a:gridCol>
              </a:tblGrid>
              <a:tr h="516021">
                <a:tc>
                  <a:txBody>
                    <a:bodyPr/>
                    <a:lstStyle/>
                    <a:p>
                      <a:pPr algn="l" fontAlgn="b"/>
                      <a:r>
                        <a:rPr lang="cs-CZ" sz="1600" b="0" i="0" u="none" strike="noStrike" dirty="0">
                          <a:solidFill>
                            <a:srgbClr val="000000"/>
                          </a:solidFill>
                          <a:effectLst/>
                          <a:latin typeface="Calibri" panose="020F0502020204030204" pitchFamily="34" charset="0"/>
                        </a:rPr>
                        <a:t> </a:t>
                      </a: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1" u="none" strike="noStrike" dirty="0">
                          <a:solidFill>
                            <a:srgbClr val="000000"/>
                          </a:solidFill>
                          <a:effectLst/>
                          <a:latin typeface="Calibri" panose="020F0502020204030204" pitchFamily="34" charset="0"/>
                        </a:rPr>
                        <a:t>Populac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0" u="none" strike="noStrike" dirty="0">
                          <a:solidFill>
                            <a:srgbClr val="000000"/>
                          </a:solidFill>
                          <a:effectLst/>
                          <a:latin typeface="Calibri" panose="020F0502020204030204" pitchFamily="34" charset="0"/>
                        </a:rPr>
                        <a:t>Očkovaní alespoň jednou dávkou</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600" b="1" i="0" u="none" strike="noStrike" dirty="0">
                          <a:solidFill>
                            <a:srgbClr val="000000"/>
                          </a:solidFill>
                          <a:effectLst/>
                          <a:latin typeface="Calibri" panose="020F0502020204030204" pitchFamily="34" charset="0"/>
                        </a:rPr>
                        <a:t>... z toho mají posilující dávku </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0" u="none" strike="noStrike" dirty="0">
                          <a:solidFill>
                            <a:srgbClr val="000000"/>
                          </a:solidFill>
                          <a:effectLst/>
                          <a:latin typeface="Calibri" panose="020F0502020204030204" pitchFamily="34" charset="0"/>
                        </a:rPr>
                        <a:t>Neočkovaní, prodělali onemocně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0" u="none" strike="noStrike" dirty="0">
                          <a:solidFill>
                            <a:srgbClr val="C00000"/>
                          </a:solidFill>
                          <a:effectLst/>
                          <a:latin typeface="Calibri" panose="020F0502020204030204" pitchFamily="34" charset="0"/>
                        </a:rPr>
                        <a:t>Ostatní</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600" b="1" i="0" u="none" strike="noStrike" dirty="0">
                          <a:solidFill>
                            <a:srgbClr val="C00000"/>
                          </a:solidFill>
                          <a:effectLst/>
                          <a:latin typeface="Calibri" panose="020F0502020204030204" pitchFamily="34" charset="0"/>
                        </a:rPr>
                        <a:t>(pravděpodobně nechráně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89949328"/>
                  </a:ext>
                </a:extLst>
              </a:tr>
              <a:tr h="195306">
                <a:tc>
                  <a:txBody>
                    <a:bodyPr/>
                    <a:lstStyle/>
                    <a:p>
                      <a:pPr algn="l" fontAlgn="ctr"/>
                      <a:r>
                        <a:rPr lang="cs-CZ" sz="1600" b="1" i="0" u="none" strike="noStrike" dirty="0">
                          <a:solidFill>
                            <a:srgbClr val="000000"/>
                          </a:solidFill>
                          <a:effectLst/>
                          <a:latin typeface="Calibri" panose="020F0502020204030204" pitchFamily="34" charset="0"/>
                        </a:rPr>
                        <a:t>Stav k 1. 1. 2022</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cs-CZ" sz="1600" b="1" i="1" u="none" strike="noStrike" dirty="0">
                          <a:solidFill>
                            <a:srgbClr val="000000"/>
                          </a:solidFill>
                          <a:effectLst/>
                          <a:latin typeface="Calibri" panose="020F0502020204030204" pitchFamily="34" charset="0"/>
                        </a:rPr>
                        <a:t>2 783 7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2 395 992 (86,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 601 0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92 369 (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C00000"/>
                          </a:solidFill>
                          <a:effectLst/>
                          <a:latin typeface="Calibri" panose="020F0502020204030204" pitchFamily="34" charset="0"/>
                        </a:rPr>
                        <a:t>295 426 (10,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9732992"/>
                  </a:ext>
                </a:extLst>
              </a:tr>
              <a:tr h="19530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600" b="1" i="0" u="none" strike="noStrike" dirty="0">
                          <a:solidFill>
                            <a:srgbClr val="000000"/>
                          </a:solidFill>
                          <a:effectLst/>
                          <a:latin typeface="Calibri" panose="020F0502020204030204" pitchFamily="34" charset="0"/>
                        </a:rPr>
                        <a:t>Stav k 8. 1. 2022</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cs-CZ" sz="1800" b="1" i="1"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2 400 991 (86,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 698 3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93 251 (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C00000"/>
                          </a:solidFill>
                          <a:effectLst/>
                          <a:latin typeface="Calibri" panose="020F0502020204030204" pitchFamily="34" charset="0"/>
                        </a:rPr>
                        <a:t>289 545 (10,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5309830"/>
                  </a:ext>
                </a:extLst>
              </a:tr>
              <a:tr h="19530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600" b="1" i="0" u="none" strike="noStrike" dirty="0">
                          <a:solidFill>
                            <a:srgbClr val="000000"/>
                          </a:solidFill>
                          <a:effectLst/>
                          <a:latin typeface="Calibri" panose="020F0502020204030204" pitchFamily="34" charset="0"/>
                        </a:rPr>
                        <a:t>Stav k 15. 1. 2022</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cs-CZ" sz="1600" b="1" i="1"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2 406 558 (86,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 794 1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93 932 (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C00000"/>
                          </a:solidFill>
                          <a:effectLst/>
                          <a:latin typeface="Calibri" panose="020F0502020204030204" pitchFamily="34" charset="0"/>
                        </a:rPr>
                        <a:t>283 297 (10,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5192499"/>
                  </a:ext>
                </a:extLst>
              </a:tr>
            </a:tbl>
          </a:graphicData>
        </a:graphic>
      </p:graphicFrame>
      <p:sp>
        <p:nvSpPr>
          <p:cNvPr id="9" name="TextovéPole 8">
            <a:extLst>
              <a:ext uri="{FF2B5EF4-FFF2-40B4-BE49-F238E27FC236}">
                <a16:creationId xmlns:a16="http://schemas.microsoft.com/office/drawing/2014/main" id="{E8282562-C410-4FF8-A748-C55EBFCB1055}"/>
              </a:ext>
            </a:extLst>
          </p:cNvPr>
          <p:cNvSpPr txBox="1"/>
          <p:nvPr/>
        </p:nvSpPr>
        <p:spPr>
          <a:xfrm>
            <a:off x="480447" y="4582910"/>
            <a:ext cx="485097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FF"/>
                </a:solidFill>
                <a:effectLst/>
                <a:uLnTx/>
                <a:uFillTx/>
                <a:latin typeface="Arial" panose="020B0604020202020204"/>
                <a:ea typeface="+mn-ea"/>
                <a:cs typeface="+mn-cs"/>
              </a:rPr>
              <a:t>Věk 16+ </a:t>
            </a:r>
            <a:endParaRPr kumimoji="0" lang="en-US" sz="2400" b="1" i="0" u="none" strike="noStrike" kern="1200" cap="none" spc="0" normalizeH="0" baseline="0" noProof="0" dirty="0">
              <a:ln>
                <a:noFill/>
              </a:ln>
              <a:solidFill>
                <a:srgbClr val="0000FF"/>
              </a:solidFill>
              <a:effectLst/>
              <a:uLnTx/>
              <a:uFillTx/>
              <a:latin typeface="Arial" panose="020B0604020202020204"/>
              <a:ea typeface="+mn-ea"/>
              <a:cs typeface="+mn-cs"/>
            </a:endParaRPr>
          </a:p>
        </p:txBody>
      </p:sp>
      <p:graphicFrame>
        <p:nvGraphicFramePr>
          <p:cNvPr id="10" name="Tabulka 9">
            <a:extLst>
              <a:ext uri="{FF2B5EF4-FFF2-40B4-BE49-F238E27FC236}">
                <a16:creationId xmlns:a16="http://schemas.microsoft.com/office/drawing/2014/main" id="{43B469D7-13B6-441C-AB90-D680FE380854}"/>
              </a:ext>
            </a:extLst>
          </p:cNvPr>
          <p:cNvGraphicFramePr>
            <a:graphicFrameLocks noGrp="1"/>
          </p:cNvGraphicFramePr>
          <p:nvPr/>
        </p:nvGraphicFramePr>
        <p:xfrm>
          <a:off x="531717" y="5014179"/>
          <a:ext cx="11339375" cy="1491615"/>
        </p:xfrm>
        <a:graphic>
          <a:graphicData uri="http://schemas.openxmlformats.org/drawingml/2006/table">
            <a:tbl>
              <a:tblPr/>
              <a:tblGrid>
                <a:gridCol w="2151433">
                  <a:extLst>
                    <a:ext uri="{9D8B030D-6E8A-4147-A177-3AD203B41FA5}">
                      <a16:colId xmlns:a16="http://schemas.microsoft.com/office/drawing/2014/main" val="247101253"/>
                    </a:ext>
                  </a:extLst>
                </a:gridCol>
                <a:gridCol w="1071336">
                  <a:extLst>
                    <a:ext uri="{9D8B030D-6E8A-4147-A177-3AD203B41FA5}">
                      <a16:colId xmlns:a16="http://schemas.microsoft.com/office/drawing/2014/main" val="621032218"/>
                    </a:ext>
                  </a:extLst>
                </a:gridCol>
                <a:gridCol w="2049548">
                  <a:extLst>
                    <a:ext uri="{9D8B030D-6E8A-4147-A177-3AD203B41FA5}">
                      <a16:colId xmlns:a16="http://schemas.microsoft.com/office/drawing/2014/main" val="1186834516"/>
                    </a:ext>
                  </a:extLst>
                </a:gridCol>
                <a:gridCol w="1887832">
                  <a:extLst>
                    <a:ext uri="{9D8B030D-6E8A-4147-A177-3AD203B41FA5}">
                      <a16:colId xmlns:a16="http://schemas.microsoft.com/office/drawing/2014/main" val="1694735627"/>
                    </a:ext>
                  </a:extLst>
                </a:gridCol>
                <a:gridCol w="1927528">
                  <a:extLst>
                    <a:ext uri="{9D8B030D-6E8A-4147-A177-3AD203B41FA5}">
                      <a16:colId xmlns:a16="http://schemas.microsoft.com/office/drawing/2014/main" val="3070557331"/>
                    </a:ext>
                  </a:extLst>
                </a:gridCol>
                <a:gridCol w="2251698">
                  <a:extLst>
                    <a:ext uri="{9D8B030D-6E8A-4147-A177-3AD203B41FA5}">
                      <a16:colId xmlns:a16="http://schemas.microsoft.com/office/drawing/2014/main" val="2844632301"/>
                    </a:ext>
                  </a:extLst>
                </a:gridCol>
              </a:tblGrid>
              <a:tr h="425987">
                <a:tc>
                  <a:txBody>
                    <a:bodyPr/>
                    <a:lstStyle/>
                    <a:p>
                      <a:pPr algn="l" fontAlgn="b"/>
                      <a:r>
                        <a:rPr lang="cs-CZ" sz="1600" b="0" i="0" u="none" strike="noStrike" dirty="0">
                          <a:solidFill>
                            <a:srgbClr val="000000"/>
                          </a:solidFill>
                          <a:effectLst/>
                          <a:latin typeface="Calibri" panose="020F0502020204030204" pitchFamily="34" charset="0"/>
                        </a:rPr>
                        <a:t> </a:t>
                      </a: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1" u="none" strike="noStrike" dirty="0">
                          <a:solidFill>
                            <a:srgbClr val="000000"/>
                          </a:solidFill>
                          <a:effectLst/>
                          <a:latin typeface="Calibri" panose="020F0502020204030204" pitchFamily="34" charset="0"/>
                        </a:rPr>
                        <a:t>Populace</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0" u="none" strike="noStrike" dirty="0">
                          <a:solidFill>
                            <a:srgbClr val="000000"/>
                          </a:solidFill>
                          <a:effectLst/>
                          <a:latin typeface="Calibri" panose="020F0502020204030204" pitchFamily="34" charset="0"/>
                        </a:rPr>
                        <a:t>Očkovaní alespoň jednou dávkou</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600" b="1" i="0" u="none" strike="noStrike" dirty="0">
                          <a:solidFill>
                            <a:srgbClr val="000000"/>
                          </a:solidFill>
                          <a:effectLst/>
                          <a:latin typeface="Calibri" panose="020F0502020204030204" pitchFamily="34" charset="0"/>
                        </a:rPr>
                        <a:t>... z toho mají posilující dávku </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0" u="none" strike="noStrike" dirty="0">
                          <a:solidFill>
                            <a:srgbClr val="000000"/>
                          </a:solidFill>
                          <a:effectLst/>
                          <a:latin typeface="Calibri" panose="020F0502020204030204" pitchFamily="34" charset="0"/>
                        </a:rPr>
                        <a:t>Neočkovaní, prodělali onemocně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600" b="1" i="0" u="none" strike="noStrike" dirty="0">
                          <a:solidFill>
                            <a:srgbClr val="C00000"/>
                          </a:solidFill>
                          <a:effectLst/>
                          <a:latin typeface="Calibri" panose="020F0502020204030204" pitchFamily="34" charset="0"/>
                        </a:rPr>
                        <a:t>Ostatní</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600" b="1" i="0" u="none" strike="noStrike" dirty="0">
                          <a:solidFill>
                            <a:srgbClr val="C00000"/>
                          </a:solidFill>
                          <a:effectLst/>
                          <a:latin typeface="Calibri" panose="020F0502020204030204" pitchFamily="34" charset="0"/>
                        </a:rPr>
                        <a:t>(pravděpodobně nechráně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89949328"/>
                  </a:ext>
                </a:extLst>
              </a:tr>
              <a:tr h="161229">
                <a:tc>
                  <a:txBody>
                    <a:bodyPr/>
                    <a:lstStyle/>
                    <a:p>
                      <a:pPr algn="l" fontAlgn="ctr"/>
                      <a:r>
                        <a:rPr lang="cs-CZ" sz="1600" b="1" i="0" u="none" strike="noStrike" dirty="0">
                          <a:solidFill>
                            <a:srgbClr val="000000"/>
                          </a:solidFill>
                          <a:effectLst/>
                          <a:latin typeface="Calibri" panose="020F0502020204030204" pitchFamily="34" charset="0"/>
                        </a:rPr>
                        <a:t>Stav k 1. 1. 2022</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cs-CZ" sz="1600" b="1" i="1" u="none" strike="noStrike" dirty="0">
                          <a:solidFill>
                            <a:srgbClr val="000000"/>
                          </a:solidFill>
                          <a:effectLst/>
                          <a:latin typeface="Calibri" panose="020F0502020204030204" pitchFamily="34" charset="0"/>
                        </a:rPr>
                        <a:t>8 878 1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6 590 812 (74,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2 405 5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668 798 (7,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C00000"/>
                          </a:solidFill>
                          <a:effectLst/>
                          <a:latin typeface="Calibri" panose="020F0502020204030204" pitchFamily="34" charset="0"/>
                        </a:rPr>
                        <a:t>1 618 574 (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9732992"/>
                  </a:ext>
                </a:extLst>
              </a:tr>
              <a:tr h="16122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600" b="1" i="0" u="none" strike="noStrike" dirty="0">
                          <a:solidFill>
                            <a:srgbClr val="000000"/>
                          </a:solidFill>
                          <a:effectLst/>
                          <a:latin typeface="Calibri" panose="020F0502020204030204" pitchFamily="34" charset="0"/>
                        </a:rPr>
                        <a:t>Stav k 8. 1. 2022</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cs-CZ" sz="1800" b="1" i="1"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6 607 172 (74,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2 843 3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677 214 (7,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C00000"/>
                          </a:solidFill>
                          <a:effectLst/>
                          <a:latin typeface="Calibri" panose="020F0502020204030204" pitchFamily="34" charset="0"/>
                        </a:rPr>
                        <a:t>1 593 798 (18,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7194284"/>
                  </a:ext>
                </a:extLst>
              </a:tr>
              <a:tr h="16122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600" b="1" i="0" u="none" strike="noStrike" dirty="0">
                          <a:solidFill>
                            <a:srgbClr val="000000"/>
                          </a:solidFill>
                          <a:effectLst/>
                          <a:latin typeface="Calibri" panose="020F0502020204030204" pitchFamily="34" charset="0"/>
                        </a:rPr>
                        <a:t>Stav k 15. 1. 2022</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cs-CZ" sz="1600" b="1" i="1"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6 625 583 (74,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3 262 2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688 874 (7,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600" b="1" i="0" u="none" strike="noStrike" dirty="0">
                          <a:solidFill>
                            <a:srgbClr val="C00000"/>
                          </a:solidFill>
                          <a:effectLst/>
                          <a:latin typeface="Calibri" panose="020F0502020204030204" pitchFamily="34" charset="0"/>
                        </a:rPr>
                        <a:t>1 563 727 (17,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0438190"/>
                  </a:ext>
                </a:extLst>
              </a:tr>
            </a:tbl>
          </a:graphicData>
        </a:graphic>
      </p:graphicFrame>
      <p:sp>
        <p:nvSpPr>
          <p:cNvPr id="5" name="Šipka: doprava 4">
            <a:extLst>
              <a:ext uri="{FF2B5EF4-FFF2-40B4-BE49-F238E27FC236}">
                <a16:creationId xmlns:a16="http://schemas.microsoft.com/office/drawing/2014/main" id="{9F6EE5E8-2F18-4855-860A-416A08E6FADA}"/>
              </a:ext>
            </a:extLst>
          </p:cNvPr>
          <p:cNvSpPr/>
          <p:nvPr/>
        </p:nvSpPr>
        <p:spPr>
          <a:xfrm>
            <a:off x="5717406" y="1262113"/>
            <a:ext cx="250257" cy="192505"/>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5983"/>
              </a:solidFill>
              <a:effectLst/>
              <a:uLnTx/>
              <a:uFillTx/>
              <a:latin typeface="Arial" panose="020B0604020202020204"/>
              <a:ea typeface="+mn-ea"/>
              <a:cs typeface="+mn-cs"/>
            </a:endParaRPr>
          </a:p>
        </p:txBody>
      </p:sp>
      <p:sp>
        <p:nvSpPr>
          <p:cNvPr id="11" name="Šipka: doprava 10">
            <a:extLst>
              <a:ext uri="{FF2B5EF4-FFF2-40B4-BE49-F238E27FC236}">
                <a16:creationId xmlns:a16="http://schemas.microsoft.com/office/drawing/2014/main" id="{486EE88A-CD29-44C9-AF37-2699A204F0F3}"/>
              </a:ext>
            </a:extLst>
          </p:cNvPr>
          <p:cNvSpPr/>
          <p:nvPr/>
        </p:nvSpPr>
        <p:spPr>
          <a:xfrm>
            <a:off x="5717405" y="3246735"/>
            <a:ext cx="250257" cy="192505"/>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5983"/>
              </a:solidFill>
              <a:effectLst/>
              <a:uLnTx/>
              <a:uFillTx/>
              <a:latin typeface="Arial" panose="020B0604020202020204"/>
              <a:ea typeface="+mn-ea"/>
              <a:cs typeface="+mn-cs"/>
            </a:endParaRPr>
          </a:p>
        </p:txBody>
      </p:sp>
      <p:sp>
        <p:nvSpPr>
          <p:cNvPr id="12" name="Šipka: doprava 11">
            <a:extLst>
              <a:ext uri="{FF2B5EF4-FFF2-40B4-BE49-F238E27FC236}">
                <a16:creationId xmlns:a16="http://schemas.microsoft.com/office/drawing/2014/main" id="{C8A76C4F-9B9F-4977-BABA-47076CBCEFD3}"/>
              </a:ext>
            </a:extLst>
          </p:cNvPr>
          <p:cNvSpPr/>
          <p:nvPr/>
        </p:nvSpPr>
        <p:spPr>
          <a:xfrm>
            <a:off x="5717404" y="5191162"/>
            <a:ext cx="250257" cy="192505"/>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5983"/>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26962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4">
            <a:extLst>
              <a:ext uri="{FF2B5EF4-FFF2-40B4-BE49-F238E27FC236}">
                <a16:creationId xmlns:a16="http://schemas.microsoft.com/office/drawing/2014/main" id="{833A5CE7-EFE4-4FF9-8B90-B0FD849FE351}"/>
              </a:ext>
            </a:extLst>
          </p:cNvPr>
          <p:cNvGraphicFramePr/>
          <p:nvPr>
            <p:custDataLst>
              <p:tags r:id="rId1"/>
            </p:custDataLst>
          </p:nvPr>
        </p:nvGraphicFramePr>
        <p:xfrm>
          <a:off x="161925" y="2824205"/>
          <a:ext cx="12030075" cy="4033795"/>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ovéPole 11">
            <a:extLst>
              <a:ext uri="{FF2B5EF4-FFF2-40B4-BE49-F238E27FC236}">
                <a16:creationId xmlns:a16="http://schemas.microsoft.com/office/drawing/2014/main" id="{CB45B59F-8A81-4DD2-B8A6-842CB8B659F3}"/>
              </a:ext>
            </a:extLst>
          </p:cNvPr>
          <p:cNvSpPr txBox="1"/>
          <p:nvPr>
            <p:custDataLst>
              <p:tags r:id="rId2"/>
            </p:custDataLst>
          </p:nvPr>
        </p:nvSpPr>
        <p:spPr>
          <a:xfrm>
            <a:off x="4774972" y="1330685"/>
            <a:ext cx="2362704" cy="830997"/>
          </a:xfrm>
          <a:prstGeom prst="rect">
            <a:avLst/>
          </a:prstGeom>
          <a:solidFill>
            <a:schemeClr val="accent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FFFFFF"/>
                </a:solidFill>
                <a:effectLst/>
                <a:uLnTx/>
                <a:uFillTx/>
                <a:latin typeface="Arial" panose="020B0604020202020204"/>
                <a:ea typeface="+mn-ea"/>
                <a:cs typeface="+mn-cs"/>
              </a:rPr>
              <a:t>Populace seniorů 65+ let</a:t>
            </a:r>
          </a:p>
        </p:txBody>
      </p:sp>
      <p:graphicFrame>
        <p:nvGraphicFramePr>
          <p:cNvPr id="8" name="Tabulka 3">
            <a:extLst>
              <a:ext uri="{FF2B5EF4-FFF2-40B4-BE49-F238E27FC236}">
                <a16:creationId xmlns:a16="http://schemas.microsoft.com/office/drawing/2014/main" id="{BD7252EE-5071-4E6F-8048-257003F8720A}"/>
              </a:ext>
            </a:extLst>
          </p:cNvPr>
          <p:cNvGraphicFramePr>
            <a:graphicFrameLocks noGrp="1"/>
          </p:cNvGraphicFramePr>
          <p:nvPr>
            <p:custDataLst>
              <p:tags r:id="rId3"/>
            </p:custDataLst>
          </p:nvPr>
        </p:nvGraphicFramePr>
        <p:xfrm>
          <a:off x="7417029" y="1106071"/>
          <a:ext cx="4551676" cy="1493520"/>
        </p:xfrm>
        <a:graphic>
          <a:graphicData uri="http://schemas.openxmlformats.org/drawingml/2006/table">
            <a:tbl>
              <a:tblPr firstRow="1" bandRow="1">
                <a:tableStyleId>{5C22544A-7EE6-4342-B048-85BDC9FD1C3A}</a:tableStyleId>
              </a:tblPr>
              <a:tblGrid>
                <a:gridCol w="3203642">
                  <a:extLst>
                    <a:ext uri="{9D8B030D-6E8A-4147-A177-3AD203B41FA5}">
                      <a16:colId xmlns:a16="http://schemas.microsoft.com/office/drawing/2014/main" val="653187899"/>
                    </a:ext>
                  </a:extLst>
                </a:gridCol>
                <a:gridCol w="1348034">
                  <a:extLst>
                    <a:ext uri="{9D8B030D-6E8A-4147-A177-3AD203B41FA5}">
                      <a16:colId xmlns:a16="http://schemas.microsoft.com/office/drawing/2014/main" val="3486415745"/>
                    </a:ext>
                  </a:extLst>
                </a:gridCol>
              </a:tblGrid>
              <a:tr h="370840">
                <a:tc gridSpan="2">
                  <a:txBody>
                    <a:bodyPr/>
                    <a:lstStyle/>
                    <a:p>
                      <a:pPr algn="ctr" rtl="0" fontAlgn="ctr"/>
                      <a:r>
                        <a:rPr lang="cs-CZ" sz="2400" b="1" i="0" u="sng" strike="noStrike" dirty="0">
                          <a:solidFill>
                            <a:srgbClr val="0000CC"/>
                          </a:solidFill>
                          <a:effectLst/>
                          <a:latin typeface="Calibri" panose="020F0502020204030204" pitchFamily="34" charset="0"/>
                        </a:rPr>
                        <a:t>Nově diagnostikovaní ve věku 6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cs-CZ"/>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88616699"/>
                  </a:ext>
                </a:extLst>
              </a:tr>
              <a:tr h="370840">
                <a:tc>
                  <a:txBody>
                    <a:bodyPr/>
                    <a:lstStyle/>
                    <a:p>
                      <a:pPr algn="l" rtl="0" fontAlgn="ctr"/>
                      <a:r>
                        <a:rPr lang="cs-CZ" sz="2400" b="0" i="0" u="none" strike="noStrike" dirty="0">
                          <a:solidFill>
                            <a:srgbClr val="0000CC"/>
                          </a:solidFill>
                          <a:effectLst/>
                          <a:latin typeface="Calibri" panose="020F0502020204030204" pitchFamily="34" charset="0"/>
                        </a:rPr>
                        <a:t>Za uplynulé 3 dny:</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fontAlgn="b"/>
                      <a:r>
                        <a:rPr lang="cs-CZ" sz="2000" b="0" i="0" u="none" strike="noStrike" dirty="0">
                          <a:solidFill>
                            <a:srgbClr val="0000CC"/>
                          </a:solidFill>
                          <a:effectLst/>
                          <a:latin typeface="Calibri" panose="020F0502020204030204" pitchFamily="34" charset="0"/>
                        </a:rPr>
                        <a:t>1 893</a:t>
                      </a:r>
                    </a:p>
                  </a:txBody>
                  <a:tcPr marL="7620" marR="7620" marT="762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08293902"/>
                  </a:ext>
                </a:extLst>
              </a:tr>
              <a:tr h="370840">
                <a:tc>
                  <a:txBody>
                    <a:bodyPr/>
                    <a:lstStyle/>
                    <a:p>
                      <a:pPr algn="l" rtl="0" fontAlgn="ctr"/>
                      <a:r>
                        <a:rPr lang="cs-CZ" sz="2400" b="0" i="0" u="none" strike="noStrike">
                          <a:solidFill>
                            <a:srgbClr val="0000CC"/>
                          </a:solidFill>
                          <a:effectLst/>
                          <a:latin typeface="Calibri" panose="020F0502020204030204" pitchFamily="34" charset="0"/>
                        </a:rPr>
                        <a:t>Za uplynulých 7 dní:</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cs-CZ" sz="2000" b="0" i="0" u="none" strike="noStrike" dirty="0">
                          <a:solidFill>
                            <a:srgbClr val="0000CC"/>
                          </a:solidFill>
                          <a:effectLst/>
                          <a:latin typeface="Calibri" panose="020F0502020204030204" pitchFamily="34" charset="0"/>
                        </a:rPr>
                        <a:t>3 761</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68834070"/>
                  </a:ext>
                </a:extLst>
              </a:tr>
              <a:tr h="370840">
                <a:tc>
                  <a:txBody>
                    <a:bodyPr/>
                    <a:lstStyle/>
                    <a:p>
                      <a:pPr algn="l" rtl="0" fontAlgn="ctr"/>
                      <a:r>
                        <a:rPr lang="cs-CZ" sz="2400" b="0" i="0" u="none" strike="noStrike">
                          <a:solidFill>
                            <a:srgbClr val="0000CC"/>
                          </a:solidFill>
                          <a:effectLst/>
                          <a:latin typeface="Calibri" panose="020F0502020204030204" pitchFamily="34" charset="0"/>
                        </a:rPr>
                        <a:t>Za uplynulých 14 dní:</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cs-CZ" sz="2000" b="0" i="0" u="none" strike="noStrike" dirty="0">
                          <a:solidFill>
                            <a:srgbClr val="0000CC"/>
                          </a:solidFill>
                          <a:effectLst/>
                          <a:latin typeface="Calibri" panose="020F0502020204030204" pitchFamily="34" charset="0"/>
                        </a:rPr>
                        <a:t>6 845</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0741784"/>
                  </a:ext>
                </a:extLst>
              </a:tr>
            </a:tbl>
          </a:graphicData>
        </a:graphic>
      </p:graphicFrame>
      <p:sp>
        <p:nvSpPr>
          <p:cNvPr id="14" name="TextovéPole 13">
            <a:extLst>
              <a:ext uri="{FF2B5EF4-FFF2-40B4-BE49-F238E27FC236}">
                <a16:creationId xmlns:a16="http://schemas.microsoft.com/office/drawing/2014/main" id="{7C764D1A-68C2-47CF-9E50-A28EB0F2ED2D}"/>
              </a:ext>
            </a:extLst>
          </p:cNvPr>
          <p:cNvSpPr txBox="1"/>
          <p:nvPr>
            <p:custDataLst>
              <p:tags r:id="rId4"/>
            </p:custDataLst>
          </p:nvPr>
        </p:nvSpPr>
        <p:spPr>
          <a:xfrm>
            <a:off x="304800" y="275074"/>
            <a:ext cx="1182052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Počet nově nakažených potenciálně zranitelných pacientů mírně roste, což následně zvyšuje zátěž nemocnic. Prevalence aktuálně nakažených zranitelných osob je stále vysoká. </a:t>
            </a:r>
            <a:endParaRPr kumimoji="0" lang="cs-CZ" sz="2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7" name="TextovéPole 16">
            <a:extLst>
              <a:ext uri="{FF2B5EF4-FFF2-40B4-BE49-F238E27FC236}">
                <a16:creationId xmlns:a16="http://schemas.microsoft.com/office/drawing/2014/main" id="{EA269EE1-023D-4923-A274-306C012431E7}"/>
              </a:ext>
            </a:extLst>
          </p:cNvPr>
          <p:cNvSpPr txBox="1"/>
          <p:nvPr/>
        </p:nvSpPr>
        <p:spPr>
          <a:xfrm rot="16200000">
            <a:off x="-1310973" y="4539702"/>
            <a:ext cx="309199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enní počty nových případů</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ovéPole 8">
            <a:extLst>
              <a:ext uri="{FF2B5EF4-FFF2-40B4-BE49-F238E27FC236}">
                <a16:creationId xmlns:a16="http://schemas.microsoft.com/office/drawing/2014/main" id="{672A5D43-5D6C-4B4B-9821-EC167104B9C2}"/>
              </a:ext>
            </a:extLst>
          </p:cNvPr>
          <p:cNvSpPr txBox="1"/>
          <p:nvPr>
            <p:custDataLst>
              <p:tags r:id="rId5"/>
            </p:custDataLst>
          </p:nvPr>
        </p:nvSpPr>
        <p:spPr>
          <a:xfrm>
            <a:off x="948805" y="2332361"/>
            <a:ext cx="4845604" cy="1477328"/>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enně přibývá v prevalenci průměrně cca 700 potenciálně zranitelných nově nakažených osob ve věku 65+. Virová zátěž těchto populačních skupin je stále vysoká a promítá se do pomalého poklesu zátěže nemocnic. </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8795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381739" y="2"/>
            <a:ext cx="11659012" cy="576000"/>
          </a:xfrm>
        </p:spPr>
        <p:txBody>
          <a:bodyPr/>
          <a:lstStyle/>
          <a:p>
            <a:r>
              <a:rPr lang="cs-CZ" dirty="0"/>
              <a:t>Časový vývoj vybraných ukazatelů: 7denní počet případů</a:t>
            </a:r>
            <a:r>
              <a:rPr lang="en-US" dirty="0"/>
              <a:t> </a:t>
            </a:r>
            <a:r>
              <a:rPr lang="cs-CZ" dirty="0"/>
              <a:t>ve věku 65+ </a:t>
            </a:r>
            <a:r>
              <a:rPr lang="en-US" dirty="0" err="1"/>
              <a:t>na</a:t>
            </a:r>
            <a:r>
              <a:rPr lang="en-US" dirty="0"/>
              <a:t> 100 000 </a:t>
            </a:r>
            <a:r>
              <a:rPr lang="en-US" dirty="0" err="1"/>
              <a:t>obyv</a:t>
            </a:r>
            <a:r>
              <a:rPr lang="en-US" dirty="0"/>
              <a:t>.</a:t>
            </a:r>
            <a:r>
              <a:rPr lang="cs-CZ" dirty="0"/>
              <a:t> </a:t>
            </a:r>
          </a:p>
        </p:txBody>
      </p:sp>
      <p:graphicFrame>
        <p:nvGraphicFramePr>
          <p:cNvPr id="7" name="Graf 6">
            <a:extLst>
              <a:ext uri="{FF2B5EF4-FFF2-40B4-BE49-F238E27FC236}">
                <a16:creationId xmlns:a16="http://schemas.microsoft.com/office/drawing/2014/main" id="{5404BA8C-9898-4577-805A-903ACB17033E}"/>
              </a:ext>
            </a:extLst>
          </p:cNvPr>
          <p:cNvGraphicFramePr>
            <a:graphicFrameLocks/>
          </p:cNvGraphicFramePr>
          <p:nvPr>
            <p:custDataLst>
              <p:tags r:id="rId2"/>
            </p:custDataLst>
          </p:nvPr>
        </p:nvGraphicFramePr>
        <p:xfrm>
          <a:off x="343598" y="856674"/>
          <a:ext cx="11659012" cy="5727005"/>
        </p:xfrm>
        <a:graphic>
          <a:graphicData uri="http://schemas.openxmlformats.org/drawingml/2006/chart">
            <c:chart xmlns:c="http://schemas.openxmlformats.org/drawingml/2006/chart" xmlns:r="http://schemas.openxmlformats.org/officeDocument/2006/relationships" r:id="rId6"/>
          </a:graphicData>
        </a:graphic>
      </p:graphicFrame>
      <p:sp>
        <p:nvSpPr>
          <p:cNvPr id="3" name="Šipka: nahoru 2">
            <a:extLst>
              <a:ext uri="{FF2B5EF4-FFF2-40B4-BE49-F238E27FC236}">
                <a16:creationId xmlns:a16="http://schemas.microsoft.com/office/drawing/2014/main" id="{2A31B915-4D77-42EB-8F6E-86D32E3A3EAD}"/>
              </a:ext>
            </a:extLst>
          </p:cNvPr>
          <p:cNvSpPr/>
          <p:nvPr>
            <p:custDataLst>
              <p:tags r:id="rId3"/>
            </p:custDataLst>
          </p:nvPr>
        </p:nvSpPr>
        <p:spPr>
          <a:xfrm>
            <a:off x="1073763" y="856674"/>
            <a:ext cx="542441" cy="49594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90296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33">
            <a:extLst>
              <a:ext uri="{FF2B5EF4-FFF2-40B4-BE49-F238E27FC236}">
                <a16:creationId xmlns:a16="http://schemas.microsoft.com/office/drawing/2014/main" id="{4C5A20A0-A260-40EF-BD1E-C982250FE1FD}"/>
              </a:ext>
            </a:extLst>
          </p:cNvPr>
          <p:cNvGraphicFramePr>
            <a:graphicFrameLocks noGrp="1"/>
          </p:cNvGraphicFramePr>
          <p:nvPr>
            <p:custDataLst>
              <p:tags r:id="rId1"/>
            </p:custDataLst>
          </p:nvPr>
        </p:nvGraphicFramePr>
        <p:xfrm>
          <a:off x="838200" y="3170332"/>
          <a:ext cx="9064944" cy="3192768"/>
        </p:xfrm>
        <a:graphic>
          <a:graphicData uri="http://schemas.openxmlformats.org/drawingml/2006/table">
            <a:tbl>
              <a:tblPr/>
              <a:tblGrid>
                <a:gridCol w="7173873">
                  <a:extLst>
                    <a:ext uri="{9D8B030D-6E8A-4147-A177-3AD203B41FA5}">
                      <a16:colId xmlns:a16="http://schemas.microsoft.com/office/drawing/2014/main" val="1918387992"/>
                    </a:ext>
                  </a:extLst>
                </a:gridCol>
                <a:gridCol w="1891071">
                  <a:extLst>
                    <a:ext uri="{9D8B030D-6E8A-4147-A177-3AD203B41FA5}">
                      <a16:colId xmlns:a16="http://schemas.microsoft.com/office/drawing/2014/main" val="1639439843"/>
                    </a:ext>
                  </a:extLst>
                </a:gridCol>
              </a:tblGrid>
              <a:tr h="798192">
                <a:tc>
                  <a:txBody>
                    <a:bodyPr/>
                    <a:lstStyle/>
                    <a:p>
                      <a:pPr algn="l" rtl="0" fontAlgn="b"/>
                      <a:r>
                        <a:rPr lang="cs-CZ" sz="4800" b="0" i="0" u="none" strike="noStrike" dirty="0">
                          <a:solidFill>
                            <a:srgbClr val="000000"/>
                          </a:solidFill>
                          <a:effectLst/>
                          <a:latin typeface="Calibri" panose="020F0502020204030204" pitchFamily="34" charset="0"/>
                        </a:rPr>
                        <a:t>Celkem v nemocnici:</a:t>
                      </a:r>
                    </a:p>
                  </a:txBody>
                  <a:tcPr marL="7620" marR="7620" marT="7620" marB="0" anchor="b">
                    <a:lnL>
                      <a:noFill/>
                    </a:lnL>
                    <a:lnR>
                      <a:noFill/>
                    </a:lnR>
                    <a:lnT>
                      <a:noFill/>
                    </a:lnT>
                    <a:lnB>
                      <a:noFill/>
                    </a:lnB>
                  </a:tcPr>
                </a:tc>
                <a:tc>
                  <a:txBody>
                    <a:bodyPr/>
                    <a:lstStyle/>
                    <a:p>
                      <a:pPr algn="r" fontAlgn="b"/>
                      <a:r>
                        <a:rPr lang="cs-CZ" sz="4800" b="0" i="0" u="none" strike="noStrike">
                          <a:solidFill>
                            <a:srgbClr val="000000"/>
                          </a:solidFill>
                          <a:effectLst/>
                          <a:latin typeface="Calibri" panose="020F0502020204030204" pitchFamily="34" charset="0"/>
                        </a:rPr>
                        <a:t>1635</a:t>
                      </a:r>
                    </a:p>
                  </a:txBody>
                  <a:tcPr marL="6350" marR="6350" marT="6350" marB="0" anchor="b">
                    <a:lnL>
                      <a:noFill/>
                    </a:lnL>
                    <a:lnR>
                      <a:noFill/>
                    </a:lnR>
                    <a:lnT>
                      <a:noFill/>
                    </a:lnT>
                    <a:lnB>
                      <a:noFill/>
                    </a:lnB>
                  </a:tcPr>
                </a:tc>
                <a:extLst>
                  <a:ext uri="{0D108BD9-81ED-4DB2-BD59-A6C34878D82A}">
                    <a16:rowId xmlns:a16="http://schemas.microsoft.com/office/drawing/2014/main" val="1079789772"/>
                  </a:ext>
                </a:extLst>
              </a:tr>
              <a:tr h="798192">
                <a:tc>
                  <a:txBody>
                    <a:bodyPr/>
                    <a:lstStyle/>
                    <a:p>
                      <a:pPr algn="l" rtl="0" fontAlgn="b"/>
                      <a:r>
                        <a:rPr lang="cs-CZ" sz="4800" b="0" i="0" u="none" strike="noStrike">
                          <a:solidFill>
                            <a:srgbClr val="000000"/>
                          </a:solidFill>
                          <a:effectLst/>
                          <a:latin typeface="Calibri" panose="020F0502020204030204" pitchFamily="34" charset="0"/>
                        </a:rPr>
                        <a:t>Z toho JIP:</a:t>
                      </a:r>
                    </a:p>
                  </a:txBody>
                  <a:tcPr marL="7620" marR="7620" marT="7620" marB="0" anchor="b">
                    <a:lnL>
                      <a:noFill/>
                    </a:lnL>
                    <a:lnR>
                      <a:noFill/>
                    </a:lnR>
                    <a:lnT>
                      <a:noFill/>
                    </a:lnT>
                    <a:lnB>
                      <a:noFill/>
                    </a:lnB>
                  </a:tcPr>
                </a:tc>
                <a:tc>
                  <a:txBody>
                    <a:bodyPr/>
                    <a:lstStyle/>
                    <a:p>
                      <a:pPr algn="r" fontAlgn="b"/>
                      <a:r>
                        <a:rPr lang="cs-CZ" sz="4800" b="0" i="0" u="none" strike="noStrike">
                          <a:solidFill>
                            <a:srgbClr val="000000"/>
                          </a:solidFill>
                          <a:effectLst/>
                          <a:latin typeface="Calibri" panose="020F0502020204030204" pitchFamily="34" charset="0"/>
                        </a:rPr>
                        <a:t>289</a:t>
                      </a:r>
                    </a:p>
                  </a:txBody>
                  <a:tcPr marL="6350" marR="6350" marT="6350" marB="0" anchor="b">
                    <a:lnL>
                      <a:noFill/>
                    </a:lnL>
                    <a:lnR>
                      <a:noFill/>
                    </a:lnR>
                    <a:lnT>
                      <a:noFill/>
                    </a:lnT>
                    <a:lnB>
                      <a:noFill/>
                    </a:lnB>
                  </a:tcPr>
                </a:tc>
                <a:extLst>
                  <a:ext uri="{0D108BD9-81ED-4DB2-BD59-A6C34878D82A}">
                    <a16:rowId xmlns:a16="http://schemas.microsoft.com/office/drawing/2014/main" val="2541122535"/>
                  </a:ext>
                </a:extLst>
              </a:tr>
              <a:tr h="798192">
                <a:tc>
                  <a:txBody>
                    <a:bodyPr/>
                    <a:lstStyle/>
                    <a:p>
                      <a:pPr algn="l" rtl="0" fontAlgn="b"/>
                      <a:r>
                        <a:rPr lang="cs-CZ" sz="4800" b="0" i="0" u="none" strike="noStrike">
                          <a:solidFill>
                            <a:srgbClr val="000000"/>
                          </a:solidFill>
                          <a:effectLst/>
                          <a:latin typeface="Calibri" panose="020F0502020204030204" pitchFamily="34" charset="0"/>
                        </a:rPr>
                        <a:t>Z toho UPV:</a:t>
                      </a:r>
                    </a:p>
                  </a:txBody>
                  <a:tcPr marL="7620" marR="7620" marT="7620" marB="0" anchor="b">
                    <a:lnL>
                      <a:noFill/>
                    </a:lnL>
                    <a:lnR>
                      <a:noFill/>
                    </a:lnR>
                    <a:lnT>
                      <a:noFill/>
                    </a:lnT>
                    <a:lnB>
                      <a:noFill/>
                    </a:lnB>
                  </a:tcPr>
                </a:tc>
                <a:tc>
                  <a:txBody>
                    <a:bodyPr/>
                    <a:lstStyle/>
                    <a:p>
                      <a:pPr algn="r" fontAlgn="b"/>
                      <a:r>
                        <a:rPr lang="cs-CZ" sz="4800" b="0" i="0" u="none" strike="noStrike">
                          <a:solidFill>
                            <a:srgbClr val="000000"/>
                          </a:solidFill>
                          <a:effectLst/>
                          <a:latin typeface="Calibri" panose="020F0502020204030204" pitchFamily="34" charset="0"/>
                        </a:rPr>
                        <a:t>141</a:t>
                      </a:r>
                    </a:p>
                  </a:txBody>
                  <a:tcPr marL="6350" marR="6350" marT="6350" marB="0" anchor="b">
                    <a:lnL>
                      <a:noFill/>
                    </a:lnL>
                    <a:lnR>
                      <a:noFill/>
                    </a:lnR>
                    <a:lnT>
                      <a:noFill/>
                    </a:lnT>
                    <a:lnB>
                      <a:noFill/>
                    </a:lnB>
                  </a:tcPr>
                </a:tc>
                <a:extLst>
                  <a:ext uri="{0D108BD9-81ED-4DB2-BD59-A6C34878D82A}">
                    <a16:rowId xmlns:a16="http://schemas.microsoft.com/office/drawing/2014/main" val="532193534"/>
                  </a:ext>
                </a:extLst>
              </a:tr>
              <a:tr h="798192">
                <a:tc>
                  <a:txBody>
                    <a:bodyPr/>
                    <a:lstStyle/>
                    <a:p>
                      <a:pPr algn="l" rtl="0" fontAlgn="b"/>
                      <a:r>
                        <a:rPr lang="cs-CZ" sz="4800" b="0" i="0" u="none" strike="noStrike">
                          <a:solidFill>
                            <a:srgbClr val="000000"/>
                          </a:solidFill>
                          <a:effectLst/>
                          <a:latin typeface="Calibri" panose="020F0502020204030204" pitchFamily="34" charset="0"/>
                        </a:rPr>
                        <a:t>Z toho ECMO:</a:t>
                      </a:r>
                    </a:p>
                  </a:txBody>
                  <a:tcPr marL="7620" marR="7620" marT="7620" marB="0" anchor="b">
                    <a:lnL>
                      <a:noFill/>
                    </a:lnL>
                    <a:lnR>
                      <a:noFill/>
                    </a:lnR>
                    <a:lnT>
                      <a:noFill/>
                    </a:lnT>
                    <a:lnB>
                      <a:noFill/>
                    </a:lnB>
                  </a:tcPr>
                </a:tc>
                <a:tc>
                  <a:txBody>
                    <a:bodyPr/>
                    <a:lstStyle/>
                    <a:p>
                      <a:pPr algn="r" fontAlgn="b"/>
                      <a:r>
                        <a:rPr lang="cs-CZ" sz="4800" b="0" i="0" u="none" strike="noStrike" dirty="0">
                          <a:solidFill>
                            <a:srgbClr val="000000"/>
                          </a:solidFill>
                          <a:effectLst/>
                          <a:latin typeface="Calibri" panose="020F0502020204030204" pitchFamily="34" charset="0"/>
                        </a:rPr>
                        <a:t>7</a:t>
                      </a:r>
                    </a:p>
                  </a:txBody>
                  <a:tcPr marL="6350" marR="6350" marT="6350" marB="0" anchor="b">
                    <a:lnL>
                      <a:noFill/>
                    </a:lnL>
                    <a:lnR>
                      <a:noFill/>
                    </a:lnR>
                    <a:lnT>
                      <a:noFill/>
                    </a:lnT>
                    <a:lnB>
                      <a:noFill/>
                    </a:lnB>
                  </a:tcPr>
                </a:tc>
                <a:extLst>
                  <a:ext uri="{0D108BD9-81ED-4DB2-BD59-A6C34878D82A}">
                    <a16:rowId xmlns:a16="http://schemas.microsoft.com/office/drawing/2014/main" val="2192537972"/>
                  </a:ext>
                </a:extLst>
              </a:tr>
            </a:tbl>
          </a:graphicData>
        </a:graphic>
      </p:graphicFrame>
      <p:sp>
        <p:nvSpPr>
          <p:cNvPr id="35" name="Šipka dolů 1">
            <a:extLst>
              <a:ext uri="{FF2B5EF4-FFF2-40B4-BE49-F238E27FC236}">
                <a16:creationId xmlns:a16="http://schemas.microsoft.com/office/drawing/2014/main" id="{273E8147-1472-4BD2-B50D-7B3FC07C0A00}"/>
              </a:ext>
            </a:extLst>
          </p:cNvPr>
          <p:cNvSpPr/>
          <p:nvPr>
            <p:custDataLst>
              <p:tags r:id="rId2"/>
            </p:custDataLst>
          </p:nvPr>
        </p:nvSpPr>
        <p:spPr>
          <a:xfrm>
            <a:off x="5316129" y="1718726"/>
            <a:ext cx="1588655" cy="785091"/>
          </a:xfrm>
          <a:prstGeom prst="downArrow">
            <a:avLst/>
          </a:prstGeom>
          <a:solidFill>
            <a:srgbClr val="3059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AFABE329-CC08-4062-8E80-53173DE0C38F}"/>
              </a:ext>
            </a:extLst>
          </p:cNvPr>
          <p:cNvSpPr txBox="1"/>
          <p:nvPr>
            <p:custDataLst>
              <p:tags r:id="rId3"/>
            </p:custDataLst>
          </p:nvPr>
        </p:nvSpPr>
        <p:spPr>
          <a:xfrm>
            <a:off x="0" y="843795"/>
            <a:ext cx="120348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Z" sz="3600" b="1" i="0" u="none" strike="noStrike" kern="1200" cap="none" spc="0" normalizeH="0" baseline="0" noProof="0" dirty="0">
                <a:ln>
                  <a:noFill/>
                </a:ln>
                <a:solidFill>
                  <a:prstClr val="black"/>
                </a:solidFill>
                <a:effectLst/>
                <a:uLnTx/>
                <a:uFillTx/>
                <a:latin typeface="Calibri" panose="020F0502020204030204"/>
                <a:ea typeface="+mn-ea"/>
                <a:cs typeface="+mn-cs"/>
              </a:rPr>
              <a:t>Aktuální </a:t>
            </a:r>
            <a:r>
              <a:rPr kumimoji="0" lang="cs-CZ" sz="3600" b="1" i="0" u="none" strike="noStrike" kern="1200" cap="none" spc="0" normalizeH="0" baseline="0" noProof="0" dirty="0">
                <a:ln>
                  <a:noFill/>
                </a:ln>
                <a:solidFill>
                  <a:prstClr val="black"/>
                </a:solidFill>
                <a:effectLst/>
                <a:uLnTx/>
                <a:uFillTx/>
                <a:latin typeface="Calibri" panose="020F0502020204030204"/>
                <a:ea typeface="+mn-ea"/>
                <a:cs typeface="+mn-cs"/>
              </a:rPr>
              <a:t>počty </a:t>
            </a:r>
            <a:r>
              <a:rPr kumimoji="0" lang="en-CZ" sz="3600" b="1" i="0" u="none" strike="noStrike" kern="1200" cap="none" spc="0" normalizeH="0" baseline="0" noProof="0" dirty="0">
                <a:ln>
                  <a:noFill/>
                </a:ln>
                <a:solidFill>
                  <a:prstClr val="black"/>
                </a:solidFill>
                <a:effectLst/>
                <a:uLnTx/>
                <a:uFillTx/>
                <a:latin typeface="Calibri" panose="020F0502020204030204"/>
                <a:ea typeface="+mn-ea"/>
                <a:cs typeface="+mn-cs"/>
              </a:rPr>
              <a:t>hospitalizovaných</a:t>
            </a:r>
            <a:r>
              <a:rPr kumimoji="0" lang="cs-CZ" sz="3600" b="1" i="0" u="none" strike="noStrike" kern="1200" cap="none" spc="0" normalizeH="0" baseline="0" noProof="0" dirty="0">
                <a:ln>
                  <a:noFill/>
                </a:ln>
                <a:solidFill>
                  <a:prstClr val="black"/>
                </a:solidFill>
                <a:effectLst/>
                <a:uLnTx/>
                <a:uFillTx/>
                <a:latin typeface="Calibri" panose="020F0502020204030204"/>
                <a:ea typeface="+mn-ea"/>
                <a:cs typeface="+mn-cs"/>
              </a:rPr>
              <a:t> pacientů , včetně JIP, klesají </a:t>
            </a:r>
            <a:endParaRPr kumimoji="0" lang="cs-CZ" sz="3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2" name="Tabulka 4">
            <a:extLst>
              <a:ext uri="{FF2B5EF4-FFF2-40B4-BE49-F238E27FC236}">
                <a16:creationId xmlns:a16="http://schemas.microsoft.com/office/drawing/2014/main" id="{26779AC8-5DFA-4636-8E54-5D5708628E65}"/>
              </a:ext>
            </a:extLst>
          </p:cNvPr>
          <p:cNvGraphicFramePr>
            <a:graphicFrameLocks noGrp="1"/>
          </p:cNvGraphicFramePr>
          <p:nvPr>
            <p:custDataLst>
              <p:tags r:id="rId4"/>
            </p:custDataLst>
          </p:nvPr>
        </p:nvGraphicFramePr>
        <p:xfrm>
          <a:off x="7747864" y="2713132"/>
          <a:ext cx="3077308" cy="457200"/>
        </p:xfrm>
        <a:graphic>
          <a:graphicData uri="http://schemas.openxmlformats.org/drawingml/2006/table">
            <a:tbl>
              <a:tblPr firstRow="1" bandRow="1">
                <a:tableStyleId>{5C22544A-7EE6-4342-B048-85BDC9FD1C3A}</a:tableStyleId>
              </a:tblPr>
              <a:tblGrid>
                <a:gridCol w="1318846">
                  <a:extLst>
                    <a:ext uri="{9D8B030D-6E8A-4147-A177-3AD203B41FA5}">
                      <a16:colId xmlns:a16="http://schemas.microsoft.com/office/drawing/2014/main" val="3701563452"/>
                    </a:ext>
                  </a:extLst>
                </a:gridCol>
                <a:gridCol w="1758462">
                  <a:extLst>
                    <a:ext uri="{9D8B030D-6E8A-4147-A177-3AD203B41FA5}">
                      <a16:colId xmlns:a16="http://schemas.microsoft.com/office/drawing/2014/main" val="2121585558"/>
                    </a:ext>
                  </a:extLst>
                </a:gridCol>
              </a:tblGrid>
              <a:tr h="370840">
                <a:tc>
                  <a:txBody>
                    <a:bodyPr/>
                    <a:lstStyle/>
                    <a:p>
                      <a:pPr algn="r"/>
                      <a:r>
                        <a:rPr lang="cs-CZ" sz="2400" dirty="0"/>
                        <a:t>Stav k</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05983"/>
                    </a:solidFill>
                  </a:tcPr>
                </a:tc>
                <a:tc>
                  <a:txBody>
                    <a:bodyPr/>
                    <a:lstStyle/>
                    <a:p>
                      <a:pPr algn="l" fontAlgn="b"/>
                      <a:r>
                        <a:rPr lang="cs-CZ" sz="2400" b="1" i="0" u="none" strike="noStrike" dirty="0">
                          <a:solidFill>
                            <a:schemeClr val="bg1"/>
                          </a:solidFill>
                          <a:effectLst/>
                          <a:latin typeface="+mn-lt"/>
                        </a:rPr>
                        <a:t>18. 1. 2022</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05983"/>
                    </a:solidFill>
                  </a:tcPr>
                </a:tc>
                <a:extLst>
                  <a:ext uri="{0D108BD9-81ED-4DB2-BD59-A6C34878D82A}">
                    <a16:rowId xmlns:a16="http://schemas.microsoft.com/office/drawing/2014/main" val="4044326571"/>
                  </a:ext>
                </a:extLst>
              </a:tr>
            </a:tbl>
          </a:graphicData>
        </a:graphic>
      </p:graphicFrame>
    </p:spTree>
    <p:extLst>
      <p:ext uri="{BB962C8B-B14F-4D97-AF65-F5344CB8AC3E}">
        <p14:creationId xmlns:p14="http://schemas.microsoft.com/office/powerpoint/2010/main" val="34103101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Podnadpis 2">
            <a:extLst>
              <a:ext uri="{FF2B5EF4-FFF2-40B4-BE49-F238E27FC236}">
                <a16:creationId xmlns:a16="http://schemas.microsoft.com/office/drawing/2014/main" id="{368B8A07-A70D-4EDA-A4E7-3755904FD0C2}"/>
              </a:ext>
            </a:extLst>
          </p:cNvPr>
          <p:cNvSpPr txBox="1">
            <a:spLocks/>
          </p:cNvSpPr>
          <p:nvPr>
            <p:custDataLst>
              <p:tags r:id="rId1"/>
            </p:custDataLst>
          </p:nvPr>
        </p:nvSpPr>
        <p:spPr>
          <a:xfrm>
            <a:off x="207043" y="216637"/>
            <a:ext cx="11454063" cy="10787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3400" b="1" i="0" u="none" strike="noStrike" kern="1200" cap="none" spc="0" normalizeH="0" baseline="0" noProof="0" dirty="0">
                <a:ln>
                  <a:noFill/>
                </a:ln>
                <a:solidFill>
                  <a:prstClr val="black"/>
                </a:solidFill>
                <a:effectLst/>
                <a:uLnTx/>
                <a:uFillTx/>
                <a:latin typeface="Calibri" panose="020F0502020204030204"/>
                <a:ea typeface="+mn-ea"/>
                <a:cs typeface="+mn-cs"/>
              </a:rPr>
              <a:t>Shrnutí: rizikovost nové varianty Omikron v české populaci </a:t>
            </a:r>
          </a:p>
        </p:txBody>
      </p:sp>
      <p:sp>
        <p:nvSpPr>
          <p:cNvPr id="10" name="Podnadpis 2">
            <a:extLst>
              <a:ext uri="{FF2B5EF4-FFF2-40B4-BE49-F238E27FC236}">
                <a16:creationId xmlns:a16="http://schemas.microsoft.com/office/drawing/2014/main" id="{EB904939-95D7-48F9-9770-330FD4F20F98}"/>
              </a:ext>
            </a:extLst>
          </p:cNvPr>
          <p:cNvSpPr txBox="1">
            <a:spLocks/>
          </p:cNvSpPr>
          <p:nvPr>
            <p:custDataLst>
              <p:tags r:id="rId2"/>
            </p:custDataLst>
          </p:nvPr>
        </p:nvSpPr>
        <p:spPr>
          <a:xfrm>
            <a:off x="207043" y="995684"/>
            <a:ext cx="4812430" cy="5428033"/>
          </a:xfrm>
          <a:prstGeom prst="rect">
            <a:avLst/>
          </a:prstGeom>
          <a:solidFill>
            <a:srgbClr val="D31145"/>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600" b="0" i="0" u="none" strike="noStrike" kern="1200" cap="none" spc="0" normalizeH="0" baseline="0" noProof="0" dirty="0">
                <a:ln>
                  <a:noFill/>
                </a:ln>
                <a:solidFill>
                  <a:prstClr val="white"/>
                </a:solidFill>
                <a:effectLst/>
                <a:uLnTx/>
                <a:uFillTx/>
                <a:latin typeface="Calibri" panose="020F0502020204030204"/>
                <a:ea typeface="+mn-ea"/>
                <a:cs typeface="+mn-cs"/>
              </a:rPr>
              <a:t>Klesne efektivní ochrana dvou-dávkových vakcín až na úroveň &lt; 35%; ALE booster dávka ochranu opět navýší až k &gt; 70%.</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600" b="0" i="0" u="none" strike="noStrike" kern="1200" cap="none" spc="0" normalizeH="0" baseline="0" noProof="0" dirty="0">
                <a:ln>
                  <a:noFill/>
                </a:ln>
                <a:solidFill>
                  <a:prstClr val="white"/>
                </a:solidFill>
                <a:effectLst/>
                <a:uLnTx/>
                <a:uFillTx/>
                <a:latin typeface="Calibri" panose="020F0502020204030204"/>
                <a:ea typeface="+mn-ea"/>
                <a:cs typeface="+mn-cs"/>
              </a:rPr>
              <a:t>Vysoká nakažlivost (</a:t>
            </a:r>
            <a:r>
              <a:rPr kumimoji="0" lang="cs-CZ" sz="2600" b="0" i="0" u="none" strike="noStrike" kern="1200" cap="none" spc="0" normalizeH="0" baseline="0" noProof="0" dirty="0" err="1">
                <a:ln>
                  <a:noFill/>
                </a:ln>
                <a:solidFill>
                  <a:prstClr val="white"/>
                </a:solidFill>
                <a:effectLst/>
                <a:uLnTx/>
                <a:uFillTx/>
                <a:latin typeface="Calibri" panose="020F0502020204030204"/>
                <a:ea typeface="+mn-ea"/>
                <a:cs typeface="+mn-cs"/>
              </a:rPr>
              <a:t>doubling</a:t>
            </a:r>
            <a:r>
              <a:rPr kumimoji="0" lang="cs-CZ" sz="2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cs-CZ" sz="2600" b="0" i="0" u="none" strike="noStrike" kern="1200" cap="none" spc="0" normalizeH="0" baseline="0" noProof="0" dirty="0" err="1">
                <a:ln>
                  <a:noFill/>
                </a:ln>
                <a:solidFill>
                  <a:prstClr val="white"/>
                </a:solidFill>
                <a:effectLst/>
                <a:uLnTx/>
                <a:uFillTx/>
                <a:latin typeface="Calibri" panose="020F0502020204030204"/>
                <a:ea typeface="+mn-ea"/>
                <a:cs typeface="+mn-cs"/>
              </a:rPr>
              <a:t>time</a:t>
            </a:r>
            <a:r>
              <a:rPr kumimoji="0" lang="cs-CZ" sz="2600" b="0" i="0" u="none" strike="noStrike" kern="1200" cap="none" spc="0" normalizeH="0" baseline="0" noProof="0" dirty="0">
                <a:ln>
                  <a:noFill/>
                </a:ln>
                <a:solidFill>
                  <a:prstClr val="white"/>
                </a:solidFill>
                <a:effectLst/>
                <a:uLnTx/>
                <a:uFillTx/>
                <a:latin typeface="Calibri" panose="020F0502020204030204"/>
                <a:ea typeface="+mn-ea"/>
                <a:cs typeface="+mn-cs"/>
              </a:rPr>
              <a:t> cca 2 – 3 dny) představuje riziko    i v případě snížené virulenc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Zásadní ochranou proti těžkému průběhu nemoci představuje pouze očkování. Osoby s posilující dávkou budou významně chráněny i proti nákaze.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cs-CZ"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Šipka: doprava 10">
            <a:extLst>
              <a:ext uri="{FF2B5EF4-FFF2-40B4-BE49-F238E27FC236}">
                <a16:creationId xmlns:a16="http://schemas.microsoft.com/office/drawing/2014/main" id="{7657EA10-77EA-4DA2-935C-3CDB64554133}"/>
              </a:ext>
            </a:extLst>
          </p:cNvPr>
          <p:cNvSpPr/>
          <p:nvPr/>
        </p:nvSpPr>
        <p:spPr>
          <a:xfrm>
            <a:off x="5147554" y="1467967"/>
            <a:ext cx="340468" cy="90467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Šipka: doprava 12">
            <a:extLst>
              <a:ext uri="{FF2B5EF4-FFF2-40B4-BE49-F238E27FC236}">
                <a16:creationId xmlns:a16="http://schemas.microsoft.com/office/drawing/2014/main" id="{9ECF4196-F8C2-49E0-8A86-36C55F37EBA6}"/>
              </a:ext>
            </a:extLst>
          </p:cNvPr>
          <p:cNvSpPr/>
          <p:nvPr/>
        </p:nvSpPr>
        <p:spPr>
          <a:xfrm>
            <a:off x="5147554" y="4289182"/>
            <a:ext cx="340468" cy="90467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A7829903-D1DB-4A29-BEA5-C22F79450D29}"/>
              </a:ext>
            </a:extLst>
          </p:cNvPr>
          <p:cNvSpPr txBox="1"/>
          <p:nvPr/>
        </p:nvSpPr>
        <p:spPr>
          <a:xfrm>
            <a:off x="5616103" y="894912"/>
            <a:ext cx="6368853"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FF0000"/>
                </a:solidFill>
                <a:effectLst/>
                <a:uLnTx/>
                <a:uFillTx/>
                <a:latin typeface="Calibri" panose="020F0502020204030204"/>
                <a:ea typeface="+mn-ea"/>
                <a:cs typeface="+mn-cs"/>
              </a:rPr>
              <a:t>Dle realistického scénáře </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by byly nakaženy zejména osoby dosud nechráněné očkováním a v uplynulých 6 měsících ani proděláním nemoci. Předpokládaný počet nakažených by odpovídal podzimu 2021, zásah nemocnic by byl cca poloviční proti „vlně Delta“. Rizikem je současná vysoká obsazenost nemocnic, vysoký počet neočkovaných zranitelných osob a rychlost předpokládaného šíření viru.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ovéPole 13">
            <a:extLst>
              <a:ext uri="{FF2B5EF4-FFF2-40B4-BE49-F238E27FC236}">
                <a16:creationId xmlns:a16="http://schemas.microsoft.com/office/drawing/2014/main" id="{95A7132D-E5E1-48EB-AD0C-5912E94E708D}"/>
              </a:ext>
            </a:extLst>
          </p:cNvPr>
          <p:cNvSpPr txBox="1"/>
          <p:nvPr/>
        </p:nvSpPr>
        <p:spPr>
          <a:xfrm>
            <a:off x="5616102" y="3344753"/>
            <a:ext cx="6368853"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FF0000"/>
                </a:solidFill>
                <a:effectLst/>
                <a:uLnTx/>
                <a:uFillTx/>
                <a:latin typeface="Calibri" panose="020F0502020204030204"/>
                <a:ea typeface="+mn-ea"/>
                <a:cs typeface="+mn-cs"/>
              </a:rPr>
              <a:t>Dle rizikového scénáře </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by byly nakaženy osoby dosud nechráněné očkováním a v uplynulých 6 měsících ani proděláním nemoci + osoby, u kterých by došlo k průlomovým infekcím po očkování i po nemoci (až 50% riziko průlomu). Předpokládaný počet nakažených by významně překročil podzim 2021, očkovaní by nicméně byli ve významné většině chráněni proti těžkému průběhu nemoci. Zásah nemocnic by dosáhnul až úrovně „vlny Delta“. Při stávající obsazenosti nemocnic jde o vysoké riziko dalšího nárůstu zátěže. Rizikem je dále vysoký počet neočkovaných zranitelných osob a extrémní rychlost předpokládaného šíření viru.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E81FB0E1-8A00-4234-B20A-66C649D4FB76}"/>
              </a:ext>
            </a:extLst>
          </p:cNvPr>
          <p:cNvSpPr txBox="1"/>
          <p:nvPr/>
        </p:nvSpPr>
        <p:spPr>
          <a:xfrm>
            <a:off x="7370618" y="2567699"/>
            <a:ext cx="4584954" cy="646331"/>
          </a:xfrm>
          <a:prstGeom prst="rect">
            <a:avLst/>
          </a:prstGeom>
          <a:solidFill>
            <a:srgbClr val="D3114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rPr>
              <a:t>V tomto scénáři by zátěž nemocnic podstatně narostla, ale byla by zvládnutelná</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ovéPole 14">
            <a:extLst>
              <a:ext uri="{FF2B5EF4-FFF2-40B4-BE49-F238E27FC236}">
                <a16:creationId xmlns:a16="http://schemas.microsoft.com/office/drawing/2014/main" id="{9144A333-E2E0-471A-B2A0-D2577CFD9611}"/>
              </a:ext>
            </a:extLst>
          </p:cNvPr>
          <p:cNvSpPr txBox="1"/>
          <p:nvPr/>
        </p:nvSpPr>
        <p:spPr>
          <a:xfrm>
            <a:off x="7449894" y="6142314"/>
            <a:ext cx="4505678" cy="646331"/>
          </a:xfrm>
          <a:prstGeom prst="rect">
            <a:avLst/>
          </a:prstGeom>
          <a:solidFill>
            <a:srgbClr val="D3114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rPr>
              <a:t>V tomto scénáři existuje riziko  velmi vysoké zátěže nemocnic</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70189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nvPr>
        </p:nvSpPr>
        <p:spPr>
          <a:xfrm>
            <a:off x="381739" y="2"/>
            <a:ext cx="9337041" cy="576000"/>
          </a:xfrm>
        </p:spPr>
        <p:txBody>
          <a:bodyPr/>
          <a:lstStyle/>
          <a:p>
            <a:r>
              <a:rPr lang="cs-CZ" dirty="0">
                <a:latin typeface="+mn-lt"/>
              </a:rPr>
              <a:t>Predikovaný počet </a:t>
            </a:r>
            <a:r>
              <a:rPr lang="cs-CZ" u="sng" dirty="0">
                <a:latin typeface="+mn-lt"/>
              </a:rPr>
              <a:t>nových hospitalizačních</a:t>
            </a:r>
            <a:r>
              <a:rPr lang="cs-CZ" dirty="0">
                <a:latin typeface="+mn-lt"/>
              </a:rPr>
              <a:t> případů (denní příjmy do nemocnic)</a:t>
            </a:r>
          </a:p>
        </p:txBody>
      </p:sp>
      <p:sp>
        <p:nvSpPr>
          <p:cNvPr id="23" name="Rectangle 22">
            <a:extLst>
              <a:ext uri="{FF2B5EF4-FFF2-40B4-BE49-F238E27FC236}">
                <a16:creationId xmlns:a16="http://schemas.microsoft.com/office/drawing/2014/main" id="{830D37DF-B158-4FF6-B3AF-9F71D8756D6C}"/>
              </a:ext>
            </a:extLst>
          </p:cNvPr>
          <p:cNvSpPr/>
          <p:nvPr/>
        </p:nvSpPr>
        <p:spPr>
          <a:xfrm rot="16200000">
            <a:off x="-1828607" y="3049018"/>
            <a:ext cx="418576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Počet nových hospitalizačních případů </a:t>
            </a:r>
          </a:p>
        </p:txBody>
      </p:sp>
      <p:sp>
        <p:nvSpPr>
          <p:cNvPr id="15" name="TextovéPole 24">
            <a:extLst>
              <a:ext uri="{FF2B5EF4-FFF2-40B4-BE49-F238E27FC236}">
                <a16:creationId xmlns:a16="http://schemas.microsoft.com/office/drawing/2014/main" id="{356AD256-F024-4D63-9373-F3FB5E040A66}"/>
              </a:ext>
            </a:extLst>
          </p:cNvPr>
          <p:cNvSpPr txBox="1"/>
          <p:nvPr/>
        </p:nvSpPr>
        <p:spPr>
          <a:xfrm>
            <a:off x="13190" y="6079447"/>
            <a:ext cx="818433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Snímek prezentuje výsledky simulace prostřednictvím epidemiologického modelu, který slouží ke zkoumání dopadů změn různých parametrů epidemie. Vzhledem k objektivně daným neurčitostem ve struktuře modelu (například limitované znalosti o skutečné vnímavosti populace k viru a jeho novým variantám) je nezbytné výsledky brát jako orientační, umožňující pouze porovnání jednotlivých scénářů, nikoliv jako konkrétní předpověď pro určité období. </a:t>
            </a:r>
          </a:p>
        </p:txBody>
      </p:sp>
      <p:sp>
        <p:nvSpPr>
          <p:cNvPr id="3" name="Rectangle 2">
            <a:extLst>
              <a:ext uri="{FF2B5EF4-FFF2-40B4-BE49-F238E27FC236}">
                <a16:creationId xmlns:a16="http://schemas.microsoft.com/office/drawing/2014/main" id="{98357FBF-827C-445F-9DAB-6997B6CCAC3A}"/>
              </a:ext>
            </a:extLst>
          </p:cNvPr>
          <p:cNvSpPr/>
          <p:nvPr>
            <p:custDataLst>
              <p:tags r:id="rId1"/>
            </p:custDataLst>
          </p:nvPr>
        </p:nvSpPr>
        <p:spPr>
          <a:xfrm>
            <a:off x="3204594" y="939567"/>
            <a:ext cx="604008" cy="24861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7" name="Chart 16">
            <a:extLst>
              <a:ext uri="{FF2B5EF4-FFF2-40B4-BE49-F238E27FC236}">
                <a16:creationId xmlns:a16="http://schemas.microsoft.com/office/drawing/2014/main" id="{44E11B39-2C45-4539-B0BD-5905477A04D0}"/>
              </a:ext>
            </a:extLst>
          </p:cNvPr>
          <p:cNvGraphicFramePr/>
          <p:nvPr>
            <p:custDataLst>
              <p:tags r:id="rId2"/>
            </p:custDataLst>
          </p:nvPr>
        </p:nvGraphicFramePr>
        <p:xfrm>
          <a:off x="488124" y="723656"/>
          <a:ext cx="7581678" cy="5418667"/>
        </p:xfrm>
        <a:graphic>
          <a:graphicData uri="http://schemas.openxmlformats.org/drawingml/2006/chart">
            <c:chart xmlns:c="http://schemas.openxmlformats.org/drawingml/2006/chart" xmlns:r="http://schemas.openxmlformats.org/officeDocument/2006/relationships" r:id="rId13"/>
          </a:graphicData>
        </a:graphic>
      </p:graphicFrame>
      <p:sp>
        <p:nvSpPr>
          <p:cNvPr id="24" name="TextovéPole 23">
            <a:extLst>
              <a:ext uri="{FF2B5EF4-FFF2-40B4-BE49-F238E27FC236}">
                <a16:creationId xmlns:a16="http://schemas.microsoft.com/office/drawing/2014/main" id="{7C345671-027D-47DC-8E5B-9EB98DBAC68F}"/>
              </a:ext>
            </a:extLst>
          </p:cNvPr>
          <p:cNvSpPr txBox="1"/>
          <p:nvPr/>
        </p:nvSpPr>
        <p:spPr>
          <a:xfrm>
            <a:off x="1128408" y="610344"/>
            <a:ext cx="1080240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FF0000"/>
                </a:solidFill>
                <a:effectLst/>
                <a:uLnTx/>
                <a:uFillTx/>
                <a:latin typeface="Calibri" panose="020F0502020204030204"/>
                <a:ea typeface="+mn-ea"/>
                <a:cs typeface="+mn-cs"/>
              </a:rPr>
              <a:t>Vysoce rizikový scénář pro populační predikce počtu nakažených (scénář 2) není v modelech hospitalizací promítnut, protože tento kalkuluj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FF0000"/>
                </a:solidFill>
                <a:effectLst/>
                <a:uLnTx/>
                <a:uFillTx/>
                <a:latin typeface="Calibri" panose="020F0502020204030204"/>
                <a:ea typeface="+mn-ea"/>
                <a:cs typeface="+mn-cs"/>
              </a:rPr>
              <a:t>s nákazou primárně citlivých osob a dále s průlomovými nákazami u očkovaných osob a  v populaci s prodělaným onemocnění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FF0000"/>
                </a:solidFill>
                <a:effectLst/>
                <a:uLnTx/>
                <a:uFillTx/>
                <a:latin typeface="Calibri" panose="020F0502020204030204"/>
                <a:ea typeface="+mn-ea"/>
                <a:cs typeface="+mn-cs"/>
              </a:rPr>
              <a:t>Tito nakažení by však dle dostupných dat měli být významně chráněni před těžkým průběhem onemocnění. </a:t>
            </a:r>
            <a:endPar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5" name="Rectangle 4">
            <a:extLst>
              <a:ext uri="{FF2B5EF4-FFF2-40B4-BE49-F238E27FC236}">
                <a16:creationId xmlns:a16="http://schemas.microsoft.com/office/drawing/2014/main" id="{2A3FCDB0-324F-43C4-AA3E-3312CD286364}"/>
              </a:ext>
            </a:extLst>
          </p:cNvPr>
          <p:cNvSpPr/>
          <p:nvPr>
            <p:custDataLst>
              <p:tags r:id="rId3"/>
            </p:custDataLst>
          </p:nvPr>
        </p:nvSpPr>
        <p:spPr>
          <a:xfrm>
            <a:off x="7960804" y="1705108"/>
            <a:ext cx="407900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redikce – scénáře modelu SEIRV:</a:t>
            </a:r>
          </a:p>
        </p:txBody>
      </p:sp>
      <p:sp>
        <p:nvSpPr>
          <p:cNvPr id="30" name="TextovéPole 25">
            <a:extLst>
              <a:ext uri="{FF2B5EF4-FFF2-40B4-BE49-F238E27FC236}">
                <a16:creationId xmlns:a16="http://schemas.microsoft.com/office/drawing/2014/main" id="{D844A8BE-0FAF-4DC9-8D9D-8DA0ECDE9D01}"/>
              </a:ext>
            </a:extLst>
          </p:cNvPr>
          <p:cNvSpPr txBox="1"/>
          <p:nvPr>
            <p:custDataLst>
              <p:tags r:id="rId4"/>
            </p:custDataLst>
          </p:nvPr>
        </p:nvSpPr>
        <p:spPr>
          <a:xfrm>
            <a:off x="8328585" y="5394356"/>
            <a:ext cx="3899632" cy="7017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Model simulující situaci s pouze částečným navýšením základní reprodukce viru, spojeným s nárůstem rizikových kontaktů během Vánoc. Umělá simulace možného „dozvuku“ vlny spojené s variantou Delta, bez významného vstupu varianty Omikron. </a:t>
            </a:r>
          </a:p>
        </p:txBody>
      </p:sp>
      <p:sp>
        <p:nvSpPr>
          <p:cNvPr id="33" name="TextovéPole 29">
            <a:extLst>
              <a:ext uri="{FF2B5EF4-FFF2-40B4-BE49-F238E27FC236}">
                <a16:creationId xmlns:a16="http://schemas.microsoft.com/office/drawing/2014/main" id="{3243BCE4-7169-48B7-A369-F2B3C3AEFBDF}"/>
              </a:ext>
            </a:extLst>
          </p:cNvPr>
          <p:cNvSpPr txBox="1"/>
          <p:nvPr>
            <p:custDataLst>
              <p:tags r:id="rId5"/>
            </p:custDataLst>
          </p:nvPr>
        </p:nvSpPr>
        <p:spPr>
          <a:xfrm>
            <a:off x="8544736" y="2392646"/>
            <a:ext cx="372208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00FF"/>
                </a:solidFill>
                <a:effectLst/>
                <a:uLnTx/>
                <a:uFillTx/>
                <a:latin typeface="Calibri" panose="020F0502020204030204"/>
                <a:ea typeface="+mn-ea"/>
                <a:cs typeface="+mn-cs"/>
              </a:rPr>
              <a:t>Základní výstup simulačního modelu: scénář 1 (realistický):</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00FF"/>
                </a:solidFill>
                <a:effectLst/>
                <a:uLnTx/>
                <a:uFillTx/>
                <a:latin typeface="Calibri" panose="020F0502020204030204"/>
                <a:ea typeface="+mn-ea"/>
                <a:cs typeface="+mn-cs"/>
              </a:rPr>
              <a:t> horní hranice spolehlivosti predikce</a:t>
            </a:r>
          </a:p>
        </p:txBody>
      </p:sp>
      <p:sp>
        <p:nvSpPr>
          <p:cNvPr id="34" name="TextovéPole 30">
            <a:extLst>
              <a:ext uri="{FF2B5EF4-FFF2-40B4-BE49-F238E27FC236}">
                <a16:creationId xmlns:a16="http://schemas.microsoft.com/office/drawing/2014/main" id="{C7932C5E-EA19-4438-A7AE-4979A0E052A4}"/>
              </a:ext>
            </a:extLst>
          </p:cNvPr>
          <p:cNvSpPr txBox="1"/>
          <p:nvPr>
            <p:custDataLst>
              <p:tags r:id="rId6"/>
            </p:custDataLst>
          </p:nvPr>
        </p:nvSpPr>
        <p:spPr>
          <a:xfrm>
            <a:off x="8544737" y="4978838"/>
            <a:ext cx="338607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FF9900"/>
                </a:solidFill>
                <a:effectLst/>
                <a:uLnTx/>
                <a:uFillTx/>
                <a:latin typeface="Calibri" panose="020F0502020204030204"/>
                <a:ea typeface="+mn-ea"/>
                <a:cs typeface="+mn-cs"/>
              </a:rPr>
              <a:t>Základní výstup simulačního modelu: scénář 0 </a:t>
            </a:r>
            <a:r>
              <a:rPr kumimoji="0" lang="en-US" sz="1100" b="1" i="0" u="none" strike="noStrike" kern="1200" cap="none" spc="0" normalizeH="0" baseline="0" noProof="0" dirty="0">
                <a:ln>
                  <a:noFill/>
                </a:ln>
                <a:solidFill>
                  <a:srgbClr val="FF9900"/>
                </a:solidFill>
                <a:effectLst/>
                <a:uLnTx/>
                <a:uFillTx/>
                <a:latin typeface="Calibri" panose="020F0502020204030204"/>
                <a:ea typeface="+mn-ea"/>
                <a:cs typeface="+mn-cs"/>
              </a:rPr>
              <a:t>(</a:t>
            </a:r>
            <a:r>
              <a:rPr kumimoji="0" lang="en-US" sz="1100" b="1" i="0" u="none" strike="noStrike" kern="1200" cap="none" spc="0" normalizeH="0" baseline="0" noProof="0" dirty="0" err="1">
                <a:ln>
                  <a:noFill/>
                </a:ln>
                <a:solidFill>
                  <a:srgbClr val="FF9900"/>
                </a:solidFill>
                <a:effectLst/>
                <a:uLnTx/>
                <a:uFillTx/>
                <a:latin typeface="Calibri" panose="020F0502020204030204"/>
                <a:ea typeface="+mn-ea"/>
                <a:cs typeface="+mn-cs"/>
              </a:rPr>
              <a:t>baz</a:t>
            </a:r>
            <a:r>
              <a:rPr kumimoji="0" lang="cs-CZ" sz="1100" b="1" i="0" u="none" strike="noStrike" kern="1200" cap="none" spc="0" normalizeH="0" baseline="0" noProof="0" dirty="0" err="1">
                <a:ln>
                  <a:noFill/>
                </a:ln>
                <a:solidFill>
                  <a:srgbClr val="FF9900"/>
                </a:solidFill>
                <a:effectLst/>
                <a:uLnTx/>
                <a:uFillTx/>
                <a:latin typeface="Calibri" panose="020F0502020204030204"/>
                <a:ea typeface="+mn-ea"/>
                <a:cs typeface="+mn-cs"/>
              </a:rPr>
              <a:t>ální</a:t>
            </a:r>
            <a:r>
              <a:rPr kumimoji="0" lang="cs-CZ" sz="1100" b="1" i="0" u="none" strike="noStrike" kern="1200" cap="none" spc="0" normalizeH="0" baseline="0" noProof="0" dirty="0">
                <a:ln>
                  <a:noFill/>
                </a:ln>
                <a:solidFill>
                  <a:srgbClr val="FF9900"/>
                </a:solidFill>
                <a:effectLst/>
                <a:uLnTx/>
                <a:uFillTx/>
                <a:latin typeface="Calibri" panose="020F0502020204030204"/>
                <a:ea typeface="+mn-ea"/>
                <a:cs typeface="+mn-cs"/>
              </a:rPr>
              <a:t>) -  bez eskalace rizika</a:t>
            </a:r>
          </a:p>
        </p:txBody>
      </p:sp>
      <p:cxnSp>
        <p:nvCxnSpPr>
          <p:cNvPr id="35" name="Přímá spojnice 32">
            <a:extLst>
              <a:ext uri="{FF2B5EF4-FFF2-40B4-BE49-F238E27FC236}">
                <a16:creationId xmlns:a16="http://schemas.microsoft.com/office/drawing/2014/main" id="{C5BC5111-45B1-4105-9B11-69BFA82CECEA}"/>
              </a:ext>
            </a:extLst>
          </p:cNvPr>
          <p:cNvCxnSpPr>
            <a:cxnSpLocks/>
          </p:cNvCxnSpPr>
          <p:nvPr>
            <p:custDataLst>
              <p:tags r:id="rId7"/>
            </p:custDataLst>
          </p:nvPr>
        </p:nvCxnSpPr>
        <p:spPr>
          <a:xfrm>
            <a:off x="8083495" y="2552457"/>
            <a:ext cx="432000" cy="0"/>
          </a:xfrm>
          <a:prstGeom prst="line">
            <a:avLst/>
          </a:prstGeom>
          <a:ln w="38100">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36" name="Přímá spojnice 33">
            <a:extLst>
              <a:ext uri="{FF2B5EF4-FFF2-40B4-BE49-F238E27FC236}">
                <a16:creationId xmlns:a16="http://schemas.microsoft.com/office/drawing/2014/main" id="{82D35DC4-379E-4783-9592-CAAA999EFEF8}"/>
              </a:ext>
            </a:extLst>
          </p:cNvPr>
          <p:cNvCxnSpPr>
            <a:cxnSpLocks/>
          </p:cNvCxnSpPr>
          <p:nvPr>
            <p:custDataLst>
              <p:tags r:id="rId8"/>
            </p:custDataLst>
          </p:nvPr>
        </p:nvCxnSpPr>
        <p:spPr>
          <a:xfrm>
            <a:off x="8073767" y="5094273"/>
            <a:ext cx="432000" cy="0"/>
          </a:xfrm>
          <a:prstGeom prst="line">
            <a:avLst/>
          </a:prstGeom>
          <a:ln w="38100">
            <a:solidFill>
              <a:srgbClr val="FF9900"/>
            </a:solidFill>
            <a:prstDash val="solid"/>
          </a:ln>
        </p:spPr>
        <p:style>
          <a:lnRef idx="1">
            <a:schemeClr val="accent1"/>
          </a:lnRef>
          <a:fillRef idx="0">
            <a:schemeClr val="accent1"/>
          </a:fillRef>
          <a:effectRef idx="0">
            <a:schemeClr val="accent1"/>
          </a:effectRef>
          <a:fontRef idx="minor">
            <a:schemeClr val="tx1"/>
          </a:fontRef>
        </p:style>
      </p:cxnSp>
      <p:sp>
        <p:nvSpPr>
          <p:cNvPr id="38" name="TextovéPole 25">
            <a:extLst>
              <a:ext uri="{FF2B5EF4-FFF2-40B4-BE49-F238E27FC236}">
                <a16:creationId xmlns:a16="http://schemas.microsoft.com/office/drawing/2014/main" id="{186CA131-ED3D-4FDF-858B-448F237408EF}"/>
              </a:ext>
            </a:extLst>
          </p:cNvPr>
          <p:cNvSpPr txBox="1"/>
          <p:nvPr>
            <p:custDataLst>
              <p:tags r:id="rId9"/>
            </p:custDataLst>
          </p:nvPr>
        </p:nvSpPr>
        <p:spPr>
          <a:xfrm>
            <a:off x="8349507" y="3496526"/>
            <a:ext cx="3899632" cy="1311128"/>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Model simulující situaci s navýšením základní reprodukce viru o 100% (realistický scénář), spojeno s předpokladem počtu rizikových kontaktů v populaci bez redukce. Předpoklady kalkulují pouze s nákazou pravděpodobně primárně citlivé populace, tedy osob bez jakékoli imunitní ochrany (nákaza, vakcinace) v uplynulých 6 měsících: cca 3 mil. osob, z toho 300 – 400tis. zdravotně zranitelných. Výstup dokládá potenciál </a:t>
            </a:r>
            <a:r>
              <a:rPr kumimoji="0" lang="cs-CZ" sz="1100" b="0" i="1" u="none" strike="noStrike" kern="0" cap="none" spc="0" normalizeH="0" baseline="0" noProof="0" dirty="0" err="1">
                <a:ln>
                  <a:noFill/>
                </a:ln>
                <a:solidFill>
                  <a:prstClr val="black"/>
                </a:solidFill>
                <a:effectLst/>
                <a:uLnTx/>
                <a:uFillTx/>
                <a:latin typeface="Calibri" panose="020F0502020204030204"/>
                <a:ea typeface="+mn-ea"/>
                <a:cs typeface="+mn-cs"/>
              </a:rPr>
              <a:t>Omicronu</a:t>
            </a: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 dosáhnout minimálně stejné zátěže populace jako varianta Delta. </a:t>
            </a:r>
          </a:p>
        </p:txBody>
      </p:sp>
      <p:sp>
        <p:nvSpPr>
          <p:cNvPr id="39" name="TextovéPole 29">
            <a:extLst>
              <a:ext uri="{FF2B5EF4-FFF2-40B4-BE49-F238E27FC236}">
                <a16:creationId xmlns:a16="http://schemas.microsoft.com/office/drawing/2014/main" id="{E9AFC37D-128B-4D7C-BF58-B43404853B71}"/>
              </a:ext>
            </a:extLst>
          </p:cNvPr>
          <p:cNvSpPr txBox="1"/>
          <p:nvPr>
            <p:custDataLst>
              <p:tags r:id="rId10"/>
            </p:custDataLst>
          </p:nvPr>
        </p:nvSpPr>
        <p:spPr>
          <a:xfrm>
            <a:off x="8515495" y="2915598"/>
            <a:ext cx="356765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6600"/>
                </a:solidFill>
                <a:effectLst/>
                <a:uLnTx/>
                <a:uFillTx/>
                <a:latin typeface="Calibri" panose="020F0502020204030204"/>
                <a:ea typeface="+mn-ea"/>
                <a:cs typeface="+mn-cs"/>
              </a:rPr>
              <a:t>Základní výstup simulačního modelu: scénář 1 (realistický)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6600"/>
                </a:solidFill>
                <a:effectLst/>
                <a:uLnTx/>
                <a:uFillTx/>
                <a:latin typeface="Calibri" panose="020F0502020204030204"/>
                <a:ea typeface="+mn-ea"/>
                <a:cs typeface="+mn-cs"/>
              </a:rPr>
              <a:t>– spodní hranice spolehlivosti predikce</a:t>
            </a:r>
          </a:p>
        </p:txBody>
      </p:sp>
      <p:cxnSp>
        <p:nvCxnSpPr>
          <p:cNvPr id="40" name="Přímá spojnice 32">
            <a:extLst>
              <a:ext uri="{FF2B5EF4-FFF2-40B4-BE49-F238E27FC236}">
                <a16:creationId xmlns:a16="http://schemas.microsoft.com/office/drawing/2014/main" id="{F1CB6AA2-8EB8-4E03-BDAE-A4EB49E390D3}"/>
              </a:ext>
            </a:extLst>
          </p:cNvPr>
          <p:cNvCxnSpPr>
            <a:cxnSpLocks/>
          </p:cNvCxnSpPr>
          <p:nvPr>
            <p:custDataLst>
              <p:tags r:id="rId11"/>
            </p:custDataLst>
          </p:nvPr>
        </p:nvCxnSpPr>
        <p:spPr>
          <a:xfrm>
            <a:off x="8083495" y="3075409"/>
            <a:ext cx="432000" cy="0"/>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4" name="Přímá spojnice se šipkou 3">
            <a:extLst>
              <a:ext uri="{FF2B5EF4-FFF2-40B4-BE49-F238E27FC236}">
                <a16:creationId xmlns:a16="http://schemas.microsoft.com/office/drawing/2014/main" id="{C386D0BA-BEB2-422F-B20C-11AF296D0BF3}"/>
              </a:ext>
            </a:extLst>
          </p:cNvPr>
          <p:cNvCxnSpPr/>
          <p:nvPr/>
        </p:nvCxnSpPr>
        <p:spPr>
          <a:xfrm flipH="1">
            <a:off x="1174902" y="4807654"/>
            <a:ext cx="4760948"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92385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custDataLst>
              <p:tags r:id="rId1"/>
            </p:custDataLst>
          </p:nvPr>
        </p:nvSpPr>
        <p:spPr>
          <a:xfrm>
            <a:off x="381739" y="2"/>
            <a:ext cx="9337041" cy="576000"/>
          </a:xfrm>
        </p:spPr>
        <p:txBody>
          <a:bodyPr/>
          <a:lstStyle/>
          <a:p>
            <a:r>
              <a:rPr lang="cs-CZ" dirty="0">
                <a:latin typeface="+mn-lt"/>
              </a:rPr>
              <a:t>Predikovaný celkový počet </a:t>
            </a:r>
            <a:r>
              <a:rPr lang="cs-CZ" u="sng" dirty="0">
                <a:latin typeface="+mn-lt"/>
              </a:rPr>
              <a:t>aktuálně hospitalizovaných</a:t>
            </a:r>
            <a:endParaRPr lang="cs-CZ" dirty="0">
              <a:latin typeface="+mn-lt"/>
            </a:endParaRPr>
          </a:p>
        </p:txBody>
      </p:sp>
      <p:graphicFrame>
        <p:nvGraphicFramePr>
          <p:cNvPr id="4" name="Chart 3">
            <a:extLst>
              <a:ext uri="{FF2B5EF4-FFF2-40B4-BE49-F238E27FC236}">
                <a16:creationId xmlns:a16="http://schemas.microsoft.com/office/drawing/2014/main" id="{4881953E-570E-4182-9AFA-D9A699C6849D}"/>
              </a:ext>
            </a:extLst>
          </p:cNvPr>
          <p:cNvGraphicFramePr/>
          <p:nvPr>
            <p:custDataLst>
              <p:tags r:id="rId2"/>
            </p:custDataLst>
          </p:nvPr>
        </p:nvGraphicFramePr>
        <p:xfrm>
          <a:off x="488124" y="723656"/>
          <a:ext cx="7581678" cy="5418667"/>
        </p:xfrm>
        <a:graphic>
          <a:graphicData uri="http://schemas.openxmlformats.org/drawingml/2006/chart">
            <c:chart xmlns:c="http://schemas.openxmlformats.org/drawingml/2006/chart" xmlns:r="http://schemas.openxmlformats.org/officeDocument/2006/relationships" r:id="rId14"/>
          </a:graphicData>
        </a:graphic>
      </p:graphicFrame>
      <p:sp>
        <p:nvSpPr>
          <p:cNvPr id="23" name="Rectangle 22">
            <a:extLst>
              <a:ext uri="{FF2B5EF4-FFF2-40B4-BE49-F238E27FC236}">
                <a16:creationId xmlns:a16="http://schemas.microsoft.com/office/drawing/2014/main" id="{830D37DF-B158-4FF6-B3AF-9F71D8756D6C}"/>
              </a:ext>
            </a:extLst>
          </p:cNvPr>
          <p:cNvSpPr/>
          <p:nvPr>
            <p:custDataLst>
              <p:tags r:id="rId3"/>
            </p:custDataLst>
          </p:nvPr>
        </p:nvSpPr>
        <p:spPr>
          <a:xfrm rot="16200000">
            <a:off x="-1533651" y="3049018"/>
            <a:ext cx="359585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Počet aktuálně hospitalizovaných</a:t>
            </a:r>
          </a:p>
        </p:txBody>
      </p:sp>
      <p:sp>
        <p:nvSpPr>
          <p:cNvPr id="24" name="TextovéPole 24">
            <a:extLst>
              <a:ext uri="{FF2B5EF4-FFF2-40B4-BE49-F238E27FC236}">
                <a16:creationId xmlns:a16="http://schemas.microsoft.com/office/drawing/2014/main" id="{356AD256-F024-4D63-9373-F3FB5E040A66}"/>
              </a:ext>
            </a:extLst>
          </p:cNvPr>
          <p:cNvSpPr txBox="1"/>
          <p:nvPr/>
        </p:nvSpPr>
        <p:spPr>
          <a:xfrm>
            <a:off x="13190" y="6079447"/>
            <a:ext cx="818433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Snímek prezentuje výsledky simulace prostřednictvím epidemiologického modelu, který slouží ke zkoumání dopadů změn různých parametrů epidemie. Vzhledem k objektivně daným neurčitostem ve struktuře modelu (například limitované znalosti o skutečné vnímavosti populace k viru a jeho novým variantám) je nezbytné výsledky brát jako orientační, umožňující pouze porovnání jednotlivých scénářů, nikoliv jako konkrétní předpověď pro určité období. </a:t>
            </a:r>
          </a:p>
        </p:txBody>
      </p:sp>
      <p:sp>
        <p:nvSpPr>
          <p:cNvPr id="32" name="TextovéPole 31">
            <a:extLst>
              <a:ext uri="{FF2B5EF4-FFF2-40B4-BE49-F238E27FC236}">
                <a16:creationId xmlns:a16="http://schemas.microsoft.com/office/drawing/2014/main" id="{A9853470-E9C5-4506-A1B7-054ED0CDD7E7}"/>
              </a:ext>
            </a:extLst>
          </p:cNvPr>
          <p:cNvSpPr txBox="1"/>
          <p:nvPr/>
        </p:nvSpPr>
        <p:spPr>
          <a:xfrm>
            <a:off x="1237406" y="757767"/>
            <a:ext cx="1080240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FF0000"/>
                </a:solidFill>
                <a:effectLst/>
                <a:uLnTx/>
                <a:uFillTx/>
                <a:latin typeface="Calibri" panose="020F0502020204030204"/>
                <a:ea typeface="+mn-ea"/>
                <a:cs typeface="+mn-cs"/>
              </a:rPr>
              <a:t>Vysoce rizikový scénář pro populační predikce počtu nakažených (scénář 2) není v modelech hospitalizací promítnut, protože tento kalkuluj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FF0000"/>
                </a:solidFill>
                <a:effectLst/>
                <a:uLnTx/>
                <a:uFillTx/>
                <a:latin typeface="Calibri" panose="020F0502020204030204"/>
                <a:ea typeface="+mn-ea"/>
                <a:cs typeface="+mn-cs"/>
              </a:rPr>
              <a:t>s nákazou primárně citlivých osob a dále s průlomovými nákazami u očkovaných osob a  v populaci s prodělaným onemocnění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FF0000"/>
                </a:solidFill>
                <a:effectLst/>
                <a:uLnTx/>
                <a:uFillTx/>
                <a:latin typeface="Calibri" panose="020F0502020204030204"/>
                <a:ea typeface="+mn-ea"/>
                <a:cs typeface="+mn-cs"/>
              </a:rPr>
              <a:t>Tito nakažení by však dle dostupných dat měli být významně chráněni před těžkým průběhem onemocnění. </a:t>
            </a:r>
            <a:endPar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3" name="Rectangle 4">
            <a:extLst>
              <a:ext uri="{FF2B5EF4-FFF2-40B4-BE49-F238E27FC236}">
                <a16:creationId xmlns:a16="http://schemas.microsoft.com/office/drawing/2014/main" id="{FF715CD6-F15A-4F00-AF1C-2ABF83B90704}"/>
              </a:ext>
            </a:extLst>
          </p:cNvPr>
          <p:cNvSpPr/>
          <p:nvPr>
            <p:custDataLst>
              <p:tags r:id="rId4"/>
            </p:custDataLst>
          </p:nvPr>
        </p:nvSpPr>
        <p:spPr>
          <a:xfrm>
            <a:off x="7960804" y="1705108"/>
            <a:ext cx="407900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redikce – scénáře modelu SEIRV:</a:t>
            </a:r>
          </a:p>
        </p:txBody>
      </p:sp>
      <p:sp>
        <p:nvSpPr>
          <p:cNvPr id="34" name="TextovéPole 25">
            <a:extLst>
              <a:ext uri="{FF2B5EF4-FFF2-40B4-BE49-F238E27FC236}">
                <a16:creationId xmlns:a16="http://schemas.microsoft.com/office/drawing/2014/main" id="{53BE902C-F84D-406F-8132-87A986D6C2DA}"/>
              </a:ext>
            </a:extLst>
          </p:cNvPr>
          <p:cNvSpPr txBox="1"/>
          <p:nvPr>
            <p:custDataLst>
              <p:tags r:id="rId5"/>
            </p:custDataLst>
          </p:nvPr>
        </p:nvSpPr>
        <p:spPr>
          <a:xfrm>
            <a:off x="8328585" y="5394356"/>
            <a:ext cx="3899632" cy="7017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Model simulující situaci s pouze částečným navýšením základní reprodukce viru, spojeným s nárůstem rizikových kontaktů během Vánoc. Umělá simulace možného „dozvuku“ vlny spojené s variantou Delta, bez významného vstupu varianty Omikron. </a:t>
            </a:r>
          </a:p>
        </p:txBody>
      </p:sp>
      <p:sp>
        <p:nvSpPr>
          <p:cNvPr id="35" name="TextovéPole 29">
            <a:extLst>
              <a:ext uri="{FF2B5EF4-FFF2-40B4-BE49-F238E27FC236}">
                <a16:creationId xmlns:a16="http://schemas.microsoft.com/office/drawing/2014/main" id="{01D34165-77EB-4500-8C30-E824230CDAE2}"/>
              </a:ext>
            </a:extLst>
          </p:cNvPr>
          <p:cNvSpPr txBox="1"/>
          <p:nvPr>
            <p:custDataLst>
              <p:tags r:id="rId6"/>
            </p:custDataLst>
          </p:nvPr>
        </p:nvSpPr>
        <p:spPr>
          <a:xfrm>
            <a:off x="8544736" y="2392646"/>
            <a:ext cx="372208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00FF"/>
                </a:solidFill>
                <a:effectLst/>
                <a:uLnTx/>
                <a:uFillTx/>
                <a:latin typeface="Calibri" panose="020F0502020204030204"/>
                <a:ea typeface="+mn-ea"/>
                <a:cs typeface="+mn-cs"/>
              </a:rPr>
              <a:t>Základní výstup simulačního modelu: scénář 1 (realistický):</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00FF"/>
                </a:solidFill>
                <a:effectLst/>
                <a:uLnTx/>
                <a:uFillTx/>
                <a:latin typeface="Calibri" panose="020F0502020204030204"/>
                <a:ea typeface="+mn-ea"/>
                <a:cs typeface="+mn-cs"/>
              </a:rPr>
              <a:t> horní hranice spolehlivosti predikce</a:t>
            </a:r>
          </a:p>
        </p:txBody>
      </p:sp>
      <p:sp>
        <p:nvSpPr>
          <p:cNvPr id="36" name="TextovéPole 30">
            <a:extLst>
              <a:ext uri="{FF2B5EF4-FFF2-40B4-BE49-F238E27FC236}">
                <a16:creationId xmlns:a16="http://schemas.microsoft.com/office/drawing/2014/main" id="{960C2E43-C8F8-430A-84EA-F4FE4F2C887D}"/>
              </a:ext>
            </a:extLst>
          </p:cNvPr>
          <p:cNvSpPr txBox="1"/>
          <p:nvPr>
            <p:custDataLst>
              <p:tags r:id="rId7"/>
            </p:custDataLst>
          </p:nvPr>
        </p:nvSpPr>
        <p:spPr>
          <a:xfrm>
            <a:off x="8544737" y="4978838"/>
            <a:ext cx="338607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FF9900"/>
                </a:solidFill>
                <a:effectLst/>
                <a:uLnTx/>
                <a:uFillTx/>
                <a:latin typeface="Calibri" panose="020F0502020204030204"/>
                <a:ea typeface="+mn-ea"/>
                <a:cs typeface="+mn-cs"/>
              </a:rPr>
              <a:t>Základní výstup simulačního modelu: scénář 0 </a:t>
            </a:r>
            <a:r>
              <a:rPr kumimoji="0" lang="en-US" sz="1100" b="1" i="0" u="none" strike="noStrike" kern="1200" cap="none" spc="0" normalizeH="0" baseline="0" noProof="0" dirty="0">
                <a:ln>
                  <a:noFill/>
                </a:ln>
                <a:solidFill>
                  <a:srgbClr val="FF9900"/>
                </a:solidFill>
                <a:effectLst/>
                <a:uLnTx/>
                <a:uFillTx/>
                <a:latin typeface="Calibri" panose="020F0502020204030204"/>
                <a:ea typeface="+mn-ea"/>
                <a:cs typeface="+mn-cs"/>
              </a:rPr>
              <a:t>(</a:t>
            </a:r>
            <a:r>
              <a:rPr kumimoji="0" lang="en-US" sz="1100" b="1" i="0" u="none" strike="noStrike" kern="1200" cap="none" spc="0" normalizeH="0" baseline="0" noProof="0" dirty="0" err="1">
                <a:ln>
                  <a:noFill/>
                </a:ln>
                <a:solidFill>
                  <a:srgbClr val="FF9900"/>
                </a:solidFill>
                <a:effectLst/>
                <a:uLnTx/>
                <a:uFillTx/>
                <a:latin typeface="Calibri" panose="020F0502020204030204"/>
                <a:ea typeface="+mn-ea"/>
                <a:cs typeface="+mn-cs"/>
              </a:rPr>
              <a:t>baz</a:t>
            </a:r>
            <a:r>
              <a:rPr kumimoji="0" lang="cs-CZ" sz="1100" b="1" i="0" u="none" strike="noStrike" kern="1200" cap="none" spc="0" normalizeH="0" baseline="0" noProof="0" dirty="0" err="1">
                <a:ln>
                  <a:noFill/>
                </a:ln>
                <a:solidFill>
                  <a:srgbClr val="FF9900"/>
                </a:solidFill>
                <a:effectLst/>
                <a:uLnTx/>
                <a:uFillTx/>
                <a:latin typeface="Calibri" panose="020F0502020204030204"/>
                <a:ea typeface="+mn-ea"/>
                <a:cs typeface="+mn-cs"/>
              </a:rPr>
              <a:t>ální</a:t>
            </a:r>
            <a:r>
              <a:rPr kumimoji="0" lang="cs-CZ" sz="1100" b="1" i="0" u="none" strike="noStrike" kern="1200" cap="none" spc="0" normalizeH="0" baseline="0" noProof="0" dirty="0">
                <a:ln>
                  <a:noFill/>
                </a:ln>
                <a:solidFill>
                  <a:srgbClr val="FF9900"/>
                </a:solidFill>
                <a:effectLst/>
                <a:uLnTx/>
                <a:uFillTx/>
                <a:latin typeface="Calibri" panose="020F0502020204030204"/>
                <a:ea typeface="+mn-ea"/>
                <a:cs typeface="+mn-cs"/>
              </a:rPr>
              <a:t>) -  bez eskalace rizika</a:t>
            </a:r>
          </a:p>
        </p:txBody>
      </p:sp>
      <p:cxnSp>
        <p:nvCxnSpPr>
          <p:cNvPr id="37" name="Přímá spojnice 32">
            <a:extLst>
              <a:ext uri="{FF2B5EF4-FFF2-40B4-BE49-F238E27FC236}">
                <a16:creationId xmlns:a16="http://schemas.microsoft.com/office/drawing/2014/main" id="{BD322ECC-6180-4C55-A9FA-85282104E959}"/>
              </a:ext>
            </a:extLst>
          </p:cNvPr>
          <p:cNvCxnSpPr>
            <a:cxnSpLocks/>
          </p:cNvCxnSpPr>
          <p:nvPr>
            <p:custDataLst>
              <p:tags r:id="rId8"/>
            </p:custDataLst>
          </p:nvPr>
        </p:nvCxnSpPr>
        <p:spPr>
          <a:xfrm>
            <a:off x="8083495" y="2552457"/>
            <a:ext cx="432000" cy="0"/>
          </a:xfrm>
          <a:prstGeom prst="line">
            <a:avLst/>
          </a:prstGeom>
          <a:ln w="38100">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38" name="Přímá spojnice 33">
            <a:extLst>
              <a:ext uri="{FF2B5EF4-FFF2-40B4-BE49-F238E27FC236}">
                <a16:creationId xmlns:a16="http://schemas.microsoft.com/office/drawing/2014/main" id="{DF7F0474-3631-44A5-B076-409F536F4F51}"/>
              </a:ext>
            </a:extLst>
          </p:cNvPr>
          <p:cNvCxnSpPr>
            <a:cxnSpLocks/>
          </p:cNvCxnSpPr>
          <p:nvPr>
            <p:custDataLst>
              <p:tags r:id="rId9"/>
            </p:custDataLst>
          </p:nvPr>
        </p:nvCxnSpPr>
        <p:spPr>
          <a:xfrm>
            <a:off x="8073767" y="5094273"/>
            <a:ext cx="432000" cy="0"/>
          </a:xfrm>
          <a:prstGeom prst="line">
            <a:avLst/>
          </a:prstGeom>
          <a:ln w="38100">
            <a:solidFill>
              <a:srgbClr val="FF9900"/>
            </a:solidFill>
            <a:prstDash val="solid"/>
          </a:ln>
        </p:spPr>
        <p:style>
          <a:lnRef idx="1">
            <a:schemeClr val="accent1"/>
          </a:lnRef>
          <a:fillRef idx="0">
            <a:schemeClr val="accent1"/>
          </a:fillRef>
          <a:effectRef idx="0">
            <a:schemeClr val="accent1"/>
          </a:effectRef>
          <a:fontRef idx="minor">
            <a:schemeClr val="tx1"/>
          </a:fontRef>
        </p:style>
      </p:cxnSp>
      <p:sp>
        <p:nvSpPr>
          <p:cNvPr id="39" name="TextovéPole 25">
            <a:extLst>
              <a:ext uri="{FF2B5EF4-FFF2-40B4-BE49-F238E27FC236}">
                <a16:creationId xmlns:a16="http://schemas.microsoft.com/office/drawing/2014/main" id="{9FBE7CD3-A813-4D43-9B4F-A7713E28D55C}"/>
              </a:ext>
            </a:extLst>
          </p:cNvPr>
          <p:cNvSpPr txBox="1"/>
          <p:nvPr>
            <p:custDataLst>
              <p:tags r:id="rId10"/>
            </p:custDataLst>
          </p:nvPr>
        </p:nvSpPr>
        <p:spPr>
          <a:xfrm>
            <a:off x="8349507" y="3496526"/>
            <a:ext cx="3899632" cy="1311128"/>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Model simulující situaci s navýšením základní reprodukce viru o 100% (realistický scénář), spojeno s předpokladem počtu rizikových kontaktů v populaci bez redukce. Předpoklady kalkulují pouze s nákazou pravděpodobně primárně citlivé populace, tedy osob bez jakékoli imunitní ochrany (nákaza, vakcinace) v uplynulých 6 měsících: cca 3 mil. osob, z toho 300 – 400tis. zdravotně zranitelných. Výstup dokládá potenciál </a:t>
            </a:r>
            <a:r>
              <a:rPr kumimoji="0" lang="cs-CZ" sz="1100" b="0" i="1" u="none" strike="noStrike" kern="0" cap="none" spc="0" normalizeH="0" baseline="0" noProof="0" dirty="0" err="1">
                <a:ln>
                  <a:noFill/>
                </a:ln>
                <a:solidFill>
                  <a:prstClr val="black"/>
                </a:solidFill>
                <a:effectLst/>
                <a:uLnTx/>
                <a:uFillTx/>
                <a:latin typeface="Calibri" panose="020F0502020204030204"/>
                <a:ea typeface="+mn-ea"/>
                <a:cs typeface="+mn-cs"/>
              </a:rPr>
              <a:t>Omicronu</a:t>
            </a: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 dosáhnout minimálně stejné zátěže populace jako varianta Delta. </a:t>
            </a:r>
          </a:p>
        </p:txBody>
      </p:sp>
      <p:sp>
        <p:nvSpPr>
          <p:cNvPr id="40" name="TextovéPole 29">
            <a:extLst>
              <a:ext uri="{FF2B5EF4-FFF2-40B4-BE49-F238E27FC236}">
                <a16:creationId xmlns:a16="http://schemas.microsoft.com/office/drawing/2014/main" id="{9EFD3ECE-4F7E-4D2A-AE3D-CC17B82DE237}"/>
              </a:ext>
            </a:extLst>
          </p:cNvPr>
          <p:cNvSpPr txBox="1"/>
          <p:nvPr>
            <p:custDataLst>
              <p:tags r:id="rId11"/>
            </p:custDataLst>
          </p:nvPr>
        </p:nvSpPr>
        <p:spPr>
          <a:xfrm>
            <a:off x="8515495" y="2915598"/>
            <a:ext cx="356765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6600"/>
                </a:solidFill>
                <a:effectLst/>
                <a:uLnTx/>
                <a:uFillTx/>
                <a:latin typeface="Calibri" panose="020F0502020204030204"/>
                <a:ea typeface="+mn-ea"/>
                <a:cs typeface="+mn-cs"/>
              </a:rPr>
              <a:t>Základní výstup simulačního modelu: scénář 1 (realistický)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6600"/>
                </a:solidFill>
                <a:effectLst/>
                <a:uLnTx/>
                <a:uFillTx/>
                <a:latin typeface="Calibri" panose="020F0502020204030204"/>
                <a:ea typeface="+mn-ea"/>
                <a:cs typeface="+mn-cs"/>
              </a:rPr>
              <a:t>– spodní hranice spolehlivosti predikce</a:t>
            </a:r>
          </a:p>
        </p:txBody>
      </p:sp>
      <p:cxnSp>
        <p:nvCxnSpPr>
          <p:cNvPr id="41" name="Přímá spojnice 32">
            <a:extLst>
              <a:ext uri="{FF2B5EF4-FFF2-40B4-BE49-F238E27FC236}">
                <a16:creationId xmlns:a16="http://schemas.microsoft.com/office/drawing/2014/main" id="{AE3AFE3D-1543-4815-B6DE-4BA37CE2B80E}"/>
              </a:ext>
            </a:extLst>
          </p:cNvPr>
          <p:cNvCxnSpPr>
            <a:cxnSpLocks/>
          </p:cNvCxnSpPr>
          <p:nvPr>
            <p:custDataLst>
              <p:tags r:id="rId12"/>
            </p:custDataLst>
          </p:nvPr>
        </p:nvCxnSpPr>
        <p:spPr>
          <a:xfrm>
            <a:off x="8083495" y="3075409"/>
            <a:ext cx="432000" cy="0"/>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16" name="Přímá spojnice se šipkou 15">
            <a:extLst>
              <a:ext uri="{FF2B5EF4-FFF2-40B4-BE49-F238E27FC236}">
                <a16:creationId xmlns:a16="http://schemas.microsoft.com/office/drawing/2014/main" id="{126F4B5E-29EF-4CCC-A3D1-D5BD03E1F19E}"/>
              </a:ext>
            </a:extLst>
          </p:cNvPr>
          <p:cNvCxnSpPr/>
          <p:nvPr/>
        </p:nvCxnSpPr>
        <p:spPr>
          <a:xfrm flipH="1">
            <a:off x="1329882" y="4885144"/>
            <a:ext cx="4760948"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23799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nvPr>
        </p:nvSpPr>
        <p:spPr>
          <a:xfrm>
            <a:off x="381739" y="2"/>
            <a:ext cx="9337041" cy="576000"/>
          </a:xfrm>
        </p:spPr>
        <p:txBody>
          <a:bodyPr/>
          <a:lstStyle/>
          <a:p>
            <a:r>
              <a:rPr lang="cs-CZ" dirty="0">
                <a:latin typeface="+mn-lt"/>
              </a:rPr>
              <a:t>Predikovaný počet </a:t>
            </a:r>
            <a:r>
              <a:rPr lang="cs-CZ" u="sng" dirty="0">
                <a:latin typeface="+mn-lt"/>
              </a:rPr>
              <a:t>aktuálně hospitalizovaných</a:t>
            </a:r>
            <a:r>
              <a:rPr lang="en-US" u="sng" dirty="0">
                <a:latin typeface="+mn-lt"/>
              </a:rPr>
              <a:t> </a:t>
            </a:r>
            <a:r>
              <a:rPr lang="en-US" u="sng" dirty="0" err="1">
                <a:latin typeface="+mn-lt"/>
              </a:rPr>
              <a:t>na</a:t>
            </a:r>
            <a:r>
              <a:rPr lang="en-US" u="sng" dirty="0">
                <a:latin typeface="+mn-lt"/>
              </a:rPr>
              <a:t> JIP</a:t>
            </a:r>
            <a:endParaRPr lang="cs-CZ" dirty="0">
              <a:latin typeface="+mn-lt"/>
            </a:endParaRPr>
          </a:p>
        </p:txBody>
      </p:sp>
      <p:sp>
        <p:nvSpPr>
          <p:cNvPr id="23" name="Rectangle 22">
            <a:extLst>
              <a:ext uri="{FF2B5EF4-FFF2-40B4-BE49-F238E27FC236}">
                <a16:creationId xmlns:a16="http://schemas.microsoft.com/office/drawing/2014/main" id="{830D37DF-B158-4FF6-B3AF-9F71D8756D6C}"/>
              </a:ext>
            </a:extLst>
          </p:cNvPr>
          <p:cNvSpPr/>
          <p:nvPr/>
        </p:nvSpPr>
        <p:spPr>
          <a:xfrm rot="16200000">
            <a:off x="-1924783" y="3049018"/>
            <a:ext cx="437812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Počet aktuálně hospitalizovaných</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na</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JIP</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ovéPole 24">
            <a:extLst>
              <a:ext uri="{FF2B5EF4-FFF2-40B4-BE49-F238E27FC236}">
                <a16:creationId xmlns:a16="http://schemas.microsoft.com/office/drawing/2014/main" id="{356AD256-F024-4D63-9373-F3FB5E040A66}"/>
              </a:ext>
            </a:extLst>
          </p:cNvPr>
          <p:cNvSpPr txBox="1"/>
          <p:nvPr/>
        </p:nvSpPr>
        <p:spPr>
          <a:xfrm>
            <a:off x="13190" y="6079447"/>
            <a:ext cx="818433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Snímek prezentuje výsledky simulace prostřednictvím epidemiologického modelu, který slouží ke zkoumání dopadů změn různých parametrů epidemie. Vzhledem k objektivně daným neurčitostem ve struktuře modelu (například limitované znalosti o skutečné vnímavosti populace k viru a jeho novým variantám) je nezbytné výsledky brát jako orientační, umožňující pouze porovnání jednotlivých scénářů, nikoliv jako konkrétní předpověď pro určité období. </a:t>
            </a:r>
          </a:p>
        </p:txBody>
      </p:sp>
      <p:graphicFrame>
        <p:nvGraphicFramePr>
          <p:cNvPr id="17" name="Chart 16">
            <a:extLst>
              <a:ext uri="{FF2B5EF4-FFF2-40B4-BE49-F238E27FC236}">
                <a16:creationId xmlns:a16="http://schemas.microsoft.com/office/drawing/2014/main" id="{6A1A283C-4E32-4AB5-BAA8-37701DC8E705}"/>
              </a:ext>
            </a:extLst>
          </p:cNvPr>
          <p:cNvGraphicFramePr/>
          <p:nvPr>
            <p:custDataLst>
              <p:tags r:id="rId1"/>
            </p:custDataLst>
          </p:nvPr>
        </p:nvGraphicFramePr>
        <p:xfrm>
          <a:off x="488124" y="723656"/>
          <a:ext cx="7581678" cy="5418667"/>
        </p:xfrm>
        <a:graphic>
          <a:graphicData uri="http://schemas.openxmlformats.org/drawingml/2006/chart">
            <c:chart xmlns:c="http://schemas.openxmlformats.org/drawingml/2006/chart" xmlns:r="http://schemas.openxmlformats.org/officeDocument/2006/relationships" r:id="rId12"/>
          </a:graphicData>
        </a:graphic>
      </p:graphicFrame>
      <p:sp>
        <p:nvSpPr>
          <p:cNvPr id="20" name="TextovéPole 19">
            <a:extLst>
              <a:ext uri="{FF2B5EF4-FFF2-40B4-BE49-F238E27FC236}">
                <a16:creationId xmlns:a16="http://schemas.microsoft.com/office/drawing/2014/main" id="{88AD8045-9550-4B9C-83EA-CCD29FD9E53B}"/>
              </a:ext>
            </a:extLst>
          </p:cNvPr>
          <p:cNvSpPr txBox="1"/>
          <p:nvPr/>
        </p:nvSpPr>
        <p:spPr>
          <a:xfrm>
            <a:off x="1237406" y="757767"/>
            <a:ext cx="1080240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FF0000"/>
                </a:solidFill>
                <a:effectLst/>
                <a:uLnTx/>
                <a:uFillTx/>
                <a:latin typeface="Calibri" panose="020F0502020204030204"/>
                <a:ea typeface="+mn-ea"/>
                <a:cs typeface="+mn-cs"/>
              </a:rPr>
              <a:t>Vysoce rizikový scénář pro populační predikce počtu nakažených (scénář 2) není v modelech hospitalizací promítnut, protože tento kalkuluj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FF0000"/>
                </a:solidFill>
                <a:effectLst/>
                <a:uLnTx/>
                <a:uFillTx/>
                <a:latin typeface="Calibri" panose="020F0502020204030204"/>
                <a:ea typeface="+mn-ea"/>
                <a:cs typeface="+mn-cs"/>
              </a:rPr>
              <a:t>s nákazou primárně citlivých osob a dále s průlomovými nákazami u očkovaných osob a  v populaci s prodělaným onemocnění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FF0000"/>
                </a:solidFill>
                <a:effectLst/>
                <a:uLnTx/>
                <a:uFillTx/>
                <a:latin typeface="Calibri" panose="020F0502020204030204"/>
                <a:ea typeface="+mn-ea"/>
                <a:cs typeface="+mn-cs"/>
              </a:rPr>
              <a:t>Tito nakažení by však dle dostupných dat měli být významně chráněni před těžkým průběhem onemocnění. </a:t>
            </a:r>
            <a:endPar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1" name="Rectangle 4">
            <a:extLst>
              <a:ext uri="{FF2B5EF4-FFF2-40B4-BE49-F238E27FC236}">
                <a16:creationId xmlns:a16="http://schemas.microsoft.com/office/drawing/2014/main" id="{4E0DCC2B-BB4D-4E66-A4FF-78E2A1C374C1}"/>
              </a:ext>
            </a:extLst>
          </p:cNvPr>
          <p:cNvSpPr/>
          <p:nvPr>
            <p:custDataLst>
              <p:tags r:id="rId2"/>
            </p:custDataLst>
          </p:nvPr>
        </p:nvSpPr>
        <p:spPr>
          <a:xfrm>
            <a:off x="7960804" y="1705108"/>
            <a:ext cx="407900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redikce – scénáře modelu SEIRV:</a:t>
            </a:r>
          </a:p>
        </p:txBody>
      </p:sp>
      <p:sp>
        <p:nvSpPr>
          <p:cNvPr id="22" name="TextovéPole 25">
            <a:extLst>
              <a:ext uri="{FF2B5EF4-FFF2-40B4-BE49-F238E27FC236}">
                <a16:creationId xmlns:a16="http://schemas.microsoft.com/office/drawing/2014/main" id="{11C00670-E8D1-4DD1-AF8F-DFDB10F22903}"/>
              </a:ext>
            </a:extLst>
          </p:cNvPr>
          <p:cNvSpPr txBox="1"/>
          <p:nvPr>
            <p:custDataLst>
              <p:tags r:id="rId3"/>
            </p:custDataLst>
          </p:nvPr>
        </p:nvSpPr>
        <p:spPr>
          <a:xfrm>
            <a:off x="8328585" y="5394356"/>
            <a:ext cx="3899632" cy="7017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Model simulující situaci s pouze částečným navýšením základní reprodukce viru, spojeným s nárůstem rizikových kontaktů během Vánoc. Umělá simulace možného „dozvuku“ vlny spojené s variantou Delta, bez významného vstupu varianty Omikron. </a:t>
            </a:r>
          </a:p>
        </p:txBody>
      </p:sp>
      <p:sp>
        <p:nvSpPr>
          <p:cNvPr id="24" name="TextovéPole 29">
            <a:extLst>
              <a:ext uri="{FF2B5EF4-FFF2-40B4-BE49-F238E27FC236}">
                <a16:creationId xmlns:a16="http://schemas.microsoft.com/office/drawing/2014/main" id="{5B8A65E9-892E-46BF-98EA-08DE4D5AD199}"/>
              </a:ext>
            </a:extLst>
          </p:cNvPr>
          <p:cNvSpPr txBox="1"/>
          <p:nvPr>
            <p:custDataLst>
              <p:tags r:id="rId4"/>
            </p:custDataLst>
          </p:nvPr>
        </p:nvSpPr>
        <p:spPr>
          <a:xfrm>
            <a:off x="8544736" y="2392646"/>
            <a:ext cx="372208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00FF"/>
                </a:solidFill>
                <a:effectLst/>
                <a:uLnTx/>
                <a:uFillTx/>
                <a:latin typeface="Calibri" panose="020F0502020204030204"/>
                <a:ea typeface="+mn-ea"/>
                <a:cs typeface="+mn-cs"/>
              </a:rPr>
              <a:t>Základní výstup simulačního modelu: scénář 1 (realistický):</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00FF"/>
                </a:solidFill>
                <a:effectLst/>
                <a:uLnTx/>
                <a:uFillTx/>
                <a:latin typeface="Calibri" panose="020F0502020204030204"/>
                <a:ea typeface="+mn-ea"/>
                <a:cs typeface="+mn-cs"/>
              </a:rPr>
              <a:t> horní hranice spolehlivosti predikce</a:t>
            </a:r>
          </a:p>
        </p:txBody>
      </p:sp>
      <p:sp>
        <p:nvSpPr>
          <p:cNvPr id="25" name="TextovéPole 30">
            <a:extLst>
              <a:ext uri="{FF2B5EF4-FFF2-40B4-BE49-F238E27FC236}">
                <a16:creationId xmlns:a16="http://schemas.microsoft.com/office/drawing/2014/main" id="{9AF6A938-FA88-47AE-BBCC-9F19B4C1A487}"/>
              </a:ext>
            </a:extLst>
          </p:cNvPr>
          <p:cNvSpPr txBox="1"/>
          <p:nvPr>
            <p:custDataLst>
              <p:tags r:id="rId5"/>
            </p:custDataLst>
          </p:nvPr>
        </p:nvSpPr>
        <p:spPr>
          <a:xfrm>
            <a:off x="8544737" y="4978838"/>
            <a:ext cx="338607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FF9900"/>
                </a:solidFill>
                <a:effectLst/>
                <a:uLnTx/>
                <a:uFillTx/>
                <a:latin typeface="Calibri" panose="020F0502020204030204"/>
                <a:ea typeface="+mn-ea"/>
                <a:cs typeface="+mn-cs"/>
              </a:rPr>
              <a:t>Základní výstup simulačního modelu: scénář 0 </a:t>
            </a:r>
            <a:r>
              <a:rPr kumimoji="0" lang="en-US" sz="1100" b="1" i="0" u="none" strike="noStrike" kern="1200" cap="none" spc="0" normalizeH="0" baseline="0" noProof="0" dirty="0">
                <a:ln>
                  <a:noFill/>
                </a:ln>
                <a:solidFill>
                  <a:srgbClr val="FF9900"/>
                </a:solidFill>
                <a:effectLst/>
                <a:uLnTx/>
                <a:uFillTx/>
                <a:latin typeface="Calibri" panose="020F0502020204030204"/>
                <a:ea typeface="+mn-ea"/>
                <a:cs typeface="+mn-cs"/>
              </a:rPr>
              <a:t>(</a:t>
            </a:r>
            <a:r>
              <a:rPr kumimoji="0" lang="en-US" sz="1100" b="1" i="0" u="none" strike="noStrike" kern="1200" cap="none" spc="0" normalizeH="0" baseline="0" noProof="0" dirty="0" err="1">
                <a:ln>
                  <a:noFill/>
                </a:ln>
                <a:solidFill>
                  <a:srgbClr val="FF9900"/>
                </a:solidFill>
                <a:effectLst/>
                <a:uLnTx/>
                <a:uFillTx/>
                <a:latin typeface="Calibri" panose="020F0502020204030204"/>
                <a:ea typeface="+mn-ea"/>
                <a:cs typeface="+mn-cs"/>
              </a:rPr>
              <a:t>baz</a:t>
            </a:r>
            <a:r>
              <a:rPr kumimoji="0" lang="cs-CZ" sz="1100" b="1" i="0" u="none" strike="noStrike" kern="1200" cap="none" spc="0" normalizeH="0" baseline="0" noProof="0" dirty="0" err="1">
                <a:ln>
                  <a:noFill/>
                </a:ln>
                <a:solidFill>
                  <a:srgbClr val="FF9900"/>
                </a:solidFill>
                <a:effectLst/>
                <a:uLnTx/>
                <a:uFillTx/>
                <a:latin typeface="Calibri" panose="020F0502020204030204"/>
                <a:ea typeface="+mn-ea"/>
                <a:cs typeface="+mn-cs"/>
              </a:rPr>
              <a:t>ální</a:t>
            </a:r>
            <a:r>
              <a:rPr kumimoji="0" lang="cs-CZ" sz="1100" b="1" i="0" u="none" strike="noStrike" kern="1200" cap="none" spc="0" normalizeH="0" baseline="0" noProof="0" dirty="0">
                <a:ln>
                  <a:noFill/>
                </a:ln>
                <a:solidFill>
                  <a:srgbClr val="FF9900"/>
                </a:solidFill>
                <a:effectLst/>
                <a:uLnTx/>
                <a:uFillTx/>
                <a:latin typeface="Calibri" panose="020F0502020204030204"/>
                <a:ea typeface="+mn-ea"/>
                <a:cs typeface="+mn-cs"/>
              </a:rPr>
              <a:t>) -  bez eskalace rizika</a:t>
            </a:r>
          </a:p>
        </p:txBody>
      </p:sp>
      <p:cxnSp>
        <p:nvCxnSpPr>
          <p:cNvPr id="26" name="Přímá spojnice 32">
            <a:extLst>
              <a:ext uri="{FF2B5EF4-FFF2-40B4-BE49-F238E27FC236}">
                <a16:creationId xmlns:a16="http://schemas.microsoft.com/office/drawing/2014/main" id="{A88719A5-1D20-4B58-A44A-896C3F7B8E4E}"/>
              </a:ext>
            </a:extLst>
          </p:cNvPr>
          <p:cNvCxnSpPr>
            <a:cxnSpLocks/>
          </p:cNvCxnSpPr>
          <p:nvPr>
            <p:custDataLst>
              <p:tags r:id="rId6"/>
            </p:custDataLst>
          </p:nvPr>
        </p:nvCxnSpPr>
        <p:spPr>
          <a:xfrm>
            <a:off x="8083495" y="2552457"/>
            <a:ext cx="432000" cy="0"/>
          </a:xfrm>
          <a:prstGeom prst="line">
            <a:avLst/>
          </a:prstGeom>
          <a:ln w="38100">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27" name="Přímá spojnice 33">
            <a:extLst>
              <a:ext uri="{FF2B5EF4-FFF2-40B4-BE49-F238E27FC236}">
                <a16:creationId xmlns:a16="http://schemas.microsoft.com/office/drawing/2014/main" id="{0CF4C876-EE24-4F26-9EF7-46A1130D45BD}"/>
              </a:ext>
            </a:extLst>
          </p:cNvPr>
          <p:cNvCxnSpPr>
            <a:cxnSpLocks/>
          </p:cNvCxnSpPr>
          <p:nvPr>
            <p:custDataLst>
              <p:tags r:id="rId7"/>
            </p:custDataLst>
          </p:nvPr>
        </p:nvCxnSpPr>
        <p:spPr>
          <a:xfrm>
            <a:off x="8073767" y="5094273"/>
            <a:ext cx="432000" cy="0"/>
          </a:xfrm>
          <a:prstGeom prst="line">
            <a:avLst/>
          </a:prstGeom>
          <a:ln w="38100">
            <a:solidFill>
              <a:srgbClr val="FF9900"/>
            </a:solidFill>
            <a:prstDash val="solid"/>
          </a:ln>
        </p:spPr>
        <p:style>
          <a:lnRef idx="1">
            <a:schemeClr val="accent1"/>
          </a:lnRef>
          <a:fillRef idx="0">
            <a:schemeClr val="accent1"/>
          </a:fillRef>
          <a:effectRef idx="0">
            <a:schemeClr val="accent1"/>
          </a:effectRef>
          <a:fontRef idx="minor">
            <a:schemeClr val="tx1"/>
          </a:fontRef>
        </p:style>
      </p:cxnSp>
      <p:sp>
        <p:nvSpPr>
          <p:cNvPr id="28" name="TextovéPole 25">
            <a:extLst>
              <a:ext uri="{FF2B5EF4-FFF2-40B4-BE49-F238E27FC236}">
                <a16:creationId xmlns:a16="http://schemas.microsoft.com/office/drawing/2014/main" id="{30285EC7-4C0A-4EEA-893D-FF76A8D31095}"/>
              </a:ext>
            </a:extLst>
          </p:cNvPr>
          <p:cNvSpPr txBox="1"/>
          <p:nvPr>
            <p:custDataLst>
              <p:tags r:id="rId8"/>
            </p:custDataLst>
          </p:nvPr>
        </p:nvSpPr>
        <p:spPr>
          <a:xfrm>
            <a:off x="8349507" y="3496526"/>
            <a:ext cx="3899632" cy="1311128"/>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Model simulující situaci s navýšením základní reprodukce viru o 100% (realistický scénář), spojeno s předpokladem počtu rizikových kontaktů v populaci bez redukce. Předpoklady kalkulují pouze s nákazou pravděpodobně primárně citlivé populace, tedy osob bez jakékoli imunitní ochrany (nákaza, vakcinace) v uplynulých 6 měsících: cca 3 mil. osob, z toho 300 – 400tis. zdravotně zranitelných. Výstup dokládá potenciál </a:t>
            </a:r>
            <a:r>
              <a:rPr kumimoji="0" lang="cs-CZ" sz="1100" b="0" i="1" u="none" strike="noStrike" kern="0" cap="none" spc="0" normalizeH="0" baseline="0" noProof="0" dirty="0" err="1">
                <a:ln>
                  <a:noFill/>
                </a:ln>
                <a:solidFill>
                  <a:prstClr val="black"/>
                </a:solidFill>
                <a:effectLst/>
                <a:uLnTx/>
                <a:uFillTx/>
                <a:latin typeface="Calibri" panose="020F0502020204030204"/>
                <a:ea typeface="+mn-ea"/>
                <a:cs typeface="+mn-cs"/>
              </a:rPr>
              <a:t>Omicronu</a:t>
            </a:r>
            <a:r>
              <a:rPr kumimoji="0" lang="cs-CZ" sz="1100" b="0" i="1" u="none" strike="noStrike" kern="0" cap="none" spc="0" normalizeH="0" baseline="0" noProof="0" dirty="0">
                <a:ln>
                  <a:noFill/>
                </a:ln>
                <a:solidFill>
                  <a:prstClr val="black"/>
                </a:solidFill>
                <a:effectLst/>
                <a:uLnTx/>
                <a:uFillTx/>
                <a:latin typeface="Calibri" panose="020F0502020204030204"/>
                <a:ea typeface="+mn-ea"/>
                <a:cs typeface="+mn-cs"/>
              </a:rPr>
              <a:t> dosáhnout minimálně stejné zátěže populace jako varianta Delta. </a:t>
            </a:r>
          </a:p>
        </p:txBody>
      </p:sp>
      <p:sp>
        <p:nvSpPr>
          <p:cNvPr id="29" name="TextovéPole 29">
            <a:extLst>
              <a:ext uri="{FF2B5EF4-FFF2-40B4-BE49-F238E27FC236}">
                <a16:creationId xmlns:a16="http://schemas.microsoft.com/office/drawing/2014/main" id="{7B6BFF92-2358-4F45-97A8-771AA9C99EEF}"/>
              </a:ext>
            </a:extLst>
          </p:cNvPr>
          <p:cNvSpPr txBox="1"/>
          <p:nvPr>
            <p:custDataLst>
              <p:tags r:id="rId9"/>
            </p:custDataLst>
          </p:nvPr>
        </p:nvSpPr>
        <p:spPr>
          <a:xfrm>
            <a:off x="8515495" y="2915598"/>
            <a:ext cx="356765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6600"/>
                </a:solidFill>
                <a:effectLst/>
                <a:uLnTx/>
                <a:uFillTx/>
                <a:latin typeface="Calibri" panose="020F0502020204030204"/>
                <a:ea typeface="+mn-ea"/>
                <a:cs typeface="+mn-cs"/>
              </a:rPr>
              <a:t>Základní výstup simulačního modelu: scénář 1 (realistický)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6600"/>
                </a:solidFill>
                <a:effectLst/>
                <a:uLnTx/>
                <a:uFillTx/>
                <a:latin typeface="Calibri" panose="020F0502020204030204"/>
                <a:ea typeface="+mn-ea"/>
                <a:cs typeface="+mn-cs"/>
              </a:rPr>
              <a:t>– spodní hranice spolehlivosti predikce</a:t>
            </a:r>
          </a:p>
        </p:txBody>
      </p:sp>
      <p:cxnSp>
        <p:nvCxnSpPr>
          <p:cNvPr id="31" name="Přímá spojnice 32">
            <a:extLst>
              <a:ext uri="{FF2B5EF4-FFF2-40B4-BE49-F238E27FC236}">
                <a16:creationId xmlns:a16="http://schemas.microsoft.com/office/drawing/2014/main" id="{76915F51-ABB8-4AA3-9E74-FE74845AD320}"/>
              </a:ext>
            </a:extLst>
          </p:cNvPr>
          <p:cNvCxnSpPr>
            <a:cxnSpLocks/>
          </p:cNvCxnSpPr>
          <p:nvPr>
            <p:custDataLst>
              <p:tags r:id="rId10"/>
            </p:custDataLst>
          </p:nvPr>
        </p:nvCxnSpPr>
        <p:spPr>
          <a:xfrm>
            <a:off x="8083495" y="3075409"/>
            <a:ext cx="432000" cy="0"/>
          </a:xfrm>
          <a:prstGeom prst="line">
            <a:avLst/>
          </a:prstGeom>
          <a:ln w="38100">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16" name="Přímá spojnice se šipkou 15">
            <a:extLst>
              <a:ext uri="{FF2B5EF4-FFF2-40B4-BE49-F238E27FC236}">
                <a16:creationId xmlns:a16="http://schemas.microsoft.com/office/drawing/2014/main" id="{948FB95D-1ED3-46E4-8B8F-44E90CF239B3}"/>
              </a:ext>
            </a:extLst>
          </p:cNvPr>
          <p:cNvCxnSpPr/>
          <p:nvPr/>
        </p:nvCxnSpPr>
        <p:spPr>
          <a:xfrm flipH="1">
            <a:off x="1236894" y="4544183"/>
            <a:ext cx="4760948"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32727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381738" y="2"/>
            <a:ext cx="7847862" cy="576000"/>
          </a:xfrm>
        </p:spPr>
        <p:txBody>
          <a:bodyPr/>
          <a:lstStyle/>
          <a:p>
            <a:r>
              <a:rPr lang="cs-CZ" dirty="0"/>
              <a:t>Časový vývoj vybraných ukazatelů: </a:t>
            </a:r>
            <a:br>
              <a:rPr lang="cs-CZ" dirty="0"/>
            </a:br>
            <a:r>
              <a:rPr lang="cs-CZ" dirty="0"/>
              <a:t>7denní počet nových příjmů do nemocnic na 100 000 obyvatel</a:t>
            </a:r>
          </a:p>
        </p:txBody>
      </p:sp>
      <p:graphicFrame>
        <p:nvGraphicFramePr>
          <p:cNvPr id="5" name="Graf 4">
            <a:extLst>
              <a:ext uri="{FF2B5EF4-FFF2-40B4-BE49-F238E27FC236}">
                <a16:creationId xmlns:a16="http://schemas.microsoft.com/office/drawing/2014/main" id="{2B0C2A3B-15AA-4DC0-941F-58EA49FB78DC}"/>
              </a:ext>
            </a:extLst>
          </p:cNvPr>
          <p:cNvGraphicFramePr>
            <a:graphicFrameLocks/>
          </p:cNvGraphicFramePr>
          <p:nvPr>
            <p:custDataLst>
              <p:tags r:id="rId2"/>
            </p:custDataLst>
          </p:nvPr>
        </p:nvGraphicFramePr>
        <p:xfrm>
          <a:off x="209986" y="785513"/>
          <a:ext cx="11887625" cy="574112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078750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164994" y="39452"/>
            <a:ext cx="11960331" cy="576000"/>
          </a:xfrm>
        </p:spPr>
        <p:txBody>
          <a:bodyPr/>
          <a:lstStyle/>
          <a:p>
            <a:r>
              <a:rPr lang="cs-CZ" sz="2400" dirty="0"/>
              <a:t>Screeningové testy ve školách: výsledky žáků a studentů</a:t>
            </a:r>
          </a:p>
        </p:txBody>
      </p:sp>
      <p:sp>
        <p:nvSpPr>
          <p:cNvPr id="2" name="Obdélník 1">
            <a:extLst>
              <a:ext uri="{FF2B5EF4-FFF2-40B4-BE49-F238E27FC236}">
                <a16:creationId xmlns:a16="http://schemas.microsoft.com/office/drawing/2014/main" id="{2CCBB79E-923B-4EC5-B3C6-B939B80B05DD}"/>
              </a:ext>
            </a:extLst>
          </p:cNvPr>
          <p:cNvSpPr/>
          <p:nvPr/>
        </p:nvSpPr>
        <p:spPr>
          <a:xfrm>
            <a:off x="253946" y="5268437"/>
            <a:ext cx="1009442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školy mohou testovat kombinovaně PCR i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Ag</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testy, ** Definitivně potvrzené pozitivní záchyty nákazy: konfirmace PCR po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Ag</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testech a </a:t>
            </a: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mární záchyty PCR ze škol testujících PCR</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p>
        </p:txBody>
      </p:sp>
      <p:sp>
        <p:nvSpPr>
          <p:cNvPr id="7" name="TextovéPole 6">
            <a:extLst>
              <a:ext uri="{FF2B5EF4-FFF2-40B4-BE49-F238E27FC236}">
                <a16:creationId xmlns:a16="http://schemas.microsoft.com/office/drawing/2014/main" id="{18CD62E1-9306-414F-BC9A-1B926F78C028}"/>
              </a:ext>
            </a:extLst>
          </p:cNvPr>
          <p:cNvSpPr txBox="1"/>
          <p:nvPr/>
        </p:nvSpPr>
        <p:spPr>
          <a:xfrm>
            <a:off x="253946" y="943690"/>
            <a:ext cx="1178242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ZŠ</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základní školy včetně škol s vyššími vzdělávacími stupni (celkem 4 216 škol);  </a:t>
            </a: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Š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střední školy včetně škol s vyššími vzdělávacími stupni (celkem 1 113 šk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eferenční databáze celkem obsahuje údaje od 5 329 škol</a:t>
            </a:r>
          </a:p>
        </p:txBody>
      </p:sp>
      <p:sp>
        <p:nvSpPr>
          <p:cNvPr id="9" name="TextovéPole 8">
            <a:extLst>
              <a:ext uri="{FF2B5EF4-FFF2-40B4-BE49-F238E27FC236}">
                <a16:creationId xmlns:a16="http://schemas.microsoft.com/office/drawing/2014/main" id="{14969963-92AD-4D52-8AD6-E0034877A86E}"/>
              </a:ext>
            </a:extLst>
          </p:cNvPr>
          <p:cNvSpPr txBox="1"/>
          <p:nvPr/>
        </p:nvSpPr>
        <p:spPr>
          <a:xfrm>
            <a:off x="9278821" y="184921"/>
            <a:ext cx="2663301" cy="369332"/>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FFFFFF"/>
                </a:solidFill>
                <a:effectLst/>
                <a:uLnTx/>
                <a:uFillTx/>
                <a:latin typeface="Arial" panose="020B0604020202020204"/>
                <a:ea typeface="+mn-ea"/>
                <a:cs typeface="+mn-cs"/>
              </a:rPr>
              <a:t>Srovnání kol testování</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ovéPole 3">
            <a:extLst>
              <a:ext uri="{FF2B5EF4-FFF2-40B4-BE49-F238E27FC236}">
                <a16:creationId xmlns:a16="http://schemas.microsoft.com/office/drawing/2014/main" id="{D7B3B0E7-E5BA-4A59-A39D-B2C6BD601FDB}"/>
              </a:ext>
            </a:extLst>
          </p:cNvPr>
          <p:cNvSpPr txBox="1"/>
          <p:nvPr/>
        </p:nvSpPr>
        <p:spPr>
          <a:xfrm>
            <a:off x="318404" y="5749749"/>
            <a:ext cx="11555188" cy="923330"/>
          </a:xfrm>
          <a:prstGeom prst="rect">
            <a:avLst/>
          </a:prstGeom>
          <a:solidFill>
            <a:schemeClr val="accent2"/>
          </a:solidFill>
        </p:spPr>
        <p:txBody>
          <a:bodyPr wrap="square" rtlCol="0">
            <a:spAutoFit/>
          </a:bodyPr>
          <a:lstStyle/>
          <a:p>
            <a:pPr algn="ctr"/>
            <a:r>
              <a:rPr lang="cs-CZ" b="1" dirty="0">
                <a:solidFill>
                  <a:schemeClr val="bg1"/>
                </a:solidFill>
              </a:rPr>
              <a:t>Počty potvrzených nákaz žáků a studentů ZŠ i SŠ v druhém týdnu v lednu významně narostly, a to zejména na středních školách. Rostoucí prevalenci nákaz v populaci také dokládá rostoucí podíl konfirmovaných pozitivních záchytů u antigenních testů (klesá podíl falešných pozitivit u </a:t>
            </a:r>
            <a:r>
              <a:rPr lang="cs-CZ" b="1" dirty="0" err="1">
                <a:solidFill>
                  <a:schemeClr val="bg1"/>
                </a:solidFill>
              </a:rPr>
              <a:t>Ag</a:t>
            </a:r>
            <a:r>
              <a:rPr lang="cs-CZ" b="1" dirty="0">
                <a:solidFill>
                  <a:schemeClr val="bg1"/>
                </a:solidFill>
              </a:rPr>
              <a:t> testů). </a:t>
            </a:r>
            <a:endParaRPr lang="en-US" b="1" dirty="0">
              <a:solidFill>
                <a:schemeClr val="bg1"/>
              </a:solidFill>
            </a:endParaRPr>
          </a:p>
        </p:txBody>
      </p:sp>
      <p:graphicFrame>
        <p:nvGraphicFramePr>
          <p:cNvPr id="8" name="Tabulka 7">
            <a:extLst>
              <a:ext uri="{FF2B5EF4-FFF2-40B4-BE49-F238E27FC236}">
                <a16:creationId xmlns:a16="http://schemas.microsoft.com/office/drawing/2014/main" id="{FEC65CA3-9D6D-4F2A-ABBB-D2BE9DAE0A9E}"/>
              </a:ext>
            </a:extLst>
          </p:cNvPr>
          <p:cNvGraphicFramePr>
            <a:graphicFrameLocks noGrp="1"/>
          </p:cNvGraphicFramePr>
          <p:nvPr>
            <p:custDataLst>
              <p:tags r:id="rId2"/>
            </p:custDataLst>
            <p:extLst>
              <p:ext uri="{D42A27DB-BD31-4B8C-83A1-F6EECF244321}">
                <p14:modId xmlns:p14="http://schemas.microsoft.com/office/powerpoint/2010/main" val="1913070002"/>
              </p:ext>
            </p:extLst>
          </p:nvPr>
        </p:nvGraphicFramePr>
        <p:xfrm>
          <a:off x="318406" y="1405355"/>
          <a:ext cx="11555186" cy="3881634"/>
        </p:xfrm>
        <a:graphic>
          <a:graphicData uri="http://schemas.openxmlformats.org/drawingml/2006/table">
            <a:tbl>
              <a:tblPr/>
              <a:tblGrid>
                <a:gridCol w="3183466">
                  <a:extLst>
                    <a:ext uri="{9D8B030D-6E8A-4147-A177-3AD203B41FA5}">
                      <a16:colId xmlns:a16="http://schemas.microsoft.com/office/drawing/2014/main" val="3299177384"/>
                    </a:ext>
                  </a:extLst>
                </a:gridCol>
                <a:gridCol w="1046465">
                  <a:extLst>
                    <a:ext uri="{9D8B030D-6E8A-4147-A177-3AD203B41FA5}">
                      <a16:colId xmlns:a16="http://schemas.microsoft.com/office/drawing/2014/main" val="2163944013"/>
                    </a:ext>
                  </a:extLst>
                </a:gridCol>
                <a:gridCol w="1046465">
                  <a:extLst>
                    <a:ext uri="{9D8B030D-6E8A-4147-A177-3AD203B41FA5}">
                      <a16:colId xmlns:a16="http://schemas.microsoft.com/office/drawing/2014/main" val="1095221279"/>
                    </a:ext>
                  </a:extLst>
                </a:gridCol>
                <a:gridCol w="1046465">
                  <a:extLst>
                    <a:ext uri="{9D8B030D-6E8A-4147-A177-3AD203B41FA5}">
                      <a16:colId xmlns:a16="http://schemas.microsoft.com/office/drawing/2014/main" val="360896161"/>
                    </a:ext>
                  </a:extLst>
                </a:gridCol>
                <a:gridCol w="1046465">
                  <a:extLst>
                    <a:ext uri="{9D8B030D-6E8A-4147-A177-3AD203B41FA5}">
                      <a16:colId xmlns:a16="http://schemas.microsoft.com/office/drawing/2014/main" val="1683024521"/>
                    </a:ext>
                  </a:extLst>
                </a:gridCol>
                <a:gridCol w="1046465">
                  <a:extLst>
                    <a:ext uri="{9D8B030D-6E8A-4147-A177-3AD203B41FA5}">
                      <a16:colId xmlns:a16="http://schemas.microsoft.com/office/drawing/2014/main" val="235073149"/>
                    </a:ext>
                  </a:extLst>
                </a:gridCol>
                <a:gridCol w="1046465">
                  <a:extLst>
                    <a:ext uri="{9D8B030D-6E8A-4147-A177-3AD203B41FA5}">
                      <a16:colId xmlns:a16="http://schemas.microsoft.com/office/drawing/2014/main" val="2595701267"/>
                    </a:ext>
                  </a:extLst>
                </a:gridCol>
                <a:gridCol w="1046465">
                  <a:extLst>
                    <a:ext uri="{9D8B030D-6E8A-4147-A177-3AD203B41FA5}">
                      <a16:colId xmlns:a16="http://schemas.microsoft.com/office/drawing/2014/main" val="2442969910"/>
                    </a:ext>
                  </a:extLst>
                </a:gridCol>
                <a:gridCol w="1046465">
                  <a:extLst>
                    <a:ext uri="{9D8B030D-6E8A-4147-A177-3AD203B41FA5}">
                      <a16:colId xmlns:a16="http://schemas.microsoft.com/office/drawing/2014/main" val="4209820186"/>
                    </a:ext>
                  </a:extLst>
                </a:gridCol>
              </a:tblGrid>
              <a:tr h="334453">
                <a:tc rowSpan="2">
                  <a:txBody>
                    <a:bodyPr/>
                    <a:lstStyle/>
                    <a:p>
                      <a:pPr algn="l" fontAlgn="b"/>
                      <a:r>
                        <a:rPr lang="cs-CZ" sz="1400" b="1" i="0" u="none" strike="noStrike" dirty="0">
                          <a:solidFill>
                            <a:srgbClr val="0000FF"/>
                          </a:solidFill>
                          <a:effectLst/>
                          <a:latin typeface="Calibri" panose="020F0502020204030204" pitchFamily="34" charset="0"/>
                        </a:rPr>
                        <a:t>Parametry srovnávající kola testování </a:t>
                      </a:r>
                    </a:p>
                    <a:p>
                      <a:pPr algn="l" fontAlgn="b"/>
                      <a:r>
                        <a:rPr lang="cs-CZ" sz="1400" b="0" i="0" u="none" strike="noStrike" dirty="0">
                          <a:solidFill>
                            <a:srgbClr val="000000"/>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grid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Calibri" panose="020F0502020204030204" pitchFamily="34" charset="0"/>
                        </a:rPr>
                        <a:t>ZŠ</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tc hMerge="1">
                  <a:txBody>
                    <a:bodyPr/>
                    <a:lstStyle/>
                    <a:p>
                      <a:endParaRPr lang="cs-CZ"/>
                    </a:p>
                  </a:txBody>
                  <a:tcPr/>
                </a:tc>
                <a:tc grid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Calibri" panose="020F0502020204030204" pitchFamily="34" charset="0"/>
                        </a:rPr>
                        <a:t>SŠ</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322645024"/>
                  </a:ext>
                </a:extLst>
              </a:tr>
              <a:tr h="326249">
                <a:tc vMerge="1">
                  <a:txBody>
                    <a:bodyPr/>
                    <a:lstStyle/>
                    <a:p>
                      <a:pPr algn="l" fontAlgn="b"/>
                      <a:r>
                        <a:rPr lang="cs-CZ" sz="1400" b="0" i="0" u="none" strike="noStrike" dirty="0">
                          <a:solidFill>
                            <a:srgbClr val="000000"/>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6.1.</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10.1.</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13.1.</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6.1.</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10.1.</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13.1.</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3000303989"/>
                  </a:ext>
                </a:extLst>
              </a:tr>
              <a:tr h="343230">
                <a:tc>
                  <a:txBody>
                    <a:bodyPr/>
                    <a:lstStyle/>
                    <a:p>
                      <a:pPr algn="l" fontAlgn="ctr"/>
                      <a:r>
                        <a:rPr lang="cs-CZ" sz="1400" b="1" i="0" u="none" strike="noStrike" dirty="0">
                          <a:solidFill>
                            <a:srgbClr val="000000"/>
                          </a:solidFill>
                          <a:effectLst/>
                          <a:latin typeface="Calibri" panose="020F0502020204030204" pitchFamily="34" charset="0"/>
                        </a:rPr>
                        <a:t>Počet a podíl škol, které nahlásily testy do CF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091</a:t>
                      </a:r>
                      <a:br>
                        <a:rPr lang="cs-CZ" sz="1400" b="0" i="0" u="none" strike="noStrike">
                          <a:solidFill>
                            <a:srgbClr val="000000"/>
                          </a:solidFill>
                          <a:effectLst/>
                          <a:latin typeface="Calibri" panose="020F0502020204030204" pitchFamily="34" charset="0"/>
                        </a:rPr>
                      </a:br>
                      <a:r>
                        <a:rPr lang="cs-CZ" sz="1400" b="0" i="0" u="none" strike="noStrike">
                          <a:solidFill>
                            <a:srgbClr val="000000"/>
                          </a:solidFill>
                          <a:effectLst/>
                          <a:latin typeface="Calibri" panose="020F0502020204030204" pitchFamily="34" charset="0"/>
                        </a:rPr>
                        <a:t>(97,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4 050</a:t>
                      </a:r>
                      <a:br>
                        <a:rPr lang="cs-CZ" sz="1400" b="0" i="0" u="none" strike="noStrike" dirty="0">
                          <a:solidFill>
                            <a:srgbClr val="000000"/>
                          </a:solidFill>
                          <a:effectLst/>
                          <a:latin typeface="Calibri" panose="020F0502020204030204" pitchFamily="34" charset="0"/>
                        </a:rPr>
                      </a:br>
                      <a:r>
                        <a:rPr lang="cs-CZ" sz="1400" b="0" i="0" u="none" strike="noStrike" dirty="0">
                          <a:solidFill>
                            <a:srgbClr val="000000"/>
                          </a:solidFill>
                          <a:effectLst/>
                          <a:latin typeface="Calibri" panose="020F0502020204030204" pitchFamily="34" charset="0"/>
                        </a:rPr>
                        <a:t>(96,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4 085</a:t>
                      </a:r>
                      <a:br>
                        <a:rPr lang="cs-CZ" sz="1400" b="0" i="0" u="none" strike="noStrike" dirty="0">
                          <a:solidFill>
                            <a:srgbClr val="000000"/>
                          </a:solidFill>
                          <a:effectLst/>
                          <a:latin typeface="Calibri" panose="020F0502020204030204" pitchFamily="34" charset="0"/>
                        </a:rPr>
                      </a:br>
                      <a:r>
                        <a:rPr lang="cs-CZ" sz="1400" b="0" i="0" u="none" strike="noStrike" dirty="0">
                          <a:solidFill>
                            <a:srgbClr val="000000"/>
                          </a:solidFill>
                          <a:effectLst/>
                          <a:latin typeface="Calibri" panose="020F0502020204030204" pitchFamily="34" charset="0"/>
                        </a:rPr>
                        <a:t>(96,9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983</a:t>
                      </a:r>
                      <a:br>
                        <a:rPr lang="cs-CZ" sz="1400" b="0" i="0" u="none" strike="noStrike">
                          <a:solidFill>
                            <a:srgbClr val="000000"/>
                          </a:solidFill>
                          <a:effectLst/>
                          <a:latin typeface="Calibri" panose="020F0502020204030204" pitchFamily="34" charset="0"/>
                        </a:rPr>
                      </a:br>
                      <a:r>
                        <a:rPr lang="cs-CZ" sz="1400" b="0" i="0" u="none" strike="noStrike">
                          <a:solidFill>
                            <a:srgbClr val="000000"/>
                          </a:solidFill>
                          <a:effectLst/>
                          <a:latin typeface="Calibri" panose="020F0502020204030204" pitchFamily="34" charset="0"/>
                        </a:rPr>
                        <a:t>(94,5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66</a:t>
                      </a:r>
                      <a:br>
                        <a:rPr lang="cs-CZ" sz="1400" b="0" i="0" u="none" strike="noStrike">
                          <a:solidFill>
                            <a:srgbClr val="000000"/>
                          </a:solidFill>
                          <a:effectLst/>
                          <a:latin typeface="Calibri" panose="020F0502020204030204" pitchFamily="34" charset="0"/>
                        </a:rPr>
                      </a:br>
                      <a:r>
                        <a:rPr lang="cs-CZ" sz="1400" b="0" i="0" u="none" strike="noStrike">
                          <a:solidFill>
                            <a:srgbClr val="000000"/>
                          </a:solidFill>
                          <a:effectLst/>
                          <a:latin typeface="Calibri" panose="020F0502020204030204" pitchFamily="34" charset="0"/>
                        </a:rPr>
                        <a:t>(95,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1 060</a:t>
                      </a:r>
                      <a:br>
                        <a:rPr lang="cs-CZ" sz="1400" b="0" i="0" u="none" strike="noStrike" dirty="0">
                          <a:solidFill>
                            <a:srgbClr val="000000"/>
                          </a:solidFill>
                          <a:effectLst/>
                          <a:latin typeface="Calibri" panose="020F0502020204030204" pitchFamily="34" charset="0"/>
                        </a:rPr>
                      </a:br>
                      <a:r>
                        <a:rPr lang="cs-CZ" sz="1400" b="0" i="0" u="none" strike="noStrike" dirty="0">
                          <a:solidFill>
                            <a:srgbClr val="000000"/>
                          </a:solidFill>
                          <a:effectLst/>
                          <a:latin typeface="Calibri" panose="020F0502020204030204" pitchFamily="34" charset="0"/>
                        </a:rPr>
                        <a:t>(95,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1 073</a:t>
                      </a:r>
                      <a:br>
                        <a:rPr lang="cs-CZ" sz="1400" b="0" i="0" u="none" strike="noStrike" dirty="0">
                          <a:solidFill>
                            <a:srgbClr val="000000"/>
                          </a:solidFill>
                          <a:effectLst/>
                          <a:latin typeface="Calibri" panose="020F0502020204030204" pitchFamily="34" charset="0"/>
                        </a:rPr>
                      </a:br>
                      <a:r>
                        <a:rPr lang="cs-CZ" sz="1400" b="0" i="0" u="none" strike="noStrike" dirty="0">
                          <a:solidFill>
                            <a:srgbClr val="000000"/>
                          </a:solidFill>
                          <a:effectLst/>
                          <a:latin typeface="Calibri" panose="020F0502020204030204" pitchFamily="34" charset="0"/>
                        </a:rPr>
                        <a:t>(96,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49</a:t>
                      </a:r>
                      <a:br>
                        <a:rPr lang="cs-CZ" sz="1400" b="0" i="0" u="none" strike="noStrike">
                          <a:solidFill>
                            <a:srgbClr val="000000"/>
                          </a:solidFill>
                          <a:effectLst/>
                          <a:latin typeface="Calibri" panose="020F0502020204030204" pitchFamily="34" charset="0"/>
                        </a:rPr>
                      </a:br>
                      <a:r>
                        <a:rPr lang="cs-CZ" sz="1400" b="0" i="0" u="none" strike="noStrike">
                          <a:solidFill>
                            <a:srgbClr val="000000"/>
                          </a:solidFill>
                          <a:effectLst/>
                          <a:latin typeface="Calibri" panose="020F0502020204030204" pitchFamily="34" charset="0"/>
                        </a:rPr>
                        <a:t>(94,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8886391"/>
                  </a:ext>
                </a:extLst>
              </a:tr>
              <a:tr h="326249">
                <a:tc>
                  <a:txBody>
                    <a:bodyPr/>
                    <a:lstStyle/>
                    <a:p>
                      <a:pPr algn="l" fontAlgn="ctr"/>
                      <a:r>
                        <a:rPr lang="cs-CZ" sz="1400" b="1" i="0" u="none" strike="noStrike" dirty="0">
                          <a:solidFill>
                            <a:srgbClr val="000000"/>
                          </a:solidFill>
                          <a:effectLst/>
                          <a:latin typeface="Calibri" panose="020F0502020204030204" pitchFamily="34" charset="0"/>
                        </a:rPr>
                        <a:t>Počet nahlášených testů (</a:t>
                      </a:r>
                      <a:r>
                        <a:rPr lang="cs-CZ" sz="1400" b="1" i="0" u="none" strike="noStrike" dirty="0" err="1">
                          <a:solidFill>
                            <a:srgbClr val="000000"/>
                          </a:solidFill>
                          <a:effectLst/>
                          <a:latin typeface="Calibri" panose="020F0502020204030204" pitchFamily="34" charset="0"/>
                        </a:rPr>
                        <a:t>Ag</a:t>
                      </a:r>
                      <a:r>
                        <a:rPr lang="cs-CZ" sz="1400" b="1" i="0" u="none" strike="noStrike" dirty="0">
                          <a:solidFill>
                            <a:srgbClr val="000000"/>
                          </a:solidFill>
                          <a:effectLst/>
                          <a:latin typeface="Calibri" panose="020F0502020204030204" pitchFamily="34" charset="0"/>
                        </a:rPr>
                        <a:t>/PC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883 483 / </a:t>
                      </a:r>
                    </a:p>
                    <a:p>
                      <a:pPr algn="ctr" fontAlgn="ctr"/>
                      <a:r>
                        <a:rPr lang="cs-CZ" sz="1400" b="0" i="0" u="none" strike="noStrike" dirty="0">
                          <a:solidFill>
                            <a:srgbClr val="000000"/>
                          </a:solidFill>
                          <a:effectLst/>
                          <a:latin typeface="Calibri" panose="020F0502020204030204" pitchFamily="34" charset="0"/>
                        </a:rPr>
                        <a:t>17 95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861 013 / </a:t>
                      </a:r>
                    </a:p>
                    <a:p>
                      <a:pPr algn="ctr" fontAlgn="ctr"/>
                      <a:r>
                        <a:rPr lang="cs-CZ" sz="1400" b="0" i="0" u="none" strike="noStrike" dirty="0">
                          <a:solidFill>
                            <a:srgbClr val="000000"/>
                          </a:solidFill>
                          <a:effectLst/>
                          <a:latin typeface="Calibri" panose="020F0502020204030204" pitchFamily="34" charset="0"/>
                        </a:rPr>
                        <a:t>6 67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855 101 / </a:t>
                      </a:r>
                    </a:p>
                    <a:p>
                      <a:pPr algn="ctr" fontAlgn="ctr"/>
                      <a:r>
                        <a:rPr lang="cs-CZ" sz="1400" b="0" i="0" u="none" strike="noStrike" dirty="0">
                          <a:solidFill>
                            <a:srgbClr val="000000"/>
                          </a:solidFill>
                          <a:effectLst/>
                          <a:latin typeface="Calibri" panose="020F0502020204030204" pitchFamily="34" charset="0"/>
                        </a:rPr>
                        <a:t>15 02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827 499 / </a:t>
                      </a:r>
                    </a:p>
                    <a:p>
                      <a:pPr algn="ctr" fontAlgn="ctr"/>
                      <a:r>
                        <a:rPr lang="cs-CZ" sz="1400" b="0" i="0" u="none" strike="noStrike" dirty="0">
                          <a:solidFill>
                            <a:srgbClr val="000000"/>
                          </a:solidFill>
                          <a:effectLst/>
                          <a:latin typeface="Calibri" panose="020F0502020204030204" pitchFamily="34" charset="0"/>
                        </a:rPr>
                        <a:t>5 02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362 408 / </a:t>
                      </a:r>
                    </a:p>
                    <a:p>
                      <a:pPr algn="ctr" fontAlgn="ctr"/>
                      <a:r>
                        <a:rPr lang="cs-CZ" sz="1400" b="0" i="0" u="none" strike="noStrike" dirty="0">
                          <a:solidFill>
                            <a:srgbClr val="000000"/>
                          </a:solidFill>
                          <a:effectLst/>
                          <a:latin typeface="Calibri" panose="020F0502020204030204" pitchFamily="34" charset="0"/>
                        </a:rPr>
                        <a:t>5 2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360 778 / </a:t>
                      </a:r>
                    </a:p>
                    <a:p>
                      <a:pPr algn="ctr" fontAlgn="ctr"/>
                      <a:r>
                        <a:rPr lang="cs-CZ" sz="1400" b="0" i="0" u="none" strike="noStrike" dirty="0">
                          <a:solidFill>
                            <a:srgbClr val="000000"/>
                          </a:solidFill>
                          <a:effectLst/>
                          <a:latin typeface="Calibri" panose="020F0502020204030204" pitchFamily="34" charset="0"/>
                        </a:rPr>
                        <a:t>1 19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357 678 / </a:t>
                      </a:r>
                    </a:p>
                    <a:p>
                      <a:pPr algn="ctr" fontAlgn="ctr"/>
                      <a:r>
                        <a:rPr lang="cs-CZ" sz="1400" b="0" i="0" u="none" strike="noStrike" dirty="0">
                          <a:solidFill>
                            <a:srgbClr val="000000"/>
                          </a:solidFill>
                          <a:effectLst/>
                          <a:latin typeface="Calibri" panose="020F0502020204030204" pitchFamily="34" charset="0"/>
                        </a:rPr>
                        <a:t>4 54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347 694 / </a:t>
                      </a:r>
                    </a:p>
                    <a:p>
                      <a:pPr algn="ctr" fontAlgn="ctr"/>
                      <a:r>
                        <a:rPr lang="cs-CZ" sz="1400" b="0" i="0" u="none" strike="noStrike" dirty="0">
                          <a:solidFill>
                            <a:srgbClr val="000000"/>
                          </a:solidFill>
                          <a:effectLst/>
                          <a:latin typeface="Calibri" panose="020F0502020204030204" pitchFamily="34" charset="0"/>
                        </a:rPr>
                        <a:t>87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300495690"/>
                  </a:ext>
                </a:extLst>
              </a:tr>
              <a:tr h="326249">
                <a:tc>
                  <a:txBody>
                    <a:bodyPr/>
                    <a:lstStyle/>
                    <a:p>
                      <a:pPr algn="l" fontAlgn="ctr"/>
                      <a:r>
                        <a:rPr lang="cs-CZ" sz="1400" b="1" i="0" u="none" strike="noStrike" dirty="0">
                          <a:solidFill>
                            <a:srgbClr val="000000"/>
                          </a:solidFill>
                          <a:effectLst/>
                          <a:latin typeface="Calibri" panose="020F0502020204030204" pitchFamily="34" charset="0"/>
                        </a:rPr>
                        <a:t>Počet a podíl škol s potvrzenými záchyty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48 (13,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467 (11,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779 (18,5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18 (19,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74 (24,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307 (27,6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445 (4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92 (44,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740528614"/>
                  </a:ext>
                </a:extLst>
              </a:tr>
              <a:tr h="326249">
                <a:tc>
                  <a:txBody>
                    <a:bodyPr/>
                    <a:lstStyle/>
                    <a:p>
                      <a:pPr algn="l" fontAlgn="ctr"/>
                      <a:r>
                        <a:rPr lang="cs-CZ" sz="1400" b="1" i="0" u="none" strike="noStrike" dirty="0">
                          <a:solidFill>
                            <a:srgbClr val="000000"/>
                          </a:solidFill>
                          <a:effectLst/>
                          <a:latin typeface="Calibri" panose="020F0502020204030204" pitchFamily="34" charset="0"/>
                        </a:rPr>
                        <a:t>Počet a podíl škol s více než 10 záchyty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0,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0 (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11 (0,3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 (0,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0,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1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11 (1,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 (0,9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071759296"/>
                  </a:ext>
                </a:extLst>
              </a:tr>
              <a:tr h="32624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Calibri" panose="020F0502020204030204" pitchFamily="34" charset="0"/>
                        </a:rPr>
                        <a:t>Počet a podíl škol s 5–10 záchyty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0,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2 (0,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61 (7,8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4 (9,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1,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14 (4,6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63 (14,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6 (11,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381297342"/>
                  </a:ext>
                </a:extLst>
              </a:tr>
              <a:tr h="326249">
                <a:tc>
                  <a:txBody>
                    <a:bodyPr/>
                    <a:lstStyle/>
                    <a:p>
                      <a:pPr algn="l" fontAlgn="ctr"/>
                      <a:r>
                        <a:rPr lang="cs-CZ" sz="1400" b="1" i="0" u="none" strike="noStrike" dirty="0">
                          <a:solidFill>
                            <a:srgbClr val="000000"/>
                          </a:solidFill>
                          <a:effectLst/>
                          <a:latin typeface="Calibri" panose="020F0502020204030204" pitchFamily="34" charset="0"/>
                        </a:rPr>
                        <a:t>Počet a podíl pozitivně konfirmovaných </a:t>
                      </a:r>
                      <a:r>
                        <a:rPr lang="cs-CZ" sz="1400" b="1" i="0" u="none" strike="noStrike" dirty="0" err="1">
                          <a:solidFill>
                            <a:srgbClr val="000000"/>
                          </a:solidFill>
                          <a:effectLst/>
                          <a:latin typeface="Calibri" panose="020F0502020204030204" pitchFamily="34" charset="0"/>
                        </a:rPr>
                        <a:t>Ag</a:t>
                      </a:r>
                      <a:r>
                        <a:rPr lang="cs-CZ" sz="1400" b="1" i="0" u="none" strike="noStrike" dirty="0">
                          <a:solidFill>
                            <a:srgbClr val="000000"/>
                          </a:solidFill>
                          <a:effectLst/>
                          <a:latin typeface="Calibri" panose="020F0502020204030204" pitchFamily="34" charset="0"/>
                        </a:rPr>
                        <a:t> test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38,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38,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57,9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57,9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36,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42,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60,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61,7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88163594"/>
                  </a:ext>
                </a:extLst>
              </a:tr>
              <a:tr h="326249">
                <a:tc>
                  <a:txBody>
                    <a:bodyPr/>
                    <a:lstStyle/>
                    <a:p>
                      <a:pPr algn="l" fontAlgn="ctr"/>
                      <a:r>
                        <a:rPr lang="cs-CZ" sz="1400" b="1" i="0" u="none" strike="noStrike" dirty="0">
                          <a:solidFill>
                            <a:schemeClr val="tx1"/>
                          </a:solidFill>
                          <a:effectLst/>
                          <a:latin typeface="Calibri" panose="020F0502020204030204" pitchFamily="34" charset="0"/>
                        </a:rPr>
                        <a:t>Počet PCR potvrzených záchytů nákazy CELKEM**</a:t>
                      </a:r>
                      <a:endParaRPr lang="cs-CZ" sz="1200" b="0"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chemeClr val="tx1"/>
                          </a:solidFill>
                          <a:effectLst/>
                          <a:latin typeface="Calibri" panose="020F0502020204030204" pitchFamily="34" charset="0"/>
                        </a:rPr>
                        <a:t>7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chemeClr val="tx1"/>
                          </a:solidFill>
                          <a:effectLst/>
                          <a:latin typeface="Calibri" panose="020F0502020204030204" pitchFamily="34" charset="0"/>
                        </a:rPr>
                        <a:t>65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chemeClr val="tx1"/>
                          </a:solidFill>
                          <a:effectLst/>
                          <a:latin typeface="Calibri" panose="020F0502020204030204" pitchFamily="34" charset="0"/>
                        </a:rPr>
                        <a:t>1 77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chemeClr val="tx1"/>
                          </a:solidFill>
                          <a:effectLst/>
                          <a:latin typeface="Calibri" panose="020F0502020204030204" pitchFamily="34" charset="0"/>
                        </a:rPr>
                        <a:t>1 75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chemeClr val="tx1"/>
                          </a:solidFill>
                          <a:effectLst/>
                          <a:latin typeface="Calibri" panose="020F0502020204030204" pitchFamily="34" charset="0"/>
                        </a:rPr>
                        <a:t>4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chemeClr val="tx1"/>
                          </a:solidFill>
                          <a:effectLst/>
                          <a:latin typeface="Calibri" panose="020F0502020204030204" pitchFamily="34" charset="0"/>
                        </a:rPr>
                        <a:t>53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chemeClr val="tx1"/>
                          </a:solidFill>
                          <a:effectLst/>
                          <a:latin typeface="Calibri" panose="020F0502020204030204" pitchFamily="34" charset="0"/>
                        </a:rPr>
                        <a:t>1 28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400" b="0" i="0" u="none" strike="noStrike" dirty="0">
                          <a:solidFill>
                            <a:schemeClr val="tx1"/>
                          </a:solidFill>
                          <a:effectLst/>
                          <a:latin typeface="Calibri" panose="020F0502020204030204" pitchFamily="34" charset="0"/>
                        </a:rPr>
                        <a:t>1 26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24630560"/>
                  </a:ext>
                </a:extLst>
              </a:tr>
              <a:tr h="326249">
                <a:tc>
                  <a:txBody>
                    <a:bodyPr/>
                    <a:lstStyle/>
                    <a:p>
                      <a:pPr algn="l" fontAlgn="ctr"/>
                      <a:r>
                        <a:rPr lang="cs-CZ" sz="1600" b="1" i="0" u="none" strike="noStrike" dirty="0">
                          <a:solidFill>
                            <a:srgbClr val="FF0000"/>
                          </a:solidFill>
                          <a:effectLst/>
                          <a:latin typeface="Calibri" panose="020F0502020204030204" pitchFamily="34" charset="0"/>
                        </a:rPr>
                        <a:t>Počet PCR potvrzených záchytů na 100 tis. testů**</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1" i="0" u="none" strike="noStrike" dirty="0">
                          <a:solidFill>
                            <a:srgbClr val="FF0000"/>
                          </a:solidFill>
                          <a:effectLst/>
                          <a:latin typeface="Calibri" panose="020F0502020204030204" pitchFamily="34" charset="0"/>
                        </a:rPr>
                        <a:t>88,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1" i="0" u="none" strike="noStrike" dirty="0">
                          <a:solidFill>
                            <a:srgbClr val="FF0000"/>
                          </a:solidFill>
                          <a:effectLst/>
                          <a:latin typeface="Calibri" panose="020F0502020204030204" pitchFamily="34" charset="0"/>
                        </a:rPr>
                        <a:t>74,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1" i="0" u="none" strike="noStrike" dirty="0">
                          <a:solidFill>
                            <a:srgbClr val="FF0000"/>
                          </a:solidFill>
                          <a:effectLst/>
                          <a:latin typeface="Calibri" panose="020F0502020204030204" pitchFamily="34" charset="0"/>
                        </a:rPr>
                        <a:t>204,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1" i="0" u="none" strike="noStrike" dirty="0">
                          <a:solidFill>
                            <a:srgbClr val="FF0000"/>
                          </a:solidFill>
                          <a:effectLst/>
                          <a:latin typeface="Calibri" panose="020F0502020204030204" pitchFamily="34" charset="0"/>
                        </a:rPr>
                        <a:t>210,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1" i="0" u="none" strike="noStrike" dirty="0">
                          <a:solidFill>
                            <a:srgbClr val="FF0000"/>
                          </a:solidFill>
                          <a:effectLst/>
                          <a:latin typeface="Calibri" panose="020F0502020204030204" pitchFamily="34" charset="0"/>
                        </a:rPr>
                        <a:t>12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1" i="0" u="none" strike="noStrike" dirty="0">
                          <a:solidFill>
                            <a:srgbClr val="FF0000"/>
                          </a:solidFill>
                          <a:effectLst/>
                          <a:latin typeface="Calibri" panose="020F0502020204030204" pitchFamily="34" charset="0"/>
                        </a:rPr>
                        <a:t>148,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1" i="0" u="none" strike="noStrike" dirty="0">
                          <a:solidFill>
                            <a:srgbClr val="FF0000"/>
                          </a:solidFill>
                          <a:effectLst/>
                          <a:latin typeface="Calibri" panose="020F0502020204030204" pitchFamily="34" charset="0"/>
                        </a:rPr>
                        <a:t>355,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1" i="0" u="none" strike="noStrike" dirty="0">
                          <a:solidFill>
                            <a:srgbClr val="FF0000"/>
                          </a:solidFill>
                          <a:effectLst/>
                          <a:latin typeface="Calibri" panose="020F0502020204030204" pitchFamily="34" charset="0"/>
                        </a:rPr>
                        <a:t>362,1</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10357399"/>
                  </a:ext>
                </a:extLst>
              </a:tr>
            </a:tbl>
          </a:graphicData>
        </a:graphic>
      </p:graphicFrame>
      <p:sp>
        <p:nvSpPr>
          <p:cNvPr id="3" name="Ovál 2">
            <a:extLst>
              <a:ext uri="{FF2B5EF4-FFF2-40B4-BE49-F238E27FC236}">
                <a16:creationId xmlns:a16="http://schemas.microsoft.com/office/drawing/2014/main" id="{5B16AE19-0B57-4BCD-BC8A-D4F9EA54D615}"/>
              </a:ext>
            </a:extLst>
          </p:cNvPr>
          <p:cNvSpPr/>
          <p:nvPr/>
        </p:nvSpPr>
        <p:spPr>
          <a:xfrm>
            <a:off x="5687877" y="3831691"/>
            <a:ext cx="1906292" cy="650929"/>
          </a:xfrm>
          <a:prstGeom prst="ellipse">
            <a:avLst/>
          </a:prstGeom>
          <a:noFill/>
          <a:ln w="571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Šipka: doprava 4">
            <a:extLst>
              <a:ext uri="{FF2B5EF4-FFF2-40B4-BE49-F238E27FC236}">
                <a16:creationId xmlns:a16="http://schemas.microsoft.com/office/drawing/2014/main" id="{EDBAA5A6-90ED-437D-960A-C313FBE1EAFE}"/>
              </a:ext>
            </a:extLst>
          </p:cNvPr>
          <p:cNvSpPr/>
          <p:nvPr/>
        </p:nvSpPr>
        <p:spPr>
          <a:xfrm>
            <a:off x="5426873" y="3991852"/>
            <a:ext cx="232474" cy="247973"/>
          </a:xfrm>
          <a:prstGeom prst="rightArrow">
            <a:avLst/>
          </a:prstGeom>
          <a:solidFill>
            <a:srgbClr val="00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ál 9">
            <a:extLst>
              <a:ext uri="{FF2B5EF4-FFF2-40B4-BE49-F238E27FC236}">
                <a16:creationId xmlns:a16="http://schemas.microsoft.com/office/drawing/2014/main" id="{67454D30-6040-4DF9-924A-357E1FB2E41B}"/>
              </a:ext>
            </a:extLst>
          </p:cNvPr>
          <p:cNvSpPr/>
          <p:nvPr/>
        </p:nvSpPr>
        <p:spPr>
          <a:xfrm>
            <a:off x="9885333" y="3829111"/>
            <a:ext cx="1906292" cy="650929"/>
          </a:xfrm>
          <a:prstGeom prst="ellipse">
            <a:avLst/>
          </a:prstGeom>
          <a:noFill/>
          <a:ln w="571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Šipka: doprava 10">
            <a:extLst>
              <a:ext uri="{FF2B5EF4-FFF2-40B4-BE49-F238E27FC236}">
                <a16:creationId xmlns:a16="http://schemas.microsoft.com/office/drawing/2014/main" id="{4610376B-4644-4344-B385-3A853F673C8D}"/>
              </a:ext>
            </a:extLst>
          </p:cNvPr>
          <p:cNvSpPr/>
          <p:nvPr/>
        </p:nvSpPr>
        <p:spPr>
          <a:xfrm>
            <a:off x="9624329" y="3989272"/>
            <a:ext cx="232474" cy="247973"/>
          </a:xfrm>
          <a:prstGeom prst="rightArrow">
            <a:avLst/>
          </a:prstGeom>
          <a:solidFill>
            <a:srgbClr val="00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Šipka: doprava 11">
            <a:extLst>
              <a:ext uri="{FF2B5EF4-FFF2-40B4-BE49-F238E27FC236}">
                <a16:creationId xmlns:a16="http://schemas.microsoft.com/office/drawing/2014/main" id="{C5A230B3-4B85-4EF7-A992-93BF1C624C29}"/>
              </a:ext>
            </a:extLst>
          </p:cNvPr>
          <p:cNvSpPr/>
          <p:nvPr/>
        </p:nvSpPr>
        <p:spPr>
          <a:xfrm>
            <a:off x="9637247" y="4854595"/>
            <a:ext cx="232474" cy="247973"/>
          </a:xfrm>
          <a:prstGeom prst="rightArrow">
            <a:avLst/>
          </a:prstGeom>
          <a:solidFill>
            <a:srgbClr val="00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Šipka: doprava 12">
            <a:extLst>
              <a:ext uri="{FF2B5EF4-FFF2-40B4-BE49-F238E27FC236}">
                <a16:creationId xmlns:a16="http://schemas.microsoft.com/office/drawing/2014/main" id="{242E2FCD-C167-4BC6-9846-858EB6A13851}"/>
              </a:ext>
            </a:extLst>
          </p:cNvPr>
          <p:cNvSpPr/>
          <p:nvPr/>
        </p:nvSpPr>
        <p:spPr>
          <a:xfrm>
            <a:off x="5465615" y="4852015"/>
            <a:ext cx="232474" cy="247973"/>
          </a:xfrm>
          <a:prstGeom prst="rightArrow">
            <a:avLst/>
          </a:prstGeom>
          <a:solidFill>
            <a:srgbClr val="00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366406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381738" y="2"/>
            <a:ext cx="9459846" cy="576000"/>
          </a:xfrm>
        </p:spPr>
        <p:txBody>
          <a:bodyPr/>
          <a:lstStyle/>
          <a:p>
            <a:r>
              <a:rPr lang="cs-CZ" dirty="0"/>
              <a:t>Časový vývoj vybraných ukazatelů: </a:t>
            </a:r>
            <a:br>
              <a:rPr lang="cs-CZ" dirty="0"/>
            </a:br>
            <a:r>
              <a:rPr lang="cs-CZ" dirty="0"/>
              <a:t>7denní počet nových příjmů na JIP (včetně překladů) na 100 000 obyvatel</a:t>
            </a:r>
          </a:p>
        </p:txBody>
      </p:sp>
      <p:graphicFrame>
        <p:nvGraphicFramePr>
          <p:cNvPr id="5" name="Graf 4">
            <a:extLst>
              <a:ext uri="{FF2B5EF4-FFF2-40B4-BE49-F238E27FC236}">
                <a16:creationId xmlns:a16="http://schemas.microsoft.com/office/drawing/2014/main" id="{2B0C2A3B-15AA-4DC0-941F-58EA49FB78DC}"/>
              </a:ext>
            </a:extLst>
          </p:cNvPr>
          <p:cNvGraphicFramePr>
            <a:graphicFrameLocks/>
          </p:cNvGraphicFramePr>
          <p:nvPr>
            <p:custDataLst>
              <p:tags r:id="rId2"/>
            </p:custDataLst>
          </p:nvPr>
        </p:nvGraphicFramePr>
        <p:xfrm>
          <a:off x="209986" y="785513"/>
          <a:ext cx="11887625" cy="574112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47293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0" y="129348"/>
            <a:ext cx="11610909" cy="576000"/>
          </a:xfrm>
        </p:spPr>
        <p:txBody>
          <a:bodyPr/>
          <a:lstStyle/>
          <a:p>
            <a:r>
              <a:rPr lang="cs-CZ" dirty="0"/>
              <a:t>Časový vývoj vybraných ukazatelů: </a:t>
            </a:r>
            <a:br>
              <a:rPr lang="cs-CZ" dirty="0"/>
            </a:br>
            <a:r>
              <a:rPr lang="cs-CZ" sz="2000" dirty="0"/>
              <a:t>7denní počet případů, hospitalizovaných do 3 dnů od pozitivity / 100 tisíc obyvatel</a:t>
            </a:r>
            <a:br>
              <a:rPr lang="cs-CZ" sz="2000" dirty="0">
                <a:highlight>
                  <a:srgbClr val="FF0000"/>
                </a:highlight>
              </a:rPr>
            </a:br>
            <a:endParaRPr lang="cs-CZ" dirty="0"/>
          </a:p>
        </p:txBody>
      </p:sp>
      <p:graphicFrame>
        <p:nvGraphicFramePr>
          <p:cNvPr id="5" name="Graf 4">
            <a:extLst>
              <a:ext uri="{FF2B5EF4-FFF2-40B4-BE49-F238E27FC236}">
                <a16:creationId xmlns:a16="http://schemas.microsoft.com/office/drawing/2014/main" id="{2B0C2A3B-15AA-4DC0-941F-58EA49FB78DC}"/>
              </a:ext>
            </a:extLst>
          </p:cNvPr>
          <p:cNvGraphicFramePr>
            <a:graphicFrameLocks/>
          </p:cNvGraphicFramePr>
          <p:nvPr>
            <p:custDataLst>
              <p:tags r:id="rId2"/>
            </p:custDataLst>
          </p:nvPr>
        </p:nvGraphicFramePr>
        <p:xfrm>
          <a:off x="209986" y="785513"/>
          <a:ext cx="11887625" cy="574112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63513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27470" y="166983"/>
            <a:ext cx="12137059" cy="576000"/>
          </a:xfrm>
        </p:spPr>
        <p:txBody>
          <a:bodyPr/>
          <a:lstStyle/>
          <a:p>
            <a:r>
              <a:rPr lang="cs-CZ" dirty="0"/>
              <a:t>7denní počty nových hospitalizací na JIP v den diagnózy</a:t>
            </a:r>
            <a:br>
              <a:rPr lang="cs-CZ" dirty="0">
                <a:highlight>
                  <a:srgbClr val="FF0000"/>
                </a:highlight>
              </a:rPr>
            </a:br>
            <a:endParaRPr lang="cs-CZ" dirty="0"/>
          </a:p>
        </p:txBody>
      </p:sp>
      <p:graphicFrame>
        <p:nvGraphicFramePr>
          <p:cNvPr id="5" name="Graf 4">
            <a:extLst>
              <a:ext uri="{FF2B5EF4-FFF2-40B4-BE49-F238E27FC236}">
                <a16:creationId xmlns:a16="http://schemas.microsoft.com/office/drawing/2014/main" id="{2B0C2A3B-15AA-4DC0-941F-58EA49FB78DC}"/>
              </a:ext>
            </a:extLst>
          </p:cNvPr>
          <p:cNvGraphicFramePr>
            <a:graphicFrameLocks/>
          </p:cNvGraphicFramePr>
          <p:nvPr>
            <p:custDataLst>
              <p:tags r:id="rId2"/>
            </p:custDataLst>
          </p:nvPr>
        </p:nvGraphicFramePr>
        <p:xfrm>
          <a:off x="209986" y="785513"/>
          <a:ext cx="11887625" cy="574112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426601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154578" y="0"/>
            <a:ext cx="7881058" cy="576000"/>
          </a:xfrm>
        </p:spPr>
        <p:txBody>
          <a:bodyPr/>
          <a:lstStyle/>
          <a:p>
            <a:r>
              <a:rPr lang="cs-CZ" sz="1400" dirty="0"/>
              <a:t>7denní počet případů, hospitalizovaných na JIP </a:t>
            </a:r>
            <a:r>
              <a:rPr lang="en-US" sz="1400" dirty="0"/>
              <a:t>v den </a:t>
            </a:r>
            <a:r>
              <a:rPr lang="cs-CZ" sz="1400" dirty="0"/>
              <a:t>pozitivity / 100 tisíc obyvatel</a:t>
            </a:r>
            <a:endParaRPr lang="cs-CZ" sz="1400" dirty="0">
              <a:solidFill>
                <a:srgbClr val="00FF00"/>
              </a:solidFill>
            </a:endParaRPr>
          </a:p>
        </p:txBody>
      </p:sp>
      <p:graphicFrame>
        <p:nvGraphicFramePr>
          <p:cNvPr id="12" name="Chart 11">
            <a:extLst>
              <a:ext uri="{FF2B5EF4-FFF2-40B4-BE49-F238E27FC236}">
                <a16:creationId xmlns:a16="http://schemas.microsoft.com/office/drawing/2014/main" id="{7C73A03D-02FD-4EE0-99B7-A9E50F88E666}"/>
              </a:ext>
            </a:extLst>
          </p:cNvPr>
          <p:cNvGraphicFramePr/>
          <p:nvPr/>
        </p:nvGraphicFramePr>
        <p:xfrm>
          <a:off x="386622" y="808651"/>
          <a:ext cx="11805378" cy="2821239"/>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14">
            <a:extLst>
              <a:ext uri="{FF2B5EF4-FFF2-40B4-BE49-F238E27FC236}">
                <a16:creationId xmlns:a16="http://schemas.microsoft.com/office/drawing/2014/main" id="{0A249515-A4ED-4845-A0D5-7D35224904FC}"/>
              </a:ext>
            </a:extLst>
          </p:cNvPr>
          <p:cNvSpPr txBox="1"/>
          <p:nvPr>
            <p:custDataLst>
              <p:tags r:id="rId2"/>
            </p:custDataLst>
          </p:nvPr>
        </p:nvSpPr>
        <p:spPr>
          <a:xfrm rot="16200000">
            <a:off x="-502402" y="1729230"/>
            <a:ext cx="147027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a:ea typeface="+mn-ea"/>
                <a:cs typeface="+mn-cs"/>
              </a:rPr>
              <a:t>H</a:t>
            </a:r>
            <a:r>
              <a:rPr kumimoji="0" lang="cs-CZ" sz="1200" b="0" i="0" u="none" strike="noStrike" kern="1200" cap="none" spc="0" normalizeH="0" baseline="0" noProof="0" dirty="0" err="1">
                <a:ln>
                  <a:noFill/>
                </a:ln>
                <a:solidFill>
                  <a:prstClr val="black"/>
                </a:solidFill>
                <a:effectLst/>
                <a:uLnTx/>
                <a:uFillTx/>
                <a:latin typeface="Arial" panose="020B0604020202020204"/>
                <a:ea typeface="+mn-ea"/>
                <a:cs typeface="+mn-cs"/>
              </a:rPr>
              <a:t>odnota</a:t>
            </a:r>
            <a:r>
              <a:rPr kumimoji="0" lang="cs-CZ" sz="1200" b="0" i="0" u="none" strike="noStrike" kern="1200" cap="none" spc="0" normalizeH="0" baseline="0" noProof="0" dirty="0">
                <a:ln>
                  <a:noFill/>
                </a:ln>
                <a:solidFill>
                  <a:prstClr val="black"/>
                </a:solidFill>
                <a:effectLst/>
                <a:uLnTx/>
                <a:uFillTx/>
                <a:latin typeface="Arial" panose="020B0604020202020204"/>
                <a:ea typeface="+mn-ea"/>
                <a:cs typeface="+mn-cs"/>
              </a:rPr>
              <a:t> indikátoru</a:t>
            </a:r>
          </a:p>
        </p:txBody>
      </p:sp>
      <p:sp>
        <p:nvSpPr>
          <p:cNvPr id="14" name="TextBox 14">
            <a:extLst>
              <a:ext uri="{FF2B5EF4-FFF2-40B4-BE49-F238E27FC236}">
                <a16:creationId xmlns:a16="http://schemas.microsoft.com/office/drawing/2014/main" id="{CAFC2DD2-8D68-4E25-A239-1B7D8358EB75}"/>
              </a:ext>
            </a:extLst>
          </p:cNvPr>
          <p:cNvSpPr txBox="1"/>
          <p:nvPr>
            <p:custDataLst>
              <p:tags r:id="rId3"/>
            </p:custDataLst>
          </p:nvPr>
        </p:nvSpPr>
        <p:spPr>
          <a:xfrm rot="16200000">
            <a:off x="-891931" y="4779075"/>
            <a:ext cx="22493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a:ea typeface="+mn-ea"/>
                <a:cs typeface="+mn-cs"/>
              </a:rPr>
              <a:t>Týdenní změna indikátoru v %</a:t>
            </a:r>
          </a:p>
        </p:txBody>
      </p:sp>
      <p:graphicFrame>
        <p:nvGraphicFramePr>
          <p:cNvPr id="15" name="Chart 11">
            <a:extLst>
              <a:ext uri="{FF2B5EF4-FFF2-40B4-BE49-F238E27FC236}">
                <a16:creationId xmlns:a16="http://schemas.microsoft.com/office/drawing/2014/main" id="{C777C83A-7EC6-4EBF-AC56-192E23081836}"/>
              </a:ext>
            </a:extLst>
          </p:cNvPr>
          <p:cNvGraphicFramePr/>
          <p:nvPr/>
        </p:nvGraphicFramePr>
        <p:xfrm>
          <a:off x="386622" y="3787380"/>
          <a:ext cx="11805378" cy="282123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6">
            <a:extLst>
              <a:ext uri="{FF2B5EF4-FFF2-40B4-BE49-F238E27FC236}">
                <a16:creationId xmlns:a16="http://schemas.microsoft.com/office/drawing/2014/main" id="{31DCCF15-8D32-4CC1-9851-768A374556C7}"/>
              </a:ext>
            </a:extLst>
          </p:cNvPr>
          <p:cNvSpPr txBox="1"/>
          <p:nvPr>
            <p:custDataLst>
              <p:tags r:id="rId4"/>
            </p:custDataLst>
          </p:nvPr>
        </p:nvSpPr>
        <p:spPr>
          <a:xfrm>
            <a:off x="1004887" y="5633851"/>
            <a:ext cx="3664767" cy="369332"/>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1" u="none" strike="noStrike" kern="1200" cap="none" spc="0" normalizeH="0" baseline="0" noProof="0" dirty="0">
                <a:ln>
                  <a:noFill/>
                </a:ln>
                <a:solidFill>
                  <a:srgbClr val="000000"/>
                </a:solidFill>
                <a:effectLst/>
                <a:uLnTx/>
                <a:uFillTx/>
                <a:latin typeface="Arial" panose="020B0604020202020204"/>
                <a:ea typeface="+mn-ea"/>
                <a:cs typeface="+mn-cs"/>
              </a:rPr>
              <a:t>Výpočet srovnává hodnotu indikátoru v daný den s obdobnou hodnotou před týdnem, rozdíl je vyjádřen v % hodnoty před týdnem.</a:t>
            </a:r>
          </a:p>
        </p:txBody>
      </p:sp>
    </p:spTree>
    <p:extLst>
      <p:ext uri="{BB962C8B-B14F-4D97-AF65-F5344CB8AC3E}">
        <p14:creationId xmlns:p14="http://schemas.microsoft.com/office/powerpoint/2010/main" val="5261469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ovéPole 13">
            <a:extLst>
              <a:ext uri="{FF2B5EF4-FFF2-40B4-BE49-F238E27FC236}">
                <a16:creationId xmlns:a16="http://schemas.microsoft.com/office/drawing/2014/main" id="{7C764D1A-68C2-47CF-9E50-A28EB0F2ED2D}"/>
              </a:ext>
            </a:extLst>
          </p:cNvPr>
          <p:cNvSpPr txBox="1"/>
          <p:nvPr>
            <p:custDataLst>
              <p:tags r:id="rId1"/>
            </p:custDataLst>
          </p:nvPr>
        </p:nvSpPr>
        <p:spPr>
          <a:xfrm>
            <a:off x="243184" y="2115255"/>
            <a:ext cx="11705632"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0" b="1" i="0" u="none" strike="noStrike" kern="1200" cap="none" spc="0" normalizeH="0" baseline="0" noProof="0" dirty="0">
                <a:ln>
                  <a:noFill/>
                </a:ln>
                <a:solidFill>
                  <a:prstClr val="black"/>
                </a:solidFill>
                <a:effectLst/>
                <a:uLnTx/>
                <a:uFillTx/>
                <a:latin typeface="Calibri" panose="020F0502020204030204"/>
                <a:ea typeface="+mn-ea"/>
                <a:cs typeface="+mn-cs"/>
              </a:rPr>
              <a:t>DĚKUJI ZA POZORNOST</a:t>
            </a:r>
            <a:endParaRPr kumimoji="0" lang="cs-CZ" sz="9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292772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Nadpis 1">
            <a:extLst>
              <a:ext uri="{FF2B5EF4-FFF2-40B4-BE49-F238E27FC236}">
                <a16:creationId xmlns:a16="http://schemas.microsoft.com/office/drawing/2014/main" id="{7D7972E5-0CCD-46CA-80F9-F819739D546F}"/>
              </a:ext>
            </a:extLst>
          </p:cNvPr>
          <p:cNvSpPr>
            <a:spLocks noGrp="1"/>
          </p:cNvSpPr>
          <p:nvPr>
            <p:ph type="title"/>
            <p:custDataLst>
              <p:tags r:id="rId1"/>
            </p:custDataLst>
          </p:nvPr>
        </p:nvSpPr>
        <p:spPr>
          <a:xfrm>
            <a:off x="41169" y="39452"/>
            <a:ext cx="12091380" cy="576000"/>
          </a:xfrm>
        </p:spPr>
        <p:txBody>
          <a:bodyPr/>
          <a:lstStyle/>
          <a:p>
            <a:r>
              <a:rPr lang="cs-CZ" sz="2400" dirty="0"/>
              <a:t>První výsledky samotestů zaměstnanců ze dne 17.1. a 18.1.2022</a:t>
            </a:r>
          </a:p>
        </p:txBody>
      </p:sp>
      <p:pic>
        <p:nvPicPr>
          <p:cNvPr id="6" name="Picture 5">
            <a:extLst>
              <a:ext uri="{FF2B5EF4-FFF2-40B4-BE49-F238E27FC236}">
                <a16:creationId xmlns:a16="http://schemas.microsoft.com/office/drawing/2014/main" id="{378801F2-4B27-4824-8E7A-4DCCB02DC9C8}"/>
              </a:ext>
            </a:extLst>
          </p:cNvPr>
          <p:cNvPicPr>
            <a:picLocks noChangeAspect="1"/>
          </p:cNvPicPr>
          <p:nvPr>
            <p:custDataLst>
              <p:tags r:id="rId2"/>
            </p:custDataLst>
          </p:nvPr>
        </p:nvPicPr>
        <p:blipFill>
          <a:blip r:embed="rId5"/>
          <a:stretch>
            <a:fillRect/>
          </a:stretch>
        </p:blipFill>
        <p:spPr>
          <a:xfrm>
            <a:off x="1244340" y="1206454"/>
            <a:ext cx="9425998" cy="5612094"/>
          </a:xfrm>
          <a:prstGeom prst="rect">
            <a:avLst/>
          </a:prstGeom>
        </p:spPr>
      </p:pic>
      <p:sp>
        <p:nvSpPr>
          <p:cNvPr id="5" name="TextovéPole 4">
            <a:extLst>
              <a:ext uri="{FF2B5EF4-FFF2-40B4-BE49-F238E27FC236}">
                <a16:creationId xmlns:a16="http://schemas.microsoft.com/office/drawing/2014/main" id="{8B93D745-A8EB-4F41-B1A6-3DE733D21EC2}"/>
              </a:ext>
            </a:extLst>
          </p:cNvPr>
          <p:cNvSpPr txBox="1"/>
          <p:nvPr/>
        </p:nvSpPr>
        <p:spPr>
          <a:xfrm>
            <a:off x="180966" y="704936"/>
            <a:ext cx="11811785" cy="430887"/>
          </a:xfrm>
          <a:prstGeom prst="rect">
            <a:avLst/>
          </a:prstGeom>
          <a:solidFill>
            <a:schemeClr val="accent2"/>
          </a:solidFill>
        </p:spPr>
        <p:txBody>
          <a:bodyPr wrap="square" rtlCol="0">
            <a:spAutoFit/>
          </a:bodyPr>
          <a:lstStyle/>
          <a:p>
            <a:pPr algn="ctr"/>
            <a:r>
              <a:rPr lang="cs-CZ" sz="2200" dirty="0">
                <a:solidFill>
                  <a:schemeClr val="bg1"/>
                </a:solidFill>
              </a:rPr>
              <a:t>Dosud nahlášeno – </a:t>
            </a:r>
            <a:r>
              <a:rPr lang="cs-CZ" sz="2200" dirty="0" err="1">
                <a:solidFill>
                  <a:schemeClr val="bg1"/>
                </a:solidFill>
              </a:rPr>
              <a:t>Ag</a:t>
            </a:r>
            <a:r>
              <a:rPr lang="cs-CZ" sz="2200" dirty="0">
                <a:solidFill>
                  <a:schemeClr val="bg1"/>
                </a:solidFill>
              </a:rPr>
              <a:t> </a:t>
            </a:r>
            <a:r>
              <a:rPr lang="cs-CZ" sz="2200" dirty="0" err="1">
                <a:solidFill>
                  <a:schemeClr val="bg1"/>
                </a:solidFill>
              </a:rPr>
              <a:t>samotesty</a:t>
            </a:r>
            <a:r>
              <a:rPr lang="cs-CZ" sz="2200" dirty="0">
                <a:solidFill>
                  <a:schemeClr val="bg1"/>
                </a:solidFill>
              </a:rPr>
              <a:t>: 7 650 dne 17.1. + 1 448 dne 18.1. = celkem 9 098</a:t>
            </a:r>
            <a:endParaRPr lang="en-US" sz="2200" dirty="0">
              <a:solidFill>
                <a:schemeClr val="bg1"/>
              </a:solidFill>
            </a:endParaRPr>
          </a:p>
        </p:txBody>
      </p:sp>
    </p:spTree>
    <p:extLst>
      <p:ext uri="{BB962C8B-B14F-4D97-AF65-F5344CB8AC3E}">
        <p14:creationId xmlns:p14="http://schemas.microsoft.com/office/powerpoint/2010/main" val="7854412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4">
            <a:extLst>
              <a:ext uri="{FF2B5EF4-FFF2-40B4-BE49-F238E27FC236}">
                <a16:creationId xmlns:a16="http://schemas.microsoft.com/office/drawing/2014/main" id="{DDCE47EF-31FF-4F5A-A8E9-CB9CFC669B69}"/>
              </a:ext>
            </a:extLst>
          </p:cNvPr>
          <p:cNvGraphicFramePr/>
          <p:nvPr>
            <p:custDataLst>
              <p:tags r:id="rId1"/>
            </p:custDataLst>
          </p:nvPr>
        </p:nvGraphicFramePr>
        <p:xfrm>
          <a:off x="671739" y="1459764"/>
          <a:ext cx="11010187" cy="5283936"/>
        </p:xfrm>
        <a:graphic>
          <a:graphicData uri="http://schemas.openxmlformats.org/drawingml/2006/chart">
            <c:chart xmlns:c="http://schemas.openxmlformats.org/drawingml/2006/chart" xmlns:r="http://schemas.openxmlformats.org/officeDocument/2006/relationships" r:id="rId7"/>
          </a:graphicData>
        </a:graphic>
      </p:graphicFrame>
      <p:sp>
        <p:nvSpPr>
          <p:cNvPr id="2" name="Nadpis 1">
            <a:extLst>
              <a:ext uri="{FF2B5EF4-FFF2-40B4-BE49-F238E27FC236}">
                <a16:creationId xmlns:a16="http://schemas.microsoft.com/office/drawing/2014/main" id="{7E673707-12E2-4D1E-AB03-FD25BE4817A5}"/>
              </a:ext>
            </a:extLst>
          </p:cNvPr>
          <p:cNvSpPr>
            <a:spLocks noGrp="1"/>
          </p:cNvSpPr>
          <p:nvPr>
            <p:ph type="title"/>
          </p:nvPr>
        </p:nvSpPr>
        <p:spPr>
          <a:xfrm>
            <a:off x="75501" y="2"/>
            <a:ext cx="8006053" cy="576000"/>
          </a:xfrm>
        </p:spPr>
        <p:txBody>
          <a:bodyPr/>
          <a:lstStyle/>
          <a:p>
            <a:r>
              <a:rPr lang="cs-CZ" dirty="0">
                <a:latin typeface="+mj-lt"/>
              </a:rPr>
              <a:t>Podíl pozitivních testů: </a:t>
            </a:r>
            <a:r>
              <a:rPr lang="cs-CZ" dirty="0"/>
              <a:t>diagnostické indikace </a:t>
            </a:r>
            <a:endParaRPr lang="cs-CZ" dirty="0">
              <a:latin typeface="+mj-lt"/>
            </a:endParaRPr>
          </a:p>
        </p:txBody>
      </p:sp>
      <p:sp>
        <p:nvSpPr>
          <p:cNvPr id="12" name="TextovéPole 11">
            <a:extLst>
              <a:ext uri="{FF2B5EF4-FFF2-40B4-BE49-F238E27FC236}">
                <a16:creationId xmlns:a16="http://schemas.microsoft.com/office/drawing/2014/main" id="{CC555464-C1F2-4124-821F-660B522ED9C8}"/>
              </a:ext>
            </a:extLst>
          </p:cNvPr>
          <p:cNvSpPr txBox="1"/>
          <p:nvPr/>
        </p:nvSpPr>
        <p:spPr>
          <a:xfrm rot="16200000">
            <a:off x="-978817" y="3904624"/>
            <a:ext cx="27527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díl pozitivních testů v ČR</a:t>
            </a:r>
          </a:p>
        </p:txBody>
      </p:sp>
      <p:graphicFrame>
        <p:nvGraphicFramePr>
          <p:cNvPr id="10" name="Table 13">
            <a:extLst>
              <a:ext uri="{FF2B5EF4-FFF2-40B4-BE49-F238E27FC236}">
                <a16:creationId xmlns:a16="http://schemas.microsoft.com/office/drawing/2014/main" id="{C5CEEB84-F215-46CC-8B8D-4DB20680ADDB}"/>
              </a:ext>
            </a:extLst>
          </p:cNvPr>
          <p:cNvGraphicFramePr>
            <a:graphicFrameLocks noGrp="1"/>
          </p:cNvGraphicFramePr>
          <p:nvPr>
            <p:custDataLst>
              <p:tags r:id="rId2"/>
            </p:custDataLst>
          </p:nvPr>
        </p:nvGraphicFramePr>
        <p:xfrm>
          <a:off x="1646869" y="576002"/>
          <a:ext cx="3153360" cy="2073913"/>
        </p:xfrm>
        <a:graphic>
          <a:graphicData uri="http://schemas.openxmlformats.org/drawingml/2006/table">
            <a:tbl>
              <a:tblPr/>
              <a:tblGrid>
                <a:gridCol w="1683484">
                  <a:extLst>
                    <a:ext uri="{9D8B030D-6E8A-4147-A177-3AD203B41FA5}">
                      <a16:colId xmlns:a16="http://schemas.microsoft.com/office/drawing/2014/main" val="3546016253"/>
                    </a:ext>
                  </a:extLst>
                </a:gridCol>
                <a:gridCol w="1469876">
                  <a:extLst>
                    <a:ext uri="{9D8B030D-6E8A-4147-A177-3AD203B41FA5}">
                      <a16:colId xmlns:a16="http://schemas.microsoft.com/office/drawing/2014/main" val="1748583085"/>
                    </a:ext>
                  </a:extLst>
                </a:gridCol>
              </a:tblGrid>
              <a:tr h="262687">
                <a:tc>
                  <a:txBody>
                    <a:bodyPr/>
                    <a:lstStyle/>
                    <a:p>
                      <a:pPr algn="ctr" fontAlgn="ctr"/>
                      <a:r>
                        <a:rPr lang="cs-CZ" sz="1100" b="1" i="0" u="none" strike="noStrike">
                          <a:solidFill>
                            <a:srgbClr val="000000"/>
                          </a:solidFill>
                          <a:effectLst/>
                          <a:latin typeface="Calibri" panose="020F0502020204030204" pitchFamily="34" charset="0"/>
                        </a:rPr>
                        <a:t>Datum*</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tc>
                  <a:txBody>
                    <a:bodyPr/>
                    <a:lstStyle/>
                    <a:p>
                      <a:pPr algn="ctr" fontAlgn="ctr"/>
                      <a:r>
                        <a:rPr lang="cs-CZ" sz="1100" b="1" i="0" u="none" strike="noStrike">
                          <a:solidFill>
                            <a:srgbClr val="000000"/>
                          </a:solidFill>
                          <a:effectLst/>
                          <a:latin typeface="Calibri" panose="020F0502020204030204" pitchFamily="34" charset="0"/>
                        </a:rPr>
                        <a:t>Podíl pozitivních případů</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extLst>
                  <a:ext uri="{0D108BD9-81ED-4DB2-BD59-A6C34878D82A}">
                    <a16:rowId xmlns:a16="http://schemas.microsoft.com/office/drawing/2014/main" val="2637795841"/>
                  </a:ext>
                </a:extLst>
              </a:tr>
              <a:tr h="216826">
                <a:tc>
                  <a:txBody>
                    <a:bodyPr/>
                    <a:lstStyle/>
                    <a:p>
                      <a:pPr algn="ctr" fontAlgn="ctr"/>
                      <a:r>
                        <a:rPr lang="cs-CZ" sz="1100" b="0" i="0" u="none" strike="noStrike">
                          <a:solidFill>
                            <a:srgbClr val="000000"/>
                          </a:solidFill>
                          <a:effectLst/>
                          <a:latin typeface="Calibri" panose="020F0502020204030204" pitchFamily="34" charset="0"/>
                        </a:rPr>
                        <a:t>12.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3.7%</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915809829"/>
                  </a:ext>
                </a:extLst>
              </a:tr>
              <a:tr h="208795">
                <a:tc>
                  <a:txBody>
                    <a:bodyPr/>
                    <a:lstStyle/>
                    <a:p>
                      <a:pPr algn="ctr" fontAlgn="ctr"/>
                      <a:r>
                        <a:rPr lang="cs-CZ" sz="1100" b="0" i="0" u="none" strike="noStrike">
                          <a:solidFill>
                            <a:srgbClr val="000000"/>
                          </a:solidFill>
                          <a:effectLst/>
                          <a:latin typeface="Calibri" panose="020F0502020204030204" pitchFamily="34" charset="0"/>
                        </a:rPr>
                        <a:t>13.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4.6%</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1373172434"/>
                  </a:ext>
                </a:extLst>
              </a:tr>
              <a:tr h="208795">
                <a:tc>
                  <a:txBody>
                    <a:bodyPr/>
                    <a:lstStyle/>
                    <a:p>
                      <a:pPr algn="ctr" fontAlgn="ctr"/>
                      <a:r>
                        <a:rPr lang="cs-CZ" sz="1100" b="0" i="0" u="none" strike="noStrike">
                          <a:solidFill>
                            <a:srgbClr val="000000"/>
                          </a:solidFill>
                          <a:effectLst/>
                          <a:latin typeface="Calibri" panose="020F0502020204030204" pitchFamily="34" charset="0"/>
                        </a:rPr>
                        <a:t>14.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5.6%</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621266616"/>
                  </a:ext>
                </a:extLst>
              </a:tr>
              <a:tr h="208795">
                <a:tc>
                  <a:txBody>
                    <a:bodyPr/>
                    <a:lstStyle/>
                    <a:p>
                      <a:pPr algn="ctr" fontAlgn="ctr"/>
                      <a:r>
                        <a:rPr lang="cs-CZ" sz="1100" b="0" i="0" u="none" strike="noStrike">
                          <a:solidFill>
                            <a:srgbClr val="000000"/>
                          </a:solidFill>
                          <a:effectLst/>
                          <a:latin typeface="Calibri" panose="020F0502020204030204" pitchFamily="34" charset="0"/>
                        </a:rPr>
                        <a:t>15.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7.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219860033"/>
                  </a:ext>
                </a:extLst>
              </a:tr>
              <a:tr h="208795">
                <a:tc>
                  <a:txBody>
                    <a:bodyPr/>
                    <a:lstStyle/>
                    <a:p>
                      <a:pPr algn="ctr" fontAlgn="ctr"/>
                      <a:r>
                        <a:rPr lang="cs-CZ" sz="1100" b="0" i="0" u="none" strike="noStrike">
                          <a:solidFill>
                            <a:srgbClr val="000000"/>
                          </a:solidFill>
                          <a:effectLst/>
                          <a:latin typeface="Calibri" panose="020F0502020204030204" pitchFamily="34" charset="0"/>
                        </a:rPr>
                        <a:t>16.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3.9%</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718693542"/>
                  </a:ext>
                </a:extLst>
              </a:tr>
              <a:tr h="208795">
                <a:tc>
                  <a:txBody>
                    <a:bodyPr/>
                    <a:lstStyle/>
                    <a:p>
                      <a:pPr algn="ctr" fontAlgn="ctr"/>
                      <a:r>
                        <a:rPr lang="cs-CZ" sz="1100" b="0" i="0" u="none" strike="noStrike">
                          <a:solidFill>
                            <a:srgbClr val="000000"/>
                          </a:solidFill>
                          <a:effectLst/>
                          <a:latin typeface="Calibri" panose="020F0502020204030204" pitchFamily="34" charset="0"/>
                        </a:rPr>
                        <a:t>17.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7.1%</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2549193932"/>
                  </a:ext>
                </a:extLst>
              </a:tr>
              <a:tr h="208795">
                <a:tc>
                  <a:txBody>
                    <a:bodyPr/>
                    <a:lstStyle/>
                    <a:p>
                      <a:pPr algn="ctr" fontAlgn="ctr"/>
                      <a:r>
                        <a:rPr lang="cs-CZ" sz="1100" b="0" i="0" u="none" strike="noStrike">
                          <a:solidFill>
                            <a:srgbClr val="000000"/>
                          </a:solidFill>
                          <a:effectLst/>
                          <a:latin typeface="Calibri" panose="020F0502020204030204" pitchFamily="34" charset="0"/>
                        </a:rPr>
                        <a:t>18.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37.6%</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extLst>
                  <a:ext uri="{0D108BD9-81ED-4DB2-BD59-A6C34878D82A}">
                    <a16:rowId xmlns:a16="http://schemas.microsoft.com/office/drawing/2014/main" val="4061735245"/>
                  </a:ext>
                </a:extLst>
              </a:tr>
              <a:tr h="264289">
                <a:tc>
                  <a:txBody>
                    <a:bodyPr/>
                    <a:lstStyle/>
                    <a:p>
                      <a:pPr algn="ctr" fontAlgn="ctr"/>
                      <a:r>
                        <a:rPr lang="cs-CZ" sz="1100" b="1" i="0" u="none" strike="noStrike">
                          <a:solidFill>
                            <a:srgbClr val="FFFFFF"/>
                          </a:solidFill>
                          <a:effectLst/>
                          <a:latin typeface="Calibri" panose="020F0502020204030204" pitchFamily="34" charset="0"/>
                        </a:rPr>
                        <a:t>Průměrný podíl za posledních 7 dní</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fontAlgn="ctr"/>
                      <a:r>
                        <a:rPr lang="cs-CZ" sz="1100" b="0" i="0" u="none" strike="noStrike" dirty="0">
                          <a:solidFill>
                            <a:srgbClr val="FFFFFF"/>
                          </a:solidFill>
                          <a:effectLst/>
                          <a:latin typeface="Calibri" panose="020F0502020204030204" pitchFamily="34" charset="0"/>
                        </a:rPr>
                        <a:t>27.1%</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2293649966"/>
                  </a:ext>
                </a:extLst>
              </a:tr>
            </a:tbl>
          </a:graphicData>
        </a:graphic>
      </p:graphicFrame>
      <p:sp>
        <p:nvSpPr>
          <p:cNvPr id="20" name="Obdélník 19">
            <a:extLst>
              <a:ext uri="{FF2B5EF4-FFF2-40B4-BE49-F238E27FC236}">
                <a16:creationId xmlns:a16="http://schemas.microsoft.com/office/drawing/2014/main" id="{206DCB10-AA7E-4865-BDF4-B9CFC41471DE}"/>
              </a:ext>
            </a:extLst>
          </p:cNvPr>
          <p:cNvSpPr/>
          <p:nvPr>
            <p:custDataLst>
              <p:tags r:id="rId3"/>
            </p:custDataLst>
          </p:nvPr>
        </p:nvSpPr>
        <p:spPr>
          <a:xfrm>
            <a:off x="1348695" y="2645033"/>
            <a:ext cx="354646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v po aktualizaci dat za předchozí den.</a:t>
            </a:r>
          </a:p>
        </p:txBody>
      </p:sp>
      <p:sp>
        <p:nvSpPr>
          <p:cNvPr id="7" name="TextovéPole 6">
            <a:extLst>
              <a:ext uri="{FF2B5EF4-FFF2-40B4-BE49-F238E27FC236}">
                <a16:creationId xmlns:a16="http://schemas.microsoft.com/office/drawing/2014/main" id="{9955ECA9-C12D-463A-87BF-C5E848D6EE72}"/>
              </a:ext>
            </a:extLst>
          </p:cNvPr>
          <p:cNvSpPr txBox="1"/>
          <p:nvPr>
            <p:custDataLst>
              <p:tags r:id="rId4"/>
            </p:custDataLst>
          </p:nvPr>
        </p:nvSpPr>
        <p:spPr>
          <a:xfrm>
            <a:off x="5447724" y="998428"/>
            <a:ext cx="6500619"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Arial" panose="020B0604020202020204"/>
                <a:ea typeface="+mn-ea"/>
                <a:cs typeface="+mn-cs"/>
              </a:rPr>
              <a:t>V posledních dnech významně vzrostla  relativní pozitivita diagnostických testů a nyní se drží nad hranicí 25 %. V nejvíce zatížených regionech hodnota překračuje 33 %. </a:t>
            </a:r>
          </a:p>
        </p:txBody>
      </p:sp>
    </p:spTree>
    <p:extLst>
      <p:ext uri="{BB962C8B-B14F-4D97-AF65-F5344CB8AC3E}">
        <p14:creationId xmlns:p14="http://schemas.microsoft.com/office/powerpoint/2010/main" val="40633598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E673707-12E2-4D1E-AB03-FD25BE4817A5}"/>
              </a:ext>
            </a:extLst>
          </p:cNvPr>
          <p:cNvSpPr>
            <a:spLocks noGrp="1"/>
          </p:cNvSpPr>
          <p:nvPr>
            <p:ph type="title"/>
          </p:nvPr>
        </p:nvSpPr>
        <p:spPr>
          <a:xfrm>
            <a:off x="75501" y="2"/>
            <a:ext cx="8006053" cy="576000"/>
          </a:xfrm>
        </p:spPr>
        <p:txBody>
          <a:bodyPr/>
          <a:lstStyle/>
          <a:p>
            <a:r>
              <a:rPr lang="cs-CZ" dirty="0">
                <a:latin typeface="+mj-lt"/>
              </a:rPr>
              <a:t>Podíl pozitivních testů: </a:t>
            </a:r>
            <a:r>
              <a:rPr lang="cs-CZ" dirty="0"/>
              <a:t>epidemiologické indikace</a:t>
            </a:r>
            <a:endParaRPr lang="cs-CZ" dirty="0">
              <a:latin typeface="+mj-lt"/>
            </a:endParaRPr>
          </a:p>
        </p:txBody>
      </p:sp>
      <p:sp>
        <p:nvSpPr>
          <p:cNvPr id="12" name="TextovéPole 11">
            <a:extLst>
              <a:ext uri="{FF2B5EF4-FFF2-40B4-BE49-F238E27FC236}">
                <a16:creationId xmlns:a16="http://schemas.microsoft.com/office/drawing/2014/main" id="{CC555464-C1F2-4124-821F-660B522ED9C8}"/>
              </a:ext>
            </a:extLst>
          </p:cNvPr>
          <p:cNvSpPr txBox="1"/>
          <p:nvPr>
            <p:custDataLst>
              <p:tags r:id="rId1"/>
            </p:custDataLst>
          </p:nvPr>
        </p:nvSpPr>
        <p:spPr>
          <a:xfrm rot="16200000">
            <a:off x="-978817" y="3904624"/>
            <a:ext cx="27527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díl pozitivních testů v ČR</a:t>
            </a:r>
          </a:p>
        </p:txBody>
      </p:sp>
      <p:graphicFrame>
        <p:nvGraphicFramePr>
          <p:cNvPr id="13" name="Chart 4">
            <a:extLst>
              <a:ext uri="{FF2B5EF4-FFF2-40B4-BE49-F238E27FC236}">
                <a16:creationId xmlns:a16="http://schemas.microsoft.com/office/drawing/2014/main" id="{DDCE47EF-31FF-4F5A-A8E9-CB9CFC669B69}"/>
              </a:ext>
            </a:extLst>
          </p:cNvPr>
          <p:cNvGraphicFramePr/>
          <p:nvPr>
            <p:custDataLst>
              <p:tags r:id="rId2"/>
            </p:custDataLst>
          </p:nvPr>
        </p:nvGraphicFramePr>
        <p:xfrm>
          <a:off x="671739" y="1459764"/>
          <a:ext cx="11010187" cy="528393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Table 13">
            <a:extLst>
              <a:ext uri="{FF2B5EF4-FFF2-40B4-BE49-F238E27FC236}">
                <a16:creationId xmlns:a16="http://schemas.microsoft.com/office/drawing/2014/main" id="{A11C1904-4002-4181-A5AD-2C063C768D34}"/>
              </a:ext>
            </a:extLst>
          </p:cNvPr>
          <p:cNvGraphicFramePr>
            <a:graphicFrameLocks noGrp="1"/>
          </p:cNvGraphicFramePr>
          <p:nvPr>
            <p:custDataLst>
              <p:tags r:id="rId3"/>
            </p:custDataLst>
          </p:nvPr>
        </p:nvGraphicFramePr>
        <p:xfrm>
          <a:off x="1497774" y="584107"/>
          <a:ext cx="3153360" cy="2073913"/>
        </p:xfrm>
        <a:graphic>
          <a:graphicData uri="http://schemas.openxmlformats.org/drawingml/2006/table">
            <a:tbl>
              <a:tblPr/>
              <a:tblGrid>
                <a:gridCol w="1683484">
                  <a:extLst>
                    <a:ext uri="{9D8B030D-6E8A-4147-A177-3AD203B41FA5}">
                      <a16:colId xmlns:a16="http://schemas.microsoft.com/office/drawing/2014/main" val="3546016253"/>
                    </a:ext>
                  </a:extLst>
                </a:gridCol>
                <a:gridCol w="1469876">
                  <a:extLst>
                    <a:ext uri="{9D8B030D-6E8A-4147-A177-3AD203B41FA5}">
                      <a16:colId xmlns:a16="http://schemas.microsoft.com/office/drawing/2014/main" val="1748583085"/>
                    </a:ext>
                  </a:extLst>
                </a:gridCol>
              </a:tblGrid>
              <a:tr h="262687">
                <a:tc>
                  <a:txBody>
                    <a:bodyPr/>
                    <a:lstStyle/>
                    <a:p>
                      <a:pPr algn="ctr" fontAlgn="ctr"/>
                      <a:r>
                        <a:rPr lang="cs-CZ" sz="1100" b="1" i="0" u="none" strike="noStrike" dirty="0">
                          <a:solidFill>
                            <a:srgbClr val="000000"/>
                          </a:solidFill>
                          <a:effectLst/>
                          <a:latin typeface="Calibri" panose="020F0502020204030204" pitchFamily="34" charset="0"/>
                        </a:rPr>
                        <a:t>Datum*</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tc>
                  <a:txBody>
                    <a:bodyPr/>
                    <a:lstStyle/>
                    <a:p>
                      <a:pPr algn="ctr" fontAlgn="ctr"/>
                      <a:r>
                        <a:rPr lang="cs-CZ" sz="1100" b="1" i="0" u="none" strike="noStrike">
                          <a:solidFill>
                            <a:srgbClr val="000000"/>
                          </a:solidFill>
                          <a:effectLst/>
                          <a:latin typeface="Calibri" panose="020F0502020204030204" pitchFamily="34" charset="0"/>
                        </a:rPr>
                        <a:t>Podíl pozitivních případů</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extLst>
                  <a:ext uri="{0D108BD9-81ED-4DB2-BD59-A6C34878D82A}">
                    <a16:rowId xmlns:a16="http://schemas.microsoft.com/office/drawing/2014/main" val="2637795841"/>
                  </a:ext>
                </a:extLst>
              </a:tr>
              <a:tr h="216826">
                <a:tc>
                  <a:txBody>
                    <a:bodyPr/>
                    <a:lstStyle/>
                    <a:p>
                      <a:pPr algn="ctr" fontAlgn="ctr"/>
                      <a:r>
                        <a:rPr lang="cs-CZ" sz="1100" b="0" i="0" u="none" strike="noStrike">
                          <a:solidFill>
                            <a:srgbClr val="000000"/>
                          </a:solidFill>
                          <a:effectLst/>
                          <a:latin typeface="Calibri" panose="020F0502020204030204" pitchFamily="34" charset="0"/>
                        </a:rPr>
                        <a:t>12.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5.1%</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915809829"/>
                  </a:ext>
                </a:extLst>
              </a:tr>
              <a:tr h="208795">
                <a:tc>
                  <a:txBody>
                    <a:bodyPr/>
                    <a:lstStyle/>
                    <a:p>
                      <a:pPr algn="ctr" fontAlgn="ctr"/>
                      <a:r>
                        <a:rPr lang="cs-CZ" sz="1100" b="0" i="0" u="none" strike="noStrike">
                          <a:solidFill>
                            <a:srgbClr val="000000"/>
                          </a:solidFill>
                          <a:effectLst/>
                          <a:latin typeface="Calibri" panose="020F0502020204030204" pitchFamily="34" charset="0"/>
                        </a:rPr>
                        <a:t>13.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4.8%</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1373172434"/>
                  </a:ext>
                </a:extLst>
              </a:tr>
              <a:tr h="208795">
                <a:tc>
                  <a:txBody>
                    <a:bodyPr/>
                    <a:lstStyle/>
                    <a:p>
                      <a:pPr algn="ctr" fontAlgn="ctr"/>
                      <a:r>
                        <a:rPr lang="cs-CZ" sz="1100" b="0" i="0" u="none" strike="noStrike">
                          <a:solidFill>
                            <a:srgbClr val="000000"/>
                          </a:solidFill>
                          <a:effectLst/>
                          <a:latin typeface="Calibri" panose="020F0502020204030204" pitchFamily="34" charset="0"/>
                        </a:rPr>
                        <a:t>14.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5.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621266616"/>
                  </a:ext>
                </a:extLst>
              </a:tr>
              <a:tr h="208795">
                <a:tc>
                  <a:txBody>
                    <a:bodyPr/>
                    <a:lstStyle/>
                    <a:p>
                      <a:pPr algn="ctr" fontAlgn="ctr"/>
                      <a:r>
                        <a:rPr lang="cs-CZ" sz="1100" b="0" i="0" u="none" strike="noStrike">
                          <a:solidFill>
                            <a:srgbClr val="000000"/>
                          </a:solidFill>
                          <a:effectLst/>
                          <a:latin typeface="Calibri" panose="020F0502020204030204" pitchFamily="34" charset="0"/>
                        </a:rPr>
                        <a:t>15.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4.6%</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219860033"/>
                  </a:ext>
                </a:extLst>
              </a:tr>
              <a:tr h="208795">
                <a:tc>
                  <a:txBody>
                    <a:bodyPr/>
                    <a:lstStyle/>
                    <a:p>
                      <a:pPr algn="ctr" fontAlgn="ctr"/>
                      <a:r>
                        <a:rPr lang="cs-CZ" sz="1100" b="0" i="0" u="none" strike="noStrike">
                          <a:solidFill>
                            <a:srgbClr val="000000"/>
                          </a:solidFill>
                          <a:effectLst/>
                          <a:latin typeface="Calibri" panose="020F0502020204030204" pitchFamily="34" charset="0"/>
                        </a:rPr>
                        <a:t>16.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0.9%</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718693542"/>
                  </a:ext>
                </a:extLst>
              </a:tr>
              <a:tr h="208795">
                <a:tc>
                  <a:txBody>
                    <a:bodyPr/>
                    <a:lstStyle/>
                    <a:p>
                      <a:pPr algn="ctr" fontAlgn="ctr"/>
                      <a:r>
                        <a:rPr lang="cs-CZ" sz="1100" b="0" i="0" u="none" strike="noStrike">
                          <a:solidFill>
                            <a:srgbClr val="000000"/>
                          </a:solidFill>
                          <a:effectLst/>
                          <a:latin typeface="Calibri" panose="020F0502020204030204" pitchFamily="34" charset="0"/>
                        </a:rPr>
                        <a:t>17.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17.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2549193932"/>
                  </a:ext>
                </a:extLst>
              </a:tr>
              <a:tr h="208795">
                <a:tc>
                  <a:txBody>
                    <a:bodyPr/>
                    <a:lstStyle/>
                    <a:p>
                      <a:pPr algn="ctr" fontAlgn="ctr"/>
                      <a:r>
                        <a:rPr lang="cs-CZ" sz="1100" b="0" i="0" u="none" strike="noStrike">
                          <a:solidFill>
                            <a:srgbClr val="000000"/>
                          </a:solidFill>
                          <a:effectLst/>
                          <a:latin typeface="Calibri" panose="020F0502020204030204" pitchFamily="34" charset="0"/>
                        </a:rPr>
                        <a:t>18.01.2022</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tc>
                  <a:txBody>
                    <a:bodyPr/>
                    <a:lstStyle/>
                    <a:p>
                      <a:pPr algn="ctr" fontAlgn="ctr"/>
                      <a:r>
                        <a:rPr lang="cs-CZ" sz="1100" b="0" i="0" u="none" strike="noStrike">
                          <a:solidFill>
                            <a:srgbClr val="000000"/>
                          </a:solidFill>
                          <a:effectLst/>
                          <a:latin typeface="Calibri" panose="020F0502020204030204" pitchFamily="34" charset="0"/>
                        </a:rPr>
                        <a:t>24.9%</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FF7"/>
                    </a:solidFill>
                  </a:tcPr>
                </a:tc>
                <a:extLst>
                  <a:ext uri="{0D108BD9-81ED-4DB2-BD59-A6C34878D82A}">
                    <a16:rowId xmlns:a16="http://schemas.microsoft.com/office/drawing/2014/main" val="4061735245"/>
                  </a:ext>
                </a:extLst>
              </a:tr>
              <a:tr h="264289">
                <a:tc>
                  <a:txBody>
                    <a:bodyPr/>
                    <a:lstStyle/>
                    <a:p>
                      <a:pPr algn="ctr" fontAlgn="ctr"/>
                      <a:r>
                        <a:rPr lang="cs-CZ" sz="1100" b="1" i="0" u="none" strike="noStrike">
                          <a:solidFill>
                            <a:srgbClr val="FFFFFF"/>
                          </a:solidFill>
                          <a:effectLst/>
                          <a:latin typeface="Calibri" panose="020F0502020204030204" pitchFamily="34" charset="0"/>
                        </a:rPr>
                        <a:t>Průměrný podíl za posledních 7 dní</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fontAlgn="ctr"/>
                      <a:r>
                        <a:rPr lang="cs-CZ" sz="1100" b="0" i="0" u="none" strike="noStrike" dirty="0">
                          <a:solidFill>
                            <a:srgbClr val="FFFFFF"/>
                          </a:solidFill>
                          <a:effectLst/>
                          <a:latin typeface="Calibri" panose="020F0502020204030204" pitchFamily="34" charset="0"/>
                        </a:rPr>
                        <a:t>17.6%</a:t>
                      </a:r>
                    </a:p>
                  </a:txBody>
                  <a:tcPr marL="6350" marR="6350"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2293649966"/>
                  </a:ext>
                </a:extLst>
              </a:tr>
            </a:tbl>
          </a:graphicData>
        </a:graphic>
      </p:graphicFrame>
      <p:sp>
        <p:nvSpPr>
          <p:cNvPr id="20" name="Obdélník 19">
            <a:extLst>
              <a:ext uri="{FF2B5EF4-FFF2-40B4-BE49-F238E27FC236}">
                <a16:creationId xmlns:a16="http://schemas.microsoft.com/office/drawing/2014/main" id="{206DCB10-AA7E-4865-BDF4-B9CFC41471DE}"/>
              </a:ext>
            </a:extLst>
          </p:cNvPr>
          <p:cNvSpPr/>
          <p:nvPr>
            <p:custDataLst>
              <p:tags r:id="rId4"/>
            </p:custDataLst>
          </p:nvPr>
        </p:nvSpPr>
        <p:spPr>
          <a:xfrm>
            <a:off x="1454232" y="2667636"/>
            <a:ext cx="354646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v po aktualizaci dat za předchozí den.</a:t>
            </a:r>
          </a:p>
        </p:txBody>
      </p:sp>
      <p:sp>
        <p:nvSpPr>
          <p:cNvPr id="8" name="TextovéPole 7">
            <a:extLst>
              <a:ext uri="{FF2B5EF4-FFF2-40B4-BE49-F238E27FC236}">
                <a16:creationId xmlns:a16="http://schemas.microsoft.com/office/drawing/2014/main" id="{22E90075-8FD9-4D30-B55E-17CFAA3FA3D3}"/>
              </a:ext>
            </a:extLst>
          </p:cNvPr>
          <p:cNvSpPr txBox="1"/>
          <p:nvPr>
            <p:custDataLst>
              <p:tags r:id="rId5"/>
            </p:custDataLst>
          </p:nvPr>
        </p:nvSpPr>
        <p:spPr>
          <a:xfrm>
            <a:off x="5461931" y="1226563"/>
            <a:ext cx="5232295"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Arial" panose="020B0604020202020204"/>
                <a:ea typeface="+mn-ea"/>
                <a:cs typeface="+mn-cs"/>
              </a:rPr>
              <a:t>Relativní pozitivita epidemiologicky indikovaných testů roste a vzrostla nad hranici 17%.</a:t>
            </a:r>
          </a:p>
        </p:txBody>
      </p:sp>
    </p:spTree>
    <p:extLst>
      <p:ext uri="{BB962C8B-B14F-4D97-AF65-F5344CB8AC3E}">
        <p14:creationId xmlns:p14="http://schemas.microsoft.com/office/powerpoint/2010/main" val="7559796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Graf 16">
            <a:extLst>
              <a:ext uri="{FF2B5EF4-FFF2-40B4-BE49-F238E27FC236}">
                <a16:creationId xmlns:a16="http://schemas.microsoft.com/office/drawing/2014/main" id="{AE6C3CEB-296F-4491-875A-F37E9598567F}"/>
              </a:ext>
            </a:extLst>
          </p:cNvPr>
          <p:cNvGraphicFramePr/>
          <p:nvPr>
            <p:custDataLst>
              <p:tags r:id="rId1"/>
            </p:custDataLst>
          </p:nvPr>
        </p:nvGraphicFramePr>
        <p:xfrm>
          <a:off x="5080191" y="960159"/>
          <a:ext cx="3248580" cy="2703838"/>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14" name="Graf 16">
            <a:extLst>
              <a:ext uri="{FF2B5EF4-FFF2-40B4-BE49-F238E27FC236}">
                <a16:creationId xmlns:a16="http://schemas.microsoft.com/office/drawing/2014/main" id="{856F0439-F6FE-4710-89AC-1AEE17C5706A}"/>
              </a:ext>
            </a:extLst>
          </p:cNvPr>
          <p:cNvGraphicFramePr/>
          <p:nvPr>
            <p:custDataLst>
              <p:tags r:id="rId2"/>
            </p:custDataLst>
          </p:nvPr>
        </p:nvGraphicFramePr>
        <p:xfrm>
          <a:off x="8562717" y="997797"/>
          <a:ext cx="3248580" cy="2703838"/>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12" name="Graf 16">
            <a:extLst>
              <a:ext uri="{FF2B5EF4-FFF2-40B4-BE49-F238E27FC236}">
                <a16:creationId xmlns:a16="http://schemas.microsoft.com/office/drawing/2014/main" id="{B4B8627B-5DBC-411E-9EA2-EBD9F3BCA597}"/>
              </a:ext>
            </a:extLst>
          </p:cNvPr>
          <p:cNvGraphicFramePr/>
          <p:nvPr>
            <p:custDataLst>
              <p:tags r:id="rId3"/>
            </p:custDataLst>
          </p:nvPr>
        </p:nvGraphicFramePr>
        <p:xfrm>
          <a:off x="1515748" y="960159"/>
          <a:ext cx="3248580" cy="2703838"/>
        </p:xfrm>
        <a:graphic>
          <a:graphicData uri="http://schemas.openxmlformats.org/drawingml/2006/chart">
            <c:chart xmlns:c="http://schemas.openxmlformats.org/drawingml/2006/chart" xmlns:r="http://schemas.openxmlformats.org/officeDocument/2006/relationships" r:id="rId27"/>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4"/>
            </p:custDataLst>
          </p:nvPr>
        </p:nvSpPr>
        <p:spPr>
          <a:xfrm>
            <a:off x="381739" y="2"/>
            <a:ext cx="6742767" cy="576000"/>
          </a:xfrm>
        </p:spPr>
        <p:txBody>
          <a:bodyPr/>
          <a:lstStyle/>
          <a:p>
            <a:r>
              <a:rPr lang="cs-CZ" dirty="0"/>
              <a:t>Relativní pozitivita testů u dětí a mladistvých</a:t>
            </a:r>
          </a:p>
        </p:txBody>
      </p:sp>
      <p:sp>
        <p:nvSpPr>
          <p:cNvPr id="6" name="Obdélník 4">
            <a:extLst>
              <a:ext uri="{FF2B5EF4-FFF2-40B4-BE49-F238E27FC236}">
                <a16:creationId xmlns:a16="http://schemas.microsoft.com/office/drawing/2014/main" id="{DD1D58ED-EA21-4D1C-A2C1-3A0FBF5C13C3}"/>
              </a:ext>
            </a:extLst>
          </p:cNvPr>
          <p:cNvSpPr/>
          <p:nvPr>
            <p:custDataLst>
              <p:tags r:id="rId5"/>
            </p:custDataLst>
          </p:nvPr>
        </p:nvSpPr>
        <p:spPr>
          <a:xfrm>
            <a:off x="1885942"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4 roky</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Obdélník 18">
            <a:extLst>
              <a:ext uri="{FF2B5EF4-FFF2-40B4-BE49-F238E27FC236}">
                <a16:creationId xmlns:a16="http://schemas.microsoft.com/office/drawing/2014/main" id="{F0E72BFB-2257-4C5A-ACD2-E45B1B18C359}"/>
              </a:ext>
            </a:extLst>
          </p:cNvPr>
          <p:cNvSpPr/>
          <p:nvPr>
            <p:custDataLst>
              <p:tags r:id="rId6"/>
            </p:custDataLst>
          </p:nvPr>
        </p:nvSpPr>
        <p:spPr>
          <a:xfrm>
            <a:off x="5448847"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11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Obdélník 19">
            <a:extLst>
              <a:ext uri="{FF2B5EF4-FFF2-40B4-BE49-F238E27FC236}">
                <a16:creationId xmlns:a16="http://schemas.microsoft.com/office/drawing/2014/main" id="{44EE9007-43C8-4702-9074-65582EC007CA}"/>
              </a:ext>
            </a:extLst>
          </p:cNvPr>
          <p:cNvSpPr/>
          <p:nvPr>
            <p:custDataLst>
              <p:tags r:id="rId7"/>
            </p:custDataLst>
          </p:nvPr>
        </p:nvSpPr>
        <p:spPr>
          <a:xfrm>
            <a:off x="9030610" y="751576"/>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19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TextovéPole 8">
            <a:extLst>
              <a:ext uri="{FF2B5EF4-FFF2-40B4-BE49-F238E27FC236}">
                <a16:creationId xmlns:a16="http://schemas.microsoft.com/office/drawing/2014/main" id="{BD690D54-2DC9-4410-83BB-44088219E7A9}"/>
              </a:ext>
            </a:extLst>
          </p:cNvPr>
          <p:cNvSpPr txBox="1"/>
          <p:nvPr>
            <p:custDataLst>
              <p:tags r:id="rId8"/>
            </p:custDataLst>
          </p:nvPr>
        </p:nvSpPr>
        <p:spPr>
          <a:xfrm>
            <a:off x="3411120" y="2452466"/>
            <a:ext cx="90492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2 185</a:t>
            </a:r>
            <a:r>
              <a:rPr kumimoji="0" lang="cs-CZ" sz="105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TextovéPole 9">
            <a:extLst>
              <a:ext uri="{FF2B5EF4-FFF2-40B4-BE49-F238E27FC236}">
                <a16:creationId xmlns:a16="http://schemas.microsoft.com/office/drawing/2014/main" id="{E199D18E-5E7D-4F12-A901-6A2AEEDCFC11}"/>
              </a:ext>
            </a:extLst>
          </p:cNvPr>
          <p:cNvSpPr txBox="1"/>
          <p:nvPr>
            <p:custDataLst>
              <p:tags r:id="rId9"/>
            </p:custDataLst>
          </p:nvPr>
        </p:nvSpPr>
        <p:spPr>
          <a:xfrm>
            <a:off x="7124507" y="2521848"/>
            <a:ext cx="90853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3 311</a:t>
            </a:r>
          </a:p>
        </p:txBody>
      </p:sp>
      <p:sp>
        <p:nvSpPr>
          <p:cNvPr id="11" name="TextovéPole 10">
            <a:extLst>
              <a:ext uri="{FF2B5EF4-FFF2-40B4-BE49-F238E27FC236}">
                <a16:creationId xmlns:a16="http://schemas.microsoft.com/office/drawing/2014/main" id="{E10DB0B0-480C-4662-8E9E-7B7D33F1E9E9}"/>
              </a:ext>
            </a:extLst>
          </p:cNvPr>
          <p:cNvSpPr txBox="1"/>
          <p:nvPr>
            <p:custDataLst>
              <p:tags r:id="rId10"/>
            </p:custDataLst>
          </p:nvPr>
        </p:nvSpPr>
        <p:spPr>
          <a:xfrm>
            <a:off x="10676252" y="2521848"/>
            <a:ext cx="84099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5 852</a:t>
            </a:r>
          </a:p>
        </p:txBody>
      </p:sp>
      <p:sp>
        <p:nvSpPr>
          <p:cNvPr id="15" name="Obdélník 11">
            <a:extLst>
              <a:ext uri="{FF2B5EF4-FFF2-40B4-BE49-F238E27FC236}">
                <a16:creationId xmlns:a16="http://schemas.microsoft.com/office/drawing/2014/main" id="{4A07716D-7607-4057-A4A3-18CB32A9915E}"/>
              </a:ext>
            </a:extLst>
          </p:cNvPr>
          <p:cNvSpPr/>
          <p:nvPr>
            <p:custDataLst>
              <p:tags r:id="rId11"/>
            </p:custDataLst>
          </p:nvPr>
        </p:nvSpPr>
        <p:spPr>
          <a:xfrm rot="16200000">
            <a:off x="-46432" y="1724028"/>
            <a:ext cx="2345015" cy="646331"/>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a:t>
            </a:r>
            <a:r>
              <a:rPr kumimoji="0" lang="en-US" sz="1800" b="1" i="1"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esty</a:t>
            </a: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s diagnostickou nebo klinickou indikací</a:t>
            </a:r>
          </a:p>
        </p:txBody>
      </p:sp>
      <p:graphicFrame>
        <p:nvGraphicFramePr>
          <p:cNvPr id="16" name="Graf 16">
            <a:extLst>
              <a:ext uri="{FF2B5EF4-FFF2-40B4-BE49-F238E27FC236}">
                <a16:creationId xmlns:a16="http://schemas.microsoft.com/office/drawing/2014/main" id="{FC178F2D-468E-4086-8D6C-F8E5C41DAEBA}"/>
              </a:ext>
            </a:extLst>
          </p:cNvPr>
          <p:cNvGraphicFramePr/>
          <p:nvPr>
            <p:custDataLst>
              <p:tags r:id="rId12"/>
            </p:custDataLst>
          </p:nvPr>
        </p:nvGraphicFramePr>
        <p:xfrm>
          <a:off x="5062894" y="4061021"/>
          <a:ext cx="3185498" cy="2760878"/>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17" name="Graf 16">
            <a:extLst>
              <a:ext uri="{FF2B5EF4-FFF2-40B4-BE49-F238E27FC236}">
                <a16:creationId xmlns:a16="http://schemas.microsoft.com/office/drawing/2014/main" id="{9DA990E9-067F-4876-9A42-83506757984B}"/>
              </a:ext>
            </a:extLst>
          </p:cNvPr>
          <p:cNvGraphicFramePr/>
          <p:nvPr>
            <p:custDataLst>
              <p:tags r:id="rId13"/>
            </p:custDataLst>
          </p:nvPr>
        </p:nvGraphicFramePr>
        <p:xfrm>
          <a:off x="1703090" y="4030290"/>
          <a:ext cx="3185498" cy="2760878"/>
        </p:xfrm>
        <a:graphic>
          <a:graphicData uri="http://schemas.openxmlformats.org/drawingml/2006/chart">
            <c:chart xmlns:c="http://schemas.openxmlformats.org/drawingml/2006/chart" xmlns:r="http://schemas.openxmlformats.org/officeDocument/2006/relationships" r:id="rId29"/>
          </a:graphicData>
        </a:graphic>
      </p:graphicFrame>
      <p:sp>
        <p:nvSpPr>
          <p:cNvPr id="18" name="Obdélník 17">
            <a:extLst>
              <a:ext uri="{FF2B5EF4-FFF2-40B4-BE49-F238E27FC236}">
                <a16:creationId xmlns:a16="http://schemas.microsoft.com/office/drawing/2014/main" id="{20F21985-BE29-4410-8B72-DF7EF0B1CC38}"/>
              </a:ext>
            </a:extLst>
          </p:cNvPr>
          <p:cNvSpPr/>
          <p:nvPr>
            <p:custDataLst>
              <p:tags r:id="rId14"/>
            </p:custDataLst>
          </p:nvPr>
        </p:nvSpPr>
        <p:spPr>
          <a:xfrm>
            <a:off x="1837713" y="3814800"/>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4 roky</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Obdélník 18">
            <a:extLst>
              <a:ext uri="{FF2B5EF4-FFF2-40B4-BE49-F238E27FC236}">
                <a16:creationId xmlns:a16="http://schemas.microsoft.com/office/drawing/2014/main" id="{2E8A12E5-885C-464E-B211-E3CE5AF39BF8}"/>
              </a:ext>
            </a:extLst>
          </p:cNvPr>
          <p:cNvSpPr/>
          <p:nvPr>
            <p:custDataLst>
              <p:tags r:id="rId15"/>
            </p:custDataLst>
          </p:nvPr>
        </p:nvSpPr>
        <p:spPr>
          <a:xfrm>
            <a:off x="5515144" y="3850901"/>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11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Obdélník 19">
            <a:extLst>
              <a:ext uri="{FF2B5EF4-FFF2-40B4-BE49-F238E27FC236}">
                <a16:creationId xmlns:a16="http://schemas.microsoft.com/office/drawing/2014/main" id="{4CCE7D08-CFB6-457E-9140-5A538F84C5B5}"/>
              </a:ext>
            </a:extLst>
          </p:cNvPr>
          <p:cNvSpPr/>
          <p:nvPr>
            <p:custDataLst>
              <p:tags r:id="rId16"/>
            </p:custDataLst>
          </p:nvPr>
        </p:nvSpPr>
        <p:spPr>
          <a:xfrm>
            <a:off x="9096907" y="3850901"/>
            <a:ext cx="2478336"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19 le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21" name="Graf 16">
            <a:extLst>
              <a:ext uri="{FF2B5EF4-FFF2-40B4-BE49-F238E27FC236}">
                <a16:creationId xmlns:a16="http://schemas.microsoft.com/office/drawing/2014/main" id="{EC81438C-49E9-4368-BA41-8E121DF7D330}"/>
              </a:ext>
            </a:extLst>
          </p:cNvPr>
          <p:cNvGraphicFramePr/>
          <p:nvPr>
            <p:custDataLst>
              <p:tags r:id="rId17"/>
            </p:custDataLst>
          </p:nvPr>
        </p:nvGraphicFramePr>
        <p:xfrm>
          <a:off x="8625799" y="4097122"/>
          <a:ext cx="3185498" cy="2760878"/>
        </p:xfrm>
        <a:graphic>
          <a:graphicData uri="http://schemas.openxmlformats.org/drawingml/2006/chart">
            <c:chart xmlns:c="http://schemas.openxmlformats.org/drawingml/2006/chart" xmlns:r="http://schemas.openxmlformats.org/officeDocument/2006/relationships" r:id="rId30"/>
          </a:graphicData>
        </a:graphic>
      </p:graphicFrame>
      <p:sp>
        <p:nvSpPr>
          <p:cNvPr id="22" name="Obdélník 11">
            <a:extLst>
              <a:ext uri="{FF2B5EF4-FFF2-40B4-BE49-F238E27FC236}">
                <a16:creationId xmlns:a16="http://schemas.microsoft.com/office/drawing/2014/main" id="{310543E2-7B68-43E1-9DED-5AD55425B3F8}"/>
              </a:ext>
            </a:extLst>
          </p:cNvPr>
          <p:cNvSpPr/>
          <p:nvPr>
            <p:custDataLst>
              <p:tags r:id="rId18"/>
            </p:custDataLst>
          </p:nvPr>
        </p:nvSpPr>
        <p:spPr>
          <a:xfrm rot="16200000">
            <a:off x="-128361" y="4681509"/>
            <a:ext cx="2610368" cy="646331"/>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esty s epidemiologickou indikací </a:t>
            </a:r>
          </a:p>
        </p:txBody>
      </p:sp>
      <p:sp>
        <p:nvSpPr>
          <p:cNvPr id="23" name="TextovéPole 22">
            <a:extLst>
              <a:ext uri="{FF2B5EF4-FFF2-40B4-BE49-F238E27FC236}">
                <a16:creationId xmlns:a16="http://schemas.microsoft.com/office/drawing/2014/main" id="{5DFDEDA3-4E2F-4057-981A-6E7B4585B132}"/>
              </a:ext>
            </a:extLst>
          </p:cNvPr>
          <p:cNvSpPr txBox="1"/>
          <p:nvPr>
            <p:custDataLst>
              <p:tags r:id="rId19"/>
            </p:custDataLst>
          </p:nvPr>
        </p:nvSpPr>
        <p:spPr>
          <a:xfrm>
            <a:off x="3337823" y="5441460"/>
            <a:ext cx="86914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13 706</a:t>
            </a:r>
          </a:p>
        </p:txBody>
      </p:sp>
      <p:sp>
        <p:nvSpPr>
          <p:cNvPr id="24" name="TextovéPole 23">
            <a:extLst>
              <a:ext uri="{FF2B5EF4-FFF2-40B4-BE49-F238E27FC236}">
                <a16:creationId xmlns:a16="http://schemas.microsoft.com/office/drawing/2014/main" id="{19FE67B9-8FB7-4BF2-9424-D526A7D45773}"/>
              </a:ext>
            </a:extLst>
          </p:cNvPr>
          <p:cNvSpPr txBox="1"/>
          <p:nvPr>
            <p:custDataLst>
              <p:tags r:id="rId20"/>
            </p:custDataLst>
          </p:nvPr>
        </p:nvSpPr>
        <p:spPr>
          <a:xfrm>
            <a:off x="10572430" y="5476344"/>
            <a:ext cx="94481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62 060</a:t>
            </a:r>
          </a:p>
        </p:txBody>
      </p:sp>
      <p:sp>
        <p:nvSpPr>
          <p:cNvPr id="28" name="TextovéPole 27">
            <a:extLst>
              <a:ext uri="{FF2B5EF4-FFF2-40B4-BE49-F238E27FC236}">
                <a16:creationId xmlns:a16="http://schemas.microsoft.com/office/drawing/2014/main" id="{6285D99A-FE1F-48B6-978C-D275AE43BC1F}"/>
              </a:ext>
            </a:extLst>
          </p:cNvPr>
          <p:cNvSpPr txBox="1"/>
          <p:nvPr>
            <p:custDataLst>
              <p:tags r:id="rId21"/>
            </p:custDataLst>
          </p:nvPr>
        </p:nvSpPr>
        <p:spPr>
          <a:xfrm>
            <a:off x="6972662" y="5461338"/>
            <a:ext cx="86914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srgbClr val="000000"/>
                </a:solidFill>
                <a:effectLst/>
                <a:uLnTx/>
                <a:uFillTx/>
                <a:latin typeface="Arial" panose="020B0604020202020204"/>
                <a:ea typeface="+mn-ea"/>
                <a:cs typeface="+mn-cs"/>
              </a:rPr>
              <a:t>N = 68 328</a:t>
            </a:r>
          </a:p>
        </p:txBody>
      </p:sp>
      <p:sp>
        <p:nvSpPr>
          <p:cNvPr id="29" name="Obdélník 28">
            <a:extLst>
              <a:ext uri="{FF2B5EF4-FFF2-40B4-BE49-F238E27FC236}">
                <a16:creationId xmlns:a16="http://schemas.microsoft.com/office/drawing/2014/main" id="{877A5252-9FFE-48AA-8306-CABE7BF40B17}"/>
              </a:ext>
            </a:extLst>
          </p:cNvPr>
          <p:cNvSpPr/>
          <p:nvPr>
            <p:custDataLst>
              <p:tags r:id="rId22"/>
            </p:custDataLst>
          </p:nvPr>
        </p:nvSpPr>
        <p:spPr>
          <a:xfrm rot="16200000">
            <a:off x="-2799796" y="3547835"/>
            <a:ext cx="6312997" cy="369332"/>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lativní pozitivita indikovaných testů  za daný časový úsek</a:t>
            </a:r>
          </a:p>
        </p:txBody>
      </p:sp>
    </p:spTree>
    <p:extLst>
      <p:ext uri="{BB962C8B-B14F-4D97-AF65-F5344CB8AC3E}">
        <p14:creationId xmlns:p14="http://schemas.microsoft.com/office/powerpoint/2010/main" val="40475739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101.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102.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0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True"/>
</p:tagLst>
</file>

<file path=ppt/tags/tag104.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0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True"/>
</p:tagLst>
</file>

<file path=ppt/tags/tag10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0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1.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2"/>
  <p:tag name="SLIDEFAB_EXPORTMODE" val="2"/>
</p:tagLst>
</file>

<file path=ppt/tags/tag1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5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5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True"/>
</p:tagLst>
</file>

<file path=ppt/tags/tag1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8.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17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18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8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82.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8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4.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8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8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88.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8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9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9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9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4.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9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9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0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3.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0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7.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20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9.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4.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False"/>
</p:tagLst>
</file>

<file path=ppt/tags/tag21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1.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6.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False"/>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1.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6.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47.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5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RESIZEMODE" val="2"/>
  <p:tag name="SLIDEFAB_SHAPECONDITIONMETACTIONDELETE" val="False"/>
  <p:tag name="SLIDEFAB_EXPORTMODE" val="2"/>
</p:tagLst>
</file>

<file path=ppt/tags/tag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8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8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1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4.xml><?xml version="1.0" encoding="utf-8"?>
<a:theme xmlns:a="http://schemas.openxmlformats.org/drawingml/2006/main" name="2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7.xml><?xml version="1.0" encoding="utf-8"?>
<a:theme xmlns:a="http://schemas.openxmlformats.org/drawingml/2006/main" name="5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9.xml><?xml version="1.0" encoding="utf-8"?>
<a:theme xmlns:a="http://schemas.openxmlformats.org/drawingml/2006/main" name="9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29070</TotalTime>
  <Words>6676</Words>
  <Application>Microsoft Office PowerPoint</Application>
  <PresentationFormat>Širokoúhlá obrazovka</PresentationFormat>
  <Paragraphs>1191</Paragraphs>
  <Slides>54</Slides>
  <Notes>24</Notes>
  <HiddenSlides>0</HiddenSlides>
  <MMClips>0</MMClips>
  <ScaleCrop>false</ScaleCrop>
  <HeadingPairs>
    <vt:vector size="6" baseType="variant">
      <vt:variant>
        <vt:lpstr>Použitá písma</vt:lpstr>
      </vt:variant>
      <vt:variant>
        <vt:i4>7</vt:i4>
      </vt:variant>
      <vt:variant>
        <vt:lpstr>Motiv</vt:lpstr>
      </vt:variant>
      <vt:variant>
        <vt:i4>9</vt:i4>
      </vt:variant>
      <vt:variant>
        <vt:lpstr>Nadpisy snímků</vt:lpstr>
      </vt:variant>
      <vt:variant>
        <vt:i4>54</vt:i4>
      </vt:variant>
    </vt:vector>
  </HeadingPairs>
  <TitlesOfParts>
    <vt:vector size="70" baseType="lpstr">
      <vt:lpstr>Calibri Light</vt:lpstr>
      <vt:lpstr>Times New Roman</vt:lpstr>
      <vt:lpstr>Wingdings</vt:lpstr>
      <vt:lpstr>Arial</vt:lpstr>
      <vt:lpstr>Arial (Základní text)</vt:lpstr>
      <vt:lpstr>Calibri</vt:lpstr>
      <vt:lpstr>Arial Black</vt:lpstr>
      <vt:lpstr>1_Motiv Office</vt:lpstr>
      <vt:lpstr>3_Motiv Office</vt:lpstr>
      <vt:lpstr>7_Motiv Office</vt:lpstr>
      <vt:lpstr>2_Motiv Office</vt:lpstr>
      <vt:lpstr>Motiv Office</vt:lpstr>
      <vt:lpstr>4_Motiv Office</vt:lpstr>
      <vt:lpstr>5_Motiv Office</vt:lpstr>
      <vt:lpstr>8_Motiv Office</vt:lpstr>
      <vt:lpstr>9_Motiv Office</vt:lpstr>
      <vt:lpstr>Datová a informační základna  pro management pandemie COVID-19</vt:lpstr>
      <vt:lpstr>Datová a informační základna  pro management pandemie COVID-19</vt:lpstr>
      <vt:lpstr>Prezentace aplikace PowerPoint</vt:lpstr>
      <vt:lpstr>Screeningové testy ve školách – potvrzené výsledky (dle CFA / ISIN)</vt:lpstr>
      <vt:lpstr>Screeningové testy ve školách: výsledky žáků a studentů</vt:lpstr>
      <vt:lpstr>První výsledky samotestů zaměstnanců ze dne 17.1. a 18.1.2022</vt:lpstr>
      <vt:lpstr>Podíl pozitivních testů: diagnostické indikace </vt:lpstr>
      <vt:lpstr>Podíl pozitivních testů: epidemiologické indikace</vt:lpstr>
      <vt:lpstr>Relativní pozitivita testů u dětí a mladistvých</vt:lpstr>
      <vt:lpstr>Relativní pozitivita testů u dospělých</vt:lpstr>
      <vt:lpstr>Časový vývoj vybraných ukazatelů: 7denní počet symptomatických případů na 100 000 obyv.</vt:lpstr>
      <vt:lpstr>Datová a informační základna  pro management pandemie COVID-19</vt:lpstr>
      <vt:lpstr>Prezentace aplikace PowerPoint</vt:lpstr>
      <vt:lpstr>Prezentace aplikace PowerPoint</vt:lpstr>
      <vt:lpstr>Zastoupení původní a nové varianty mezi novými případy: model pro ČR (předpoklad 2násobného zvýšení reprodukčního čísla)</vt:lpstr>
      <vt:lpstr> Výskyt varianty OMICRON v ČR v období 9.1.2022 - 15.1.2022</vt:lpstr>
      <vt:lpstr>Prezentace aplikace PowerPoint</vt:lpstr>
      <vt:lpstr>Počty pracovníků ve zdravotnictví s nákazou COVID-19</vt:lpstr>
      <vt:lpstr>Počty pracovníků ve zdravotnictví s nákazou COVID-19</vt:lpstr>
      <vt:lpstr>Počty nově COVID-19 pozitivních pracovníků  v zařízeních sociálních služeb</vt:lpstr>
      <vt:lpstr>Datová a informační základna  pro management pandemie COVID-19</vt:lpstr>
      <vt:lpstr>Prezentace aplikace PowerPoint</vt:lpstr>
      <vt:lpstr>Prezentace aplikace PowerPoint</vt:lpstr>
      <vt:lpstr>Zátěž regionů ve vzájemném srovnání krajů k 18. 1.</vt:lpstr>
      <vt:lpstr>7 denní počet nových případů (na 100 000 obyv.) v okresech</vt:lpstr>
      <vt:lpstr>7 denní počet nových případů (na 100 000 obyv.) v ORP</vt:lpstr>
      <vt:lpstr>Počty COVID-19 pozitivních v ČR na 100 000 v populaci</vt:lpstr>
      <vt:lpstr>Počty COVID-19 pozitivních v ČR na 100 000 v populaci</vt:lpstr>
      <vt:lpstr>Prezentace aplikace PowerPoint</vt:lpstr>
      <vt:lpstr>Prezentace aplikace PowerPoint</vt:lpstr>
      <vt:lpstr>Prezentace aplikace PowerPoint</vt:lpstr>
      <vt:lpstr>Datová a informační základna  pro management pandemie COVID-19</vt:lpstr>
      <vt:lpstr>Nový trend: rostoucí počet a podíl suspektních reinfekcí v čase</vt:lpstr>
      <vt:lpstr>Prezentace aplikace PowerPoint</vt:lpstr>
      <vt:lpstr>Prezentace aplikace PowerPoint</vt:lpstr>
      <vt:lpstr>Prezentace aplikace PowerPoint</vt:lpstr>
      <vt:lpstr>Prezentace aplikace PowerPoint</vt:lpstr>
      <vt:lpstr>Prezentace aplikace PowerPoint</vt:lpstr>
      <vt:lpstr>Datová a informační základna  pro management pandemie COVID-19</vt:lpstr>
      <vt:lpstr>Prezentace aplikace PowerPoint</vt:lpstr>
      <vt:lpstr>Očkování osob a stav imunizace k 15. 1. 2022</vt:lpstr>
      <vt:lpstr>Prezentace aplikace PowerPoint</vt:lpstr>
      <vt:lpstr>Časový vývoj vybraných ukazatelů: 7denní počet případů ve věku 65+ na 100 000 obyv. </vt:lpstr>
      <vt:lpstr>Prezentace aplikace PowerPoint</vt:lpstr>
      <vt:lpstr>Prezentace aplikace PowerPoint</vt:lpstr>
      <vt:lpstr>Predikovaný počet nových hospitalizačních případů (denní příjmy do nemocnic)</vt:lpstr>
      <vt:lpstr>Predikovaný celkový počet aktuálně hospitalizovaných</vt:lpstr>
      <vt:lpstr>Predikovaný počet aktuálně hospitalizovaných na JIP</vt:lpstr>
      <vt:lpstr>Časový vývoj vybraných ukazatelů:  7denní počet nových příjmů do nemocnic na 100 000 obyvatel</vt:lpstr>
      <vt:lpstr>Časový vývoj vybraných ukazatelů:  7denní počet nových příjmů na JIP (včetně překladů) na 100 000 obyvatel</vt:lpstr>
      <vt:lpstr>Časový vývoj vybraných ukazatelů:  7denní počet případů, hospitalizovaných do 3 dnů od pozitivity / 100 tisíc obyvatel </vt:lpstr>
      <vt:lpstr>7denní počty nových hospitalizací na JIP v den diagnózy </vt:lpstr>
      <vt:lpstr>7denní počet případů, hospitalizovaných na JIP v den pozitivity / 100 tisíc obyvatel</vt:lpstr>
      <vt:lpstr>Prezentace aplikac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tiepidemický systém ČR PES</dc:title>
  <dc:creator>Martin Komenda</dc:creator>
  <cp:lastModifiedBy>Dušek Ladislav prof. RNDr. Ph.D.</cp:lastModifiedBy>
  <cp:revision>2970</cp:revision>
  <dcterms:created xsi:type="dcterms:W3CDTF">2020-11-11T17:36:28Z</dcterms:created>
  <dcterms:modified xsi:type="dcterms:W3CDTF">2022-01-19T11:35:10Z</dcterms:modified>
</cp:coreProperties>
</file>